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ppt/slides/slide65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255.xml" ContentType="application/vnd.openxmlformats-officedocument.presentationml.tags+xml"/>
  <Override PartName="/ppt/notesSlides/notesSlide65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2147473081" r:id="rId68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slide" Target="/ppt/slides/slide65.xml" Id="rId68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69.vml.rels>&#65279;<?xml version="1.0" encoding="utf-8"?><Relationships xmlns="http://schemas.openxmlformats.org/package/2006/relationships"><Relationship Type="http://schemas.openxmlformats.org/officeDocument/2006/relationships/image" Target="/ppt/media/image92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65.xml.rels>&#65279;<?xml version="1.0" encoding="utf-8"?><Relationships xmlns="http://schemas.openxmlformats.org/package/2006/relationships"><Relationship Type="http://schemas.openxmlformats.org/officeDocument/2006/relationships/slide" Target="/ppt/slides/slide65.xml" Id="rId2" /><Relationship Type="http://schemas.openxmlformats.org/officeDocument/2006/relationships/notesMaster" Target="/ppt/notesMasters/notesMaster1.xml" Id="rId1" /></Relationship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1249610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65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255.xml" Id="rId2" /><Relationship Type="http://schemas.openxmlformats.org/officeDocument/2006/relationships/vmlDrawing" Target="/ppt/drawings/vmlDrawing69.vml" Id="rId1" /><Relationship Type="http://schemas.openxmlformats.org/officeDocument/2006/relationships/image" Target="/ppt/media/image92.emf" Id="rId6" /><Relationship Type="http://schemas.openxmlformats.org/officeDocument/2006/relationships/oleObject" Target="/ppt/embeddings/oleObject69.bin" Id="rId5" /><Relationship Type="http://schemas.openxmlformats.org/officeDocument/2006/relationships/notesSlide" Target="/ppt/notesSlides/notesSlide65.xml" Id="rId4" /></Relationships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3" name="think-cell data - do not delete" hidden="1">
            <a:extLst>
              <a:ext uri="{FF2B5EF4-FFF2-40B4-BE49-F238E27FC236}">
                <a16:creationId xmlns:a16="http://schemas.microsoft.com/office/drawing/2014/main" id="{4B6E4C94-5400-662C-05E7-D29B45993AF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01767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16" name="think-cell 幻灯片" r:id="rId5" imgW="349" imgH="349" progId="TCLayout.ActiveDocument.1">
                  <p:embed/>
                </p:oleObj>
              </mc:Choice>
              <mc:Fallback>
                <p:oleObj name="think-cell 幻灯片" r:id="rId5" imgW="349" imgH="349" progId="TCLayout.ActiveDocument.1">
                  <p:embed/>
                  <p:pic>
                    <p:nvPicPr>
                      <p:cNvPr id="40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6E4C94-5400-662C-05E7-D29B45993A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40720EE-233C-5C36-63BE-1A6ED125C0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World map: North America</a:t>
            </a:r>
          </a:p>
        </p:txBody>
      </p:sp>
      <p:sp>
        <p:nvSpPr>
          <p:cNvPr id="6" name="Text Placeholder 15">
            <a:extLst>
              <a:ext uri="{FF2B5EF4-FFF2-40B4-BE49-F238E27FC236}">
                <a16:creationId xmlns:a16="http://schemas.microsoft.com/office/drawing/2014/main" id="{6C1AC923-DCD6-7784-E931-0D84D76007D7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1325684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maps, glob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425A10BF-060D-1E6E-6B6F-536F79FFC184}"/>
              </a:ext>
            </a:extLst>
          </p:cNvPr>
          <p:cNvGrpSpPr/>
          <p:nvPr/>
        </p:nvGrpSpPr>
        <p:grpSpPr>
          <a:xfrm>
            <a:off x="6486733" y="1321315"/>
            <a:ext cx="4288232" cy="3302175"/>
            <a:chOff x="6486733" y="1321315"/>
            <a:chExt cx="4288232" cy="3302175"/>
          </a:xfrm>
          <a:solidFill>
            <a:schemeClr val="bg2"/>
          </a:solidFill>
        </p:grpSpPr>
        <p:sp>
          <p:nvSpPr>
            <p:cNvPr id="77" name="Freeform 681">
              <a:extLst>
                <a:ext uri="{FF2B5EF4-FFF2-40B4-BE49-F238E27FC236}">
                  <a16:creationId xmlns:a16="http://schemas.microsoft.com/office/drawing/2014/main" id="{60B08D21-F3C6-774E-10DD-594E7042B2EA}"/>
                </a:ext>
              </a:extLst>
            </p:cNvPr>
            <p:cNvSpPr>
              <a:spLocks/>
            </p:cNvSpPr>
            <p:nvPr/>
          </p:nvSpPr>
          <p:spPr bwMode="auto">
            <a:xfrm>
              <a:off x="6733514" y="3240170"/>
              <a:ext cx="182402" cy="149496"/>
            </a:xfrm>
            <a:custGeom>
              <a:avLst/>
              <a:gdLst>
                <a:gd name="T0" fmla="*/ 29 w 35"/>
                <a:gd name="T1" fmla="*/ 10 h 27"/>
                <a:gd name="T2" fmla="*/ 30 w 35"/>
                <a:gd name="T3" fmla="*/ 7 h 27"/>
                <a:gd name="T4" fmla="*/ 29 w 35"/>
                <a:gd name="T5" fmla="*/ 5 h 27"/>
                <a:gd name="T6" fmla="*/ 35 w 35"/>
                <a:gd name="T7" fmla="*/ 0 h 27"/>
                <a:gd name="T8" fmla="*/ 25 w 35"/>
                <a:gd name="T9" fmla="*/ 1 h 27"/>
                <a:gd name="T10" fmla="*/ 19 w 35"/>
                <a:gd name="T11" fmla="*/ 2 h 27"/>
                <a:gd name="T12" fmla="*/ 13 w 35"/>
                <a:gd name="T13" fmla="*/ 2 h 27"/>
                <a:gd name="T14" fmla="*/ 8 w 35"/>
                <a:gd name="T15" fmla="*/ 2 h 27"/>
                <a:gd name="T16" fmla="*/ 7 w 35"/>
                <a:gd name="T17" fmla="*/ 4 h 27"/>
                <a:gd name="T18" fmla="*/ 6 w 35"/>
                <a:gd name="T19" fmla="*/ 6 h 27"/>
                <a:gd name="T20" fmla="*/ 3 w 35"/>
                <a:gd name="T21" fmla="*/ 6 h 27"/>
                <a:gd name="T22" fmla="*/ 3 w 35"/>
                <a:gd name="T23" fmla="*/ 10 h 27"/>
                <a:gd name="T24" fmla="*/ 4 w 35"/>
                <a:gd name="T25" fmla="*/ 14 h 27"/>
                <a:gd name="T26" fmla="*/ 2 w 35"/>
                <a:gd name="T27" fmla="*/ 22 h 27"/>
                <a:gd name="T28" fmla="*/ 7 w 35"/>
                <a:gd name="T29" fmla="*/ 27 h 27"/>
                <a:gd name="T30" fmla="*/ 13 w 35"/>
                <a:gd name="T31" fmla="*/ 24 h 27"/>
                <a:gd name="T32" fmla="*/ 22 w 35"/>
                <a:gd name="T33" fmla="*/ 19 h 27"/>
                <a:gd name="T34" fmla="*/ 28 w 35"/>
                <a:gd name="T35" fmla="*/ 15 h 27"/>
                <a:gd name="T36" fmla="*/ 29 w 35"/>
                <a:gd name="T37" fmla="*/ 10 h 27"/>
                <a:gd name="T38" fmla="*/ 29 w 35"/>
                <a:gd name="T39" fmla="*/ 1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5" h="27">
                  <a:moveTo>
                    <a:pt x="29" y="10"/>
                  </a:moveTo>
                  <a:cubicBezTo>
                    <a:pt x="30" y="9"/>
                    <a:pt x="31" y="8"/>
                    <a:pt x="30" y="7"/>
                  </a:cubicBezTo>
                  <a:cubicBezTo>
                    <a:pt x="29" y="6"/>
                    <a:pt x="28" y="6"/>
                    <a:pt x="29" y="5"/>
                  </a:cubicBezTo>
                  <a:cubicBezTo>
                    <a:pt x="31" y="3"/>
                    <a:pt x="35" y="3"/>
                    <a:pt x="35" y="0"/>
                  </a:cubicBezTo>
                  <a:cubicBezTo>
                    <a:pt x="32" y="0"/>
                    <a:pt x="28" y="0"/>
                    <a:pt x="25" y="1"/>
                  </a:cubicBezTo>
                  <a:cubicBezTo>
                    <a:pt x="23" y="1"/>
                    <a:pt x="21" y="2"/>
                    <a:pt x="19" y="2"/>
                  </a:cubicBezTo>
                  <a:cubicBezTo>
                    <a:pt x="16" y="2"/>
                    <a:pt x="15" y="1"/>
                    <a:pt x="13" y="2"/>
                  </a:cubicBezTo>
                  <a:cubicBezTo>
                    <a:pt x="11" y="3"/>
                    <a:pt x="10" y="3"/>
                    <a:pt x="8" y="2"/>
                  </a:cubicBezTo>
                  <a:cubicBezTo>
                    <a:pt x="6" y="0"/>
                    <a:pt x="7" y="4"/>
                    <a:pt x="7" y="4"/>
                  </a:cubicBezTo>
                  <a:cubicBezTo>
                    <a:pt x="6" y="5"/>
                    <a:pt x="6" y="6"/>
                    <a:pt x="6" y="6"/>
                  </a:cubicBezTo>
                  <a:cubicBezTo>
                    <a:pt x="5" y="8"/>
                    <a:pt x="4" y="6"/>
                    <a:pt x="3" y="6"/>
                  </a:cubicBezTo>
                  <a:cubicBezTo>
                    <a:pt x="2" y="7"/>
                    <a:pt x="3" y="9"/>
                    <a:pt x="3" y="10"/>
                  </a:cubicBezTo>
                  <a:cubicBezTo>
                    <a:pt x="3" y="11"/>
                    <a:pt x="2" y="13"/>
                    <a:pt x="4" y="14"/>
                  </a:cubicBezTo>
                  <a:cubicBezTo>
                    <a:pt x="9" y="17"/>
                    <a:pt x="5" y="19"/>
                    <a:pt x="2" y="22"/>
                  </a:cubicBezTo>
                  <a:cubicBezTo>
                    <a:pt x="0" y="24"/>
                    <a:pt x="5" y="27"/>
                    <a:pt x="7" y="27"/>
                  </a:cubicBezTo>
                  <a:cubicBezTo>
                    <a:pt x="9" y="27"/>
                    <a:pt x="11" y="25"/>
                    <a:pt x="13" y="24"/>
                  </a:cubicBezTo>
                  <a:cubicBezTo>
                    <a:pt x="16" y="22"/>
                    <a:pt x="19" y="21"/>
                    <a:pt x="22" y="19"/>
                  </a:cubicBezTo>
                  <a:cubicBezTo>
                    <a:pt x="24" y="18"/>
                    <a:pt x="26" y="17"/>
                    <a:pt x="28" y="15"/>
                  </a:cubicBezTo>
                  <a:cubicBezTo>
                    <a:pt x="29" y="13"/>
                    <a:pt x="28" y="11"/>
                    <a:pt x="29" y="10"/>
                  </a:cubicBezTo>
                  <a:cubicBezTo>
                    <a:pt x="30" y="8"/>
                    <a:pt x="29" y="11"/>
                    <a:pt x="29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8" name="Freeform 688">
              <a:extLst>
                <a:ext uri="{FF2B5EF4-FFF2-40B4-BE49-F238E27FC236}">
                  <a16:creationId xmlns:a16="http://schemas.microsoft.com/office/drawing/2014/main" id="{8744A85A-14D3-447A-1C93-7663FCA68617}"/>
                </a:ext>
              </a:extLst>
            </p:cNvPr>
            <p:cNvSpPr>
              <a:spLocks/>
            </p:cNvSpPr>
            <p:nvPr/>
          </p:nvSpPr>
          <p:spPr bwMode="auto">
            <a:xfrm>
              <a:off x="6701324" y="3361280"/>
              <a:ext cx="42917" cy="145713"/>
            </a:xfrm>
            <a:custGeom>
              <a:avLst/>
              <a:gdLst>
                <a:gd name="T0" fmla="*/ 4 w 8"/>
                <a:gd name="T1" fmla="*/ 17 h 26"/>
                <a:gd name="T2" fmla="*/ 6 w 8"/>
                <a:gd name="T3" fmla="*/ 13 h 26"/>
                <a:gd name="T4" fmla="*/ 5 w 8"/>
                <a:gd name="T5" fmla="*/ 10 h 26"/>
                <a:gd name="T6" fmla="*/ 7 w 8"/>
                <a:gd name="T7" fmla="*/ 4 h 26"/>
                <a:gd name="T8" fmla="*/ 6 w 8"/>
                <a:gd name="T9" fmla="*/ 0 h 26"/>
                <a:gd name="T10" fmla="*/ 2 w 8"/>
                <a:gd name="T11" fmla="*/ 7 h 26"/>
                <a:gd name="T12" fmla="*/ 0 w 8"/>
                <a:gd name="T13" fmla="*/ 11 h 26"/>
                <a:gd name="T14" fmla="*/ 1 w 8"/>
                <a:gd name="T15" fmla="*/ 16 h 26"/>
                <a:gd name="T16" fmla="*/ 2 w 8"/>
                <a:gd name="T17" fmla="*/ 26 h 26"/>
                <a:gd name="T18" fmla="*/ 2 w 8"/>
                <a:gd name="T19" fmla="*/ 25 h 26"/>
                <a:gd name="T20" fmla="*/ 4 w 8"/>
                <a:gd name="T21" fmla="*/ 17 h 26"/>
                <a:gd name="T22" fmla="*/ 4 w 8"/>
                <a:gd name="T23" fmla="*/ 17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" h="26">
                  <a:moveTo>
                    <a:pt x="4" y="17"/>
                  </a:moveTo>
                  <a:cubicBezTo>
                    <a:pt x="4" y="16"/>
                    <a:pt x="5" y="15"/>
                    <a:pt x="6" y="13"/>
                  </a:cubicBezTo>
                  <a:cubicBezTo>
                    <a:pt x="7" y="11"/>
                    <a:pt x="6" y="12"/>
                    <a:pt x="5" y="10"/>
                  </a:cubicBezTo>
                  <a:cubicBezTo>
                    <a:pt x="3" y="8"/>
                    <a:pt x="4" y="3"/>
                    <a:pt x="7" y="4"/>
                  </a:cubicBezTo>
                  <a:cubicBezTo>
                    <a:pt x="8" y="1"/>
                    <a:pt x="8" y="1"/>
                    <a:pt x="6" y="0"/>
                  </a:cubicBezTo>
                  <a:cubicBezTo>
                    <a:pt x="4" y="0"/>
                    <a:pt x="3" y="5"/>
                    <a:pt x="2" y="7"/>
                  </a:cubicBezTo>
                  <a:cubicBezTo>
                    <a:pt x="1" y="8"/>
                    <a:pt x="0" y="9"/>
                    <a:pt x="0" y="11"/>
                  </a:cubicBezTo>
                  <a:cubicBezTo>
                    <a:pt x="0" y="12"/>
                    <a:pt x="1" y="14"/>
                    <a:pt x="1" y="16"/>
                  </a:cubicBezTo>
                  <a:cubicBezTo>
                    <a:pt x="1" y="19"/>
                    <a:pt x="2" y="22"/>
                    <a:pt x="2" y="26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3"/>
                    <a:pt x="3" y="20"/>
                    <a:pt x="4" y="17"/>
                  </a:cubicBezTo>
                  <a:cubicBezTo>
                    <a:pt x="4" y="16"/>
                    <a:pt x="4" y="18"/>
                    <a:pt x="4" y="1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9" name="Freeform 683">
              <a:extLst>
                <a:ext uri="{FF2B5EF4-FFF2-40B4-BE49-F238E27FC236}">
                  <a16:creationId xmlns:a16="http://schemas.microsoft.com/office/drawing/2014/main" id="{06C32055-2177-0496-AA59-E688F1B431CA}"/>
                </a:ext>
              </a:extLst>
            </p:cNvPr>
            <p:cNvSpPr>
              <a:spLocks/>
            </p:cNvSpPr>
            <p:nvPr/>
          </p:nvSpPr>
          <p:spPr bwMode="auto">
            <a:xfrm>
              <a:off x="6486733" y="3077428"/>
              <a:ext cx="497134" cy="200590"/>
            </a:xfrm>
            <a:custGeom>
              <a:avLst/>
              <a:gdLst>
                <a:gd name="T0" fmla="*/ 52 w 95"/>
                <a:gd name="T1" fmla="*/ 36 h 36"/>
                <a:gd name="T2" fmla="*/ 54 w 95"/>
                <a:gd name="T3" fmla="*/ 33 h 36"/>
                <a:gd name="T4" fmla="*/ 55 w 95"/>
                <a:gd name="T5" fmla="*/ 31 h 36"/>
                <a:gd name="T6" fmla="*/ 60 w 95"/>
                <a:gd name="T7" fmla="*/ 31 h 36"/>
                <a:gd name="T8" fmla="*/ 64 w 95"/>
                <a:gd name="T9" fmla="*/ 31 h 36"/>
                <a:gd name="T10" fmla="*/ 75 w 95"/>
                <a:gd name="T11" fmla="*/ 29 h 36"/>
                <a:gd name="T12" fmla="*/ 85 w 95"/>
                <a:gd name="T13" fmla="*/ 28 h 36"/>
                <a:gd name="T14" fmla="*/ 90 w 95"/>
                <a:gd name="T15" fmla="*/ 28 h 36"/>
                <a:gd name="T16" fmla="*/ 92 w 95"/>
                <a:gd name="T17" fmla="*/ 30 h 36"/>
                <a:gd name="T18" fmla="*/ 94 w 95"/>
                <a:gd name="T19" fmla="*/ 28 h 36"/>
                <a:gd name="T20" fmla="*/ 92 w 95"/>
                <a:gd name="T21" fmla="*/ 24 h 36"/>
                <a:gd name="T22" fmla="*/ 92 w 95"/>
                <a:gd name="T23" fmla="*/ 22 h 36"/>
                <a:gd name="T24" fmla="*/ 91 w 95"/>
                <a:gd name="T25" fmla="*/ 17 h 36"/>
                <a:gd name="T26" fmla="*/ 93 w 95"/>
                <a:gd name="T27" fmla="*/ 14 h 36"/>
                <a:gd name="T28" fmla="*/ 89 w 95"/>
                <a:gd name="T29" fmla="*/ 8 h 36"/>
                <a:gd name="T30" fmla="*/ 83 w 95"/>
                <a:gd name="T31" fmla="*/ 3 h 36"/>
                <a:gd name="T32" fmla="*/ 80 w 95"/>
                <a:gd name="T33" fmla="*/ 3 h 36"/>
                <a:gd name="T34" fmla="*/ 78 w 95"/>
                <a:gd name="T35" fmla="*/ 3 h 36"/>
                <a:gd name="T36" fmla="*/ 73 w 95"/>
                <a:gd name="T37" fmla="*/ 6 h 36"/>
                <a:gd name="T38" fmla="*/ 63 w 95"/>
                <a:gd name="T39" fmla="*/ 6 h 36"/>
                <a:gd name="T40" fmla="*/ 58 w 95"/>
                <a:gd name="T41" fmla="*/ 6 h 36"/>
                <a:gd name="T42" fmla="*/ 54 w 95"/>
                <a:gd name="T43" fmla="*/ 4 h 36"/>
                <a:gd name="T44" fmla="*/ 50 w 95"/>
                <a:gd name="T45" fmla="*/ 2 h 36"/>
                <a:gd name="T46" fmla="*/ 46 w 95"/>
                <a:gd name="T47" fmla="*/ 0 h 36"/>
                <a:gd name="T48" fmla="*/ 37 w 95"/>
                <a:gd name="T49" fmla="*/ 0 h 36"/>
                <a:gd name="T50" fmla="*/ 29 w 95"/>
                <a:gd name="T51" fmla="*/ 4 h 36"/>
                <a:gd name="T52" fmla="*/ 18 w 95"/>
                <a:gd name="T53" fmla="*/ 5 h 36"/>
                <a:gd name="T54" fmla="*/ 16 w 95"/>
                <a:gd name="T55" fmla="*/ 6 h 36"/>
                <a:gd name="T56" fmla="*/ 18 w 95"/>
                <a:gd name="T57" fmla="*/ 7 h 36"/>
                <a:gd name="T58" fmla="*/ 15 w 95"/>
                <a:gd name="T59" fmla="*/ 8 h 36"/>
                <a:gd name="T60" fmla="*/ 13 w 95"/>
                <a:gd name="T61" fmla="*/ 9 h 36"/>
                <a:gd name="T62" fmla="*/ 4 w 95"/>
                <a:gd name="T63" fmla="*/ 9 h 36"/>
                <a:gd name="T64" fmla="*/ 3 w 95"/>
                <a:gd name="T65" fmla="*/ 11 h 36"/>
                <a:gd name="T66" fmla="*/ 3 w 95"/>
                <a:gd name="T67" fmla="*/ 15 h 36"/>
                <a:gd name="T68" fmla="*/ 5 w 95"/>
                <a:gd name="T69" fmla="*/ 14 h 36"/>
                <a:gd name="T70" fmla="*/ 3 w 95"/>
                <a:gd name="T71" fmla="*/ 17 h 36"/>
                <a:gd name="T72" fmla="*/ 5 w 95"/>
                <a:gd name="T73" fmla="*/ 17 h 36"/>
                <a:gd name="T74" fmla="*/ 5 w 95"/>
                <a:gd name="T75" fmla="*/ 19 h 36"/>
                <a:gd name="T76" fmla="*/ 3 w 95"/>
                <a:gd name="T77" fmla="*/ 20 h 36"/>
                <a:gd name="T78" fmla="*/ 4 w 95"/>
                <a:gd name="T79" fmla="*/ 22 h 36"/>
                <a:gd name="T80" fmla="*/ 4 w 95"/>
                <a:gd name="T81" fmla="*/ 25 h 36"/>
                <a:gd name="T82" fmla="*/ 8 w 95"/>
                <a:gd name="T83" fmla="*/ 27 h 36"/>
                <a:gd name="T84" fmla="*/ 7 w 95"/>
                <a:gd name="T85" fmla="*/ 30 h 36"/>
                <a:gd name="T86" fmla="*/ 10 w 95"/>
                <a:gd name="T87" fmla="*/ 30 h 36"/>
                <a:gd name="T88" fmla="*/ 8 w 95"/>
                <a:gd name="T89" fmla="*/ 31 h 36"/>
                <a:gd name="T90" fmla="*/ 10 w 95"/>
                <a:gd name="T91" fmla="*/ 31 h 36"/>
                <a:gd name="T92" fmla="*/ 9 w 95"/>
                <a:gd name="T93" fmla="*/ 34 h 36"/>
                <a:gd name="T94" fmla="*/ 11 w 95"/>
                <a:gd name="T95" fmla="*/ 35 h 36"/>
                <a:gd name="T96" fmla="*/ 12 w 95"/>
                <a:gd name="T97" fmla="*/ 31 h 36"/>
                <a:gd name="T98" fmla="*/ 16 w 95"/>
                <a:gd name="T99" fmla="*/ 32 h 36"/>
                <a:gd name="T100" fmla="*/ 22 w 95"/>
                <a:gd name="T101" fmla="*/ 33 h 36"/>
                <a:gd name="T102" fmla="*/ 27 w 95"/>
                <a:gd name="T103" fmla="*/ 31 h 36"/>
                <a:gd name="T104" fmla="*/ 35 w 95"/>
                <a:gd name="T105" fmla="*/ 35 h 36"/>
                <a:gd name="T106" fmla="*/ 42 w 95"/>
                <a:gd name="T107" fmla="*/ 32 h 36"/>
                <a:gd name="T108" fmla="*/ 44 w 95"/>
                <a:gd name="T109" fmla="*/ 30 h 36"/>
                <a:gd name="T110" fmla="*/ 48 w 95"/>
                <a:gd name="T111" fmla="*/ 31 h 36"/>
                <a:gd name="T112" fmla="*/ 50 w 95"/>
                <a:gd name="T113" fmla="*/ 33 h 36"/>
                <a:gd name="T114" fmla="*/ 50 w 95"/>
                <a:gd name="T115" fmla="*/ 35 h 36"/>
                <a:gd name="T116" fmla="*/ 52 w 95"/>
                <a:gd name="T117" fmla="*/ 36 h 36"/>
                <a:gd name="T118" fmla="*/ 52 w 95"/>
                <a:gd name="T119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5" h="36">
                  <a:moveTo>
                    <a:pt x="52" y="36"/>
                  </a:moveTo>
                  <a:cubicBezTo>
                    <a:pt x="53" y="35"/>
                    <a:pt x="54" y="33"/>
                    <a:pt x="54" y="33"/>
                  </a:cubicBezTo>
                  <a:cubicBezTo>
                    <a:pt x="53" y="31"/>
                    <a:pt x="54" y="30"/>
                    <a:pt x="55" y="31"/>
                  </a:cubicBezTo>
                  <a:cubicBezTo>
                    <a:pt x="57" y="32"/>
                    <a:pt x="58" y="31"/>
                    <a:pt x="60" y="31"/>
                  </a:cubicBezTo>
                  <a:cubicBezTo>
                    <a:pt x="62" y="30"/>
                    <a:pt x="62" y="30"/>
                    <a:pt x="64" y="31"/>
                  </a:cubicBezTo>
                  <a:cubicBezTo>
                    <a:pt x="68" y="31"/>
                    <a:pt x="71" y="29"/>
                    <a:pt x="75" y="29"/>
                  </a:cubicBezTo>
                  <a:cubicBezTo>
                    <a:pt x="78" y="29"/>
                    <a:pt x="82" y="29"/>
                    <a:pt x="85" y="28"/>
                  </a:cubicBezTo>
                  <a:cubicBezTo>
                    <a:pt x="87" y="27"/>
                    <a:pt x="87" y="29"/>
                    <a:pt x="90" y="28"/>
                  </a:cubicBezTo>
                  <a:cubicBezTo>
                    <a:pt x="92" y="27"/>
                    <a:pt x="91" y="29"/>
                    <a:pt x="92" y="30"/>
                  </a:cubicBezTo>
                  <a:cubicBezTo>
                    <a:pt x="93" y="31"/>
                    <a:pt x="95" y="29"/>
                    <a:pt x="94" y="28"/>
                  </a:cubicBezTo>
                  <a:cubicBezTo>
                    <a:pt x="93" y="27"/>
                    <a:pt x="95" y="25"/>
                    <a:pt x="92" y="24"/>
                  </a:cubicBezTo>
                  <a:cubicBezTo>
                    <a:pt x="91" y="23"/>
                    <a:pt x="93" y="23"/>
                    <a:pt x="92" y="22"/>
                  </a:cubicBezTo>
                  <a:cubicBezTo>
                    <a:pt x="92" y="20"/>
                    <a:pt x="91" y="19"/>
                    <a:pt x="91" y="17"/>
                  </a:cubicBezTo>
                  <a:cubicBezTo>
                    <a:pt x="91" y="16"/>
                    <a:pt x="93" y="14"/>
                    <a:pt x="93" y="14"/>
                  </a:cubicBezTo>
                  <a:cubicBezTo>
                    <a:pt x="92" y="12"/>
                    <a:pt x="90" y="11"/>
                    <a:pt x="89" y="8"/>
                  </a:cubicBezTo>
                  <a:cubicBezTo>
                    <a:pt x="87" y="5"/>
                    <a:pt x="87" y="4"/>
                    <a:pt x="83" y="3"/>
                  </a:cubicBezTo>
                  <a:cubicBezTo>
                    <a:pt x="82" y="3"/>
                    <a:pt x="81" y="3"/>
                    <a:pt x="80" y="3"/>
                  </a:cubicBezTo>
                  <a:cubicBezTo>
                    <a:pt x="78" y="2"/>
                    <a:pt x="79" y="3"/>
                    <a:pt x="78" y="3"/>
                  </a:cubicBezTo>
                  <a:cubicBezTo>
                    <a:pt x="76" y="5"/>
                    <a:pt x="74" y="5"/>
                    <a:pt x="73" y="6"/>
                  </a:cubicBezTo>
                  <a:cubicBezTo>
                    <a:pt x="70" y="7"/>
                    <a:pt x="66" y="6"/>
                    <a:pt x="63" y="6"/>
                  </a:cubicBezTo>
                  <a:cubicBezTo>
                    <a:pt x="61" y="6"/>
                    <a:pt x="59" y="6"/>
                    <a:pt x="58" y="6"/>
                  </a:cubicBezTo>
                  <a:cubicBezTo>
                    <a:pt x="56" y="5"/>
                    <a:pt x="56" y="4"/>
                    <a:pt x="54" y="4"/>
                  </a:cubicBezTo>
                  <a:cubicBezTo>
                    <a:pt x="52" y="4"/>
                    <a:pt x="51" y="3"/>
                    <a:pt x="50" y="2"/>
                  </a:cubicBezTo>
                  <a:cubicBezTo>
                    <a:pt x="49" y="2"/>
                    <a:pt x="45" y="0"/>
                    <a:pt x="46" y="0"/>
                  </a:cubicBezTo>
                  <a:cubicBezTo>
                    <a:pt x="44" y="1"/>
                    <a:pt x="39" y="0"/>
                    <a:pt x="37" y="0"/>
                  </a:cubicBezTo>
                  <a:cubicBezTo>
                    <a:pt x="34" y="0"/>
                    <a:pt x="31" y="3"/>
                    <a:pt x="29" y="4"/>
                  </a:cubicBezTo>
                  <a:cubicBezTo>
                    <a:pt x="26" y="6"/>
                    <a:pt x="21" y="4"/>
                    <a:pt x="18" y="5"/>
                  </a:cubicBezTo>
                  <a:cubicBezTo>
                    <a:pt x="17" y="5"/>
                    <a:pt x="16" y="5"/>
                    <a:pt x="16" y="6"/>
                  </a:cubicBezTo>
                  <a:cubicBezTo>
                    <a:pt x="16" y="6"/>
                    <a:pt x="18" y="6"/>
                    <a:pt x="18" y="7"/>
                  </a:cubicBezTo>
                  <a:cubicBezTo>
                    <a:pt x="18" y="7"/>
                    <a:pt x="15" y="7"/>
                    <a:pt x="15" y="8"/>
                  </a:cubicBezTo>
                  <a:cubicBezTo>
                    <a:pt x="15" y="9"/>
                    <a:pt x="15" y="9"/>
                    <a:pt x="13" y="9"/>
                  </a:cubicBezTo>
                  <a:cubicBezTo>
                    <a:pt x="10" y="9"/>
                    <a:pt x="7" y="9"/>
                    <a:pt x="4" y="9"/>
                  </a:cubicBezTo>
                  <a:cubicBezTo>
                    <a:pt x="2" y="9"/>
                    <a:pt x="3" y="10"/>
                    <a:pt x="3" y="11"/>
                  </a:cubicBezTo>
                  <a:cubicBezTo>
                    <a:pt x="2" y="13"/>
                    <a:pt x="0" y="14"/>
                    <a:pt x="3" y="15"/>
                  </a:cubicBezTo>
                  <a:cubicBezTo>
                    <a:pt x="3" y="15"/>
                    <a:pt x="5" y="14"/>
                    <a:pt x="5" y="14"/>
                  </a:cubicBezTo>
                  <a:cubicBezTo>
                    <a:pt x="5" y="15"/>
                    <a:pt x="3" y="17"/>
                    <a:pt x="3" y="17"/>
                  </a:cubicBezTo>
                  <a:cubicBezTo>
                    <a:pt x="4" y="18"/>
                    <a:pt x="4" y="17"/>
                    <a:pt x="5" y="17"/>
                  </a:cubicBezTo>
                  <a:cubicBezTo>
                    <a:pt x="5" y="17"/>
                    <a:pt x="5" y="19"/>
                    <a:pt x="5" y="19"/>
                  </a:cubicBezTo>
                  <a:cubicBezTo>
                    <a:pt x="7" y="22"/>
                    <a:pt x="4" y="20"/>
                    <a:pt x="3" y="20"/>
                  </a:cubicBezTo>
                  <a:cubicBezTo>
                    <a:pt x="3" y="20"/>
                    <a:pt x="2" y="23"/>
                    <a:pt x="4" y="22"/>
                  </a:cubicBezTo>
                  <a:cubicBezTo>
                    <a:pt x="6" y="22"/>
                    <a:pt x="4" y="24"/>
                    <a:pt x="4" y="25"/>
                  </a:cubicBezTo>
                  <a:cubicBezTo>
                    <a:pt x="4" y="26"/>
                    <a:pt x="7" y="26"/>
                    <a:pt x="8" y="27"/>
                  </a:cubicBezTo>
                  <a:cubicBezTo>
                    <a:pt x="9" y="28"/>
                    <a:pt x="7" y="30"/>
                    <a:pt x="7" y="30"/>
                  </a:cubicBezTo>
                  <a:cubicBezTo>
                    <a:pt x="8" y="30"/>
                    <a:pt x="9" y="28"/>
                    <a:pt x="10" y="30"/>
                  </a:cubicBezTo>
                  <a:cubicBezTo>
                    <a:pt x="10" y="31"/>
                    <a:pt x="8" y="31"/>
                    <a:pt x="8" y="31"/>
                  </a:cubicBezTo>
                  <a:cubicBezTo>
                    <a:pt x="8" y="31"/>
                    <a:pt x="10" y="31"/>
                    <a:pt x="10" y="31"/>
                  </a:cubicBezTo>
                  <a:cubicBezTo>
                    <a:pt x="11" y="32"/>
                    <a:pt x="10" y="33"/>
                    <a:pt x="9" y="34"/>
                  </a:cubicBezTo>
                  <a:cubicBezTo>
                    <a:pt x="9" y="35"/>
                    <a:pt x="11" y="36"/>
                    <a:pt x="11" y="35"/>
                  </a:cubicBezTo>
                  <a:cubicBezTo>
                    <a:pt x="12" y="34"/>
                    <a:pt x="11" y="32"/>
                    <a:pt x="12" y="31"/>
                  </a:cubicBezTo>
                  <a:cubicBezTo>
                    <a:pt x="13" y="30"/>
                    <a:pt x="15" y="32"/>
                    <a:pt x="16" y="32"/>
                  </a:cubicBezTo>
                  <a:cubicBezTo>
                    <a:pt x="18" y="33"/>
                    <a:pt x="20" y="35"/>
                    <a:pt x="22" y="33"/>
                  </a:cubicBezTo>
                  <a:cubicBezTo>
                    <a:pt x="25" y="32"/>
                    <a:pt x="23" y="29"/>
                    <a:pt x="27" y="31"/>
                  </a:cubicBezTo>
                  <a:cubicBezTo>
                    <a:pt x="29" y="33"/>
                    <a:pt x="32" y="35"/>
                    <a:pt x="35" y="35"/>
                  </a:cubicBezTo>
                  <a:cubicBezTo>
                    <a:pt x="37" y="34"/>
                    <a:pt x="40" y="33"/>
                    <a:pt x="42" y="32"/>
                  </a:cubicBezTo>
                  <a:cubicBezTo>
                    <a:pt x="43" y="31"/>
                    <a:pt x="43" y="30"/>
                    <a:pt x="44" y="30"/>
                  </a:cubicBezTo>
                  <a:cubicBezTo>
                    <a:pt x="46" y="31"/>
                    <a:pt x="47" y="32"/>
                    <a:pt x="48" y="31"/>
                  </a:cubicBezTo>
                  <a:cubicBezTo>
                    <a:pt x="51" y="30"/>
                    <a:pt x="51" y="31"/>
                    <a:pt x="50" y="33"/>
                  </a:cubicBezTo>
                  <a:cubicBezTo>
                    <a:pt x="50" y="34"/>
                    <a:pt x="52" y="34"/>
                    <a:pt x="50" y="35"/>
                  </a:cubicBezTo>
                  <a:cubicBezTo>
                    <a:pt x="51" y="36"/>
                    <a:pt x="51" y="36"/>
                    <a:pt x="52" y="36"/>
                  </a:cubicBezTo>
                  <a:cubicBezTo>
                    <a:pt x="53" y="35"/>
                    <a:pt x="51" y="36"/>
                    <a:pt x="52" y="3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0" name="Freeform 686">
              <a:extLst>
                <a:ext uri="{FF2B5EF4-FFF2-40B4-BE49-F238E27FC236}">
                  <a16:creationId xmlns:a16="http://schemas.microsoft.com/office/drawing/2014/main" id="{9FBFCE41-404F-F706-65A1-1B023257E049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8148" y="3317758"/>
              <a:ext cx="41131" cy="49203"/>
            </a:xfrm>
            <a:custGeom>
              <a:avLst/>
              <a:gdLst>
                <a:gd name="T0" fmla="*/ 7 w 8"/>
                <a:gd name="T1" fmla="*/ 2 h 9"/>
                <a:gd name="T2" fmla="*/ 4 w 8"/>
                <a:gd name="T3" fmla="*/ 0 h 9"/>
                <a:gd name="T4" fmla="*/ 2 w 8"/>
                <a:gd name="T5" fmla="*/ 2 h 9"/>
                <a:gd name="T6" fmla="*/ 0 w 8"/>
                <a:gd name="T7" fmla="*/ 8 h 9"/>
                <a:gd name="T8" fmla="*/ 4 w 8"/>
                <a:gd name="T9" fmla="*/ 8 h 9"/>
                <a:gd name="T10" fmla="*/ 7 w 8"/>
                <a:gd name="T11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9">
                  <a:moveTo>
                    <a:pt x="7" y="2"/>
                  </a:moveTo>
                  <a:cubicBezTo>
                    <a:pt x="7" y="1"/>
                    <a:pt x="5" y="0"/>
                    <a:pt x="4" y="0"/>
                  </a:cubicBezTo>
                  <a:cubicBezTo>
                    <a:pt x="3" y="1"/>
                    <a:pt x="3" y="1"/>
                    <a:pt x="2" y="2"/>
                  </a:cubicBezTo>
                  <a:cubicBezTo>
                    <a:pt x="2" y="4"/>
                    <a:pt x="1" y="6"/>
                    <a:pt x="0" y="8"/>
                  </a:cubicBezTo>
                  <a:cubicBezTo>
                    <a:pt x="2" y="8"/>
                    <a:pt x="2" y="9"/>
                    <a:pt x="4" y="8"/>
                  </a:cubicBezTo>
                  <a:cubicBezTo>
                    <a:pt x="5" y="7"/>
                    <a:pt x="8" y="4"/>
                    <a:pt x="7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1" name="Freeform 720">
              <a:extLst>
                <a:ext uri="{FF2B5EF4-FFF2-40B4-BE49-F238E27FC236}">
                  <a16:creationId xmlns:a16="http://schemas.microsoft.com/office/drawing/2014/main" id="{2490CA0D-EFCC-1647-2C1B-B1C8AF6F33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27862" y="1544612"/>
              <a:ext cx="4247103" cy="1566878"/>
            </a:xfrm>
            <a:custGeom>
              <a:avLst/>
              <a:gdLst>
                <a:gd name="T0" fmla="*/ 785 w 810"/>
                <a:gd name="T1" fmla="*/ 109 h 282"/>
                <a:gd name="T2" fmla="*/ 725 w 810"/>
                <a:gd name="T3" fmla="*/ 77 h 282"/>
                <a:gd name="T4" fmla="*/ 665 w 810"/>
                <a:gd name="T5" fmla="*/ 80 h 282"/>
                <a:gd name="T6" fmla="*/ 607 w 810"/>
                <a:gd name="T7" fmla="*/ 65 h 282"/>
                <a:gd name="T8" fmla="*/ 578 w 810"/>
                <a:gd name="T9" fmla="*/ 56 h 282"/>
                <a:gd name="T10" fmla="*/ 555 w 810"/>
                <a:gd name="T11" fmla="*/ 61 h 282"/>
                <a:gd name="T12" fmla="*/ 521 w 810"/>
                <a:gd name="T13" fmla="*/ 59 h 282"/>
                <a:gd name="T14" fmla="*/ 495 w 810"/>
                <a:gd name="T15" fmla="*/ 44 h 282"/>
                <a:gd name="T16" fmla="*/ 469 w 810"/>
                <a:gd name="T17" fmla="*/ 49 h 282"/>
                <a:gd name="T18" fmla="*/ 423 w 810"/>
                <a:gd name="T19" fmla="*/ 43 h 282"/>
                <a:gd name="T20" fmla="*/ 383 w 810"/>
                <a:gd name="T21" fmla="*/ 50 h 282"/>
                <a:gd name="T22" fmla="*/ 423 w 810"/>
                <a:gd name="T23" fmla="*/ 17 h 282"/>
                <a:gd name="T24" fmla="*/ 378 w 810"/>
                <a:gd name="T25" fmla="*/ 7 h 282"/>
                <a:gd name="T26" fmla="*/ 355 w 810"/>
                <a:gd name="T27" fmla="*/ 17 h 282"/>
                <a:gd name="T28" fmla="*/ 320 w 810"/>
                <a:gd name="T29" fmla="*/ 22 h 282"/>
                <a:gd name="T30" fmla="*/ 297 w 810"/>
                <a:gd name="T31" fmla="*/ 32 h 282"/>
                <a:gd name="T32" fmla="*/ 269 w 810"/>
                <a:gd name="T33" fmla="*/ 49 h 282"/>
                <a:gd name="T34" fmla="*/ 247 w 810"/>
                <a:gd name="T35" fmla="*/ 58 h 282"/>
                <a:gd name="T36" fmla="*/ 242 w 810"/>
                <a:gd name="T37" fmla="*/ 50 h 282"/>
                <a:gd name="T38" fmla="*/ 259 w 810"/>
                <a:gd name="T39" fmla="*/ 97 h 282"/>
                <a:gd name="T40" fmla="*/ 227 w 810"/>
                <a:gd name="T41" fmla="*/ 107 h 282"/>
                <a:gd name="T42" fmla="*/ 231 w 810"/>
                <a:gd name="T43" fmla="*/ 88 h 282"/>
                <a:gd name="T44" fmla="*/ 206 w 810"/>
                <a:gd name="T45" fmla="*/ 60 h 282"/>
                <a:gd name="T46" fmla="*/ 191 w 810"/>
                <a:gd name="T47" fmla="*/ 83 h 282"/>
                <a:gd name="T48" fmla="*/ 131 w 810"/>
                <a:gd name="T49" fmla="*/ 90 h 282"/>
                <a:gd name="T50" fmla="*/ 92 w 810"/>
                <a:gd name="T51" fmla="*/ 100 h 282"/>
                <a:gd name="T52" fmla="*/ 84 w 810"/>
                <a:gd name="T53" fmla="*/ 107 h 282"/>
                <a:gd name="T54" fmla="*/ 53 w 810"/>
                <a:gd name="T55" fmla="*/ 120 h 282"/>
                <a:gd name="T56" fmla="*/ 31 w 810"/>
                <a:gd name="T57" fmla="*/ 102 h 282"/>
                <a:gd name="T58" fmla="*/ 29 w 810"/>
                <a:gd name="T59" fmla="*/ 84 h 282"/>
                <a:gd name="T60" fmla="*/ 5 w 810"/>
                <a:gd name="T61" fmla="*/ 88 h 282"/>
                <a:gd name="T62" fmla="*/ 7 w 810"/>
                <a:gd name="T63" fmla="*/ 152 h 282"/>
                <a:gd name="T64" fmla="*/ 16 w 810"/>
                <a:gd name="T65" fmla="*/ 187 h 282"/>
                <a:gd name="T66" fmla="*/ 40 w 810"/>
                <a:gd name="T67" fmla="*/ 223 h 282"/>
                <a:gd name="T68" fmla="*/ 53 w 810"/>
                <a:gd name="T69" fmla="*/ 244 h 282"/>
                <a:gd name="T70" fmla="*/ 82 w 810"/>
                <a:gd name="T71" fmla="*/ 272 h 282"/>
                <a:gd name="T72" fmla="*/ 109 w 810"/>
                <a:gd name="T73" fmla="*/ 250 h 282"/>
                <a:gd name="T74" fmla="*/ 108 w 810"/>
                <a:gd name="T75" fmla="*/ 222 h 282"/>
                <a:gd name="T76" fmla="*/ 160 w 810"/>
                <a:gd name="T77" fmla="*/ 223 h 282"/>
                <a:gd name="T78" fmla="*/ 196 w 810"/>
                <a:gd name="T79" fmla="*/ 196 h 282"/>
                <a:gd name="T80" fmla="*/ 252 w 810"/>
                <a:gd name="T81" fmla="*/ 204 h 282"/>
                <a:gd name="T82" fmla="*/ 331 w 810"/>
                <a:gd name="T83" fmla="*/ 226 h 282"/>
                <a:gd name="T84" fmla="*/ 415 w 810"/>
                <a:gd name="T85" fmla="*/ 231 h 282"/>
                <a:gd name="T86" fmla="*/ 483 w 810"/>
                <a:gd name="T87" fmla="*/ 207 h 282"/>
                <a:gd name="T88" fmla="*/ 521 w 810"/>
                <a:gd name="T89" fmla="*/ 258 h 282"/>
                <a:gd name="T90" fmla="*/ 558 w 810"/>
                <a:gd name="T91" fmla="*/ 226 h 282"/>
                <a:gd name="T92" fmla="*/ 543 w 810"/>
                <a:gd name="T93" fmla="*/ 199 h 282"/>
                <a:gd name="T94" fmla="*/ 591 w 810"/>
                <a:gd name="T95" fmla="*/ 162 h 282"/>
                <a:gd name="T96" fmla="*/ 627 w 810"/>
                <a:gd name="T97" fmla="*/ 165 h 282"/>
                <a:gd name="T98" fmla="*/ 657 w 810"/>
                <a:gd name="T99" fmla="*/ 153 h 282"/>
                <a:gd name="T100" fmla="*/ 669 w 810"/>
                <a:gd name="T101" fmla="*/ 154 h 282"/>
                <a:gd name="T102" fmla="*/ 649 w 810"/>
                <a:gd name="T103" fmla="*/ 210 h 282"/>
                <a:gd name="T104" fmla="*/ 667 w 810"/>
                <a:gd name="T105" fmla="*/ 171 h 282"/>
                <a:gd name="T106" fmla="*/ 710 w 810"/>
                <a:gd name="T107" fmla="*/ 156 h 282"/>
                <a:gd name="T108" fmla="*/ 738 w 810"/>
                <a:gd name="T109" fmla="*/ 121 h 282"/>
                <a:gd name="T110" fmla="*/ 765 w 810"/>
                <a:gd name="T111" fmla="*/ 116 h 282"/>
                <a:gd name="T112" fmla="*/ 802 w 810"/>
                <a:gd name="T113" fmla="*/ 115 h 282"/>
                <a:gd name="T114" fmla="*/ 388 w 810"/>
                <a:gd name="T115" fmla="*/ 212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10" h="282">
                  <a:moveTo>
                    <a:pt x="808" y="111"/>
                  </a:moveTo>
                  <a:cubicBezTo>
                    <a:pt x="806" y="109"/>
                    <a:pt x="803" y="108"/>
                    <a:pt x="801" y="106"/>
                  </a:cubicBezTo>
                  <a:cubicBezTo>
                    <a:pt x="800" y="105"/>
                    <a:pt x="799" y="104"/>
                    <a:pt x="797" y="103"/>
                  </a:cubicBezTo>
                  <a:cubicBezTo>
                    <a:pt x="796" y="103"/>
                    <a:pt x="794" y="103"/>
                    <a:pt x="793" y="102"/>
                  </a:cubicBezTo>
                  <a:cubicBezTo>
                    <a:pt x="793" y="103"/>
                    <a:pt x="794" y="103"/>
                    <a:pt x="794" y="103"/>
                  </a:cubicBezTo>
                  <a:cubicBezTo>
                    <a:pt x="795" y="103"/>
                    <a:pt x="792" y="104"/>
                    <a:pt x="791" y="103"/>
                  </a:cubicBezTo>
                  <a:cubicBezTo>
                    <a:pt x="791" y="103"/>
                    <a:pt x="792" y="103"/>
                    <a:pt x="792" y="102"/>
                  </a:cubicBezTo>
                  <a:cubicBezTo>
                    <a:pt x="791" y="101"/>
                    <a:pt x="786" y="103"/>
                    <a:pt x="785" y="102"/>
                  </a:cubicBezTo>
                  <a:cubicBezTo>
                    <a:pt x="787" y="103"/>
                    <a:pt x="787" y="103"/>
                    <a:pt x="787" y="106"/>
                  </a:cubicBezTo>
                  <a:cubicBezTo>
                    <a:pt x="786" y="107"/>
                    <a:pt x="788" y="109"/>
                    <a:pt x="788" y="109"/>
                  </a:cubicBezTo>
                  <a:cubicBezTo>
                    <a:pt x="787" y="109"/>
                    <a:pt x="787" y="108"/>
                    <a:pt x="787" y="108"/>
                  </a:cubicBezTo>
                  <a:cubicBezTo>
                    <a:pt x="786" y="107"/>
                    <a:pt x="786" y="109"/>
                    <a:pt x="785" y="109"/>
                  </a:cubicBezTo>
                  <a:cubicBezTo>
                    <a:pt x="785" y="109"/>
                    <a:pt x="783" y="105"/>
                    <a:pt x="783" y="105"/>
                  </a:cubicBezTo>
                  <a:cubicBezTo>
                    <a:pt x="783" y="104"/>
                    <a:pt x="783" y="104"/>
                    <a:pt x="783" y="104"/>
                  </a:cubicBezTo>
                  <a:cubicBezTo>
                    <a:pt x="783" y="103"/>
                    <a:pt x="782" y="102"/>
                    <a:pt x="783" y="101"/>
                  </a:cubicBezTo>
                  <a:cubicBezTo>
                    <a:pt x="784" y="99"/>
                    <a:pt x="782" y="100"/>
                    <a:pt x="781" y="99"/>
                  </a:cubicBezTo>
                  <a:cubicBezTo>
                    <a:pt x="781" y="98"/>
                    <a:pt x="779" y="97"/>
                    <a:pt x="778" y="97"/>
                  </a:cubicBezTo>
                  <a:cubicBezTo>
                    <a:pt x="771" y="93"/>
                    <a:pt x="765" y="89"/>
                    <a:pt x="758" y="87"/>
                  </a:cubicBezTo>
                  <a:cubicBezTo>
                    <a:pt x="756" y="86"/>
                    <a:pt x="755" y="85"/>
                    <a:pt x="754" y="84"/>
                  </a:cubicBezTo>
                  <a:cubicBezTo>
                    <a:pt x="753" y="83"/>
                    <a:pt x="751" y="82"/>
                    <a:pt x="749" y="82"/>
                  </a:cubicBezTo>
                  <a:cubicBezTo>
                    <a:pt x="746" y="81"/>
                    <a:pt x="743" y="80"/>
                    <a:pt x="739" y="78"/>
                  </a:cubicBezTo>
                  <a:cubicBezTo>
                    <a:pt x="736" y="78"/>
                    <a:pt x="732" y="78"/>
                    <a:pt x="730" y="78"/>
                  </a:cubicBezTo>
                  <a:cubicBezTo>
                    <a:pt x="728" y="78"/>
                    <a:pt x="727" y="78"/>
                    <a:pt x="726" y="78"/>
                  </a:cubicBezTo>
                  <a:cubicBezTo>
                    <a:pt x="726" y="78"/>
                    <a:pt x="725" y="77"/>
                    <a:pt x="725" y="77"/>
                  </a:cubicBezTo>
                  <a:cubicBezTo>
                    <a:pt x="724" y="78"/>
                    <a:pt x="724" y="79"/>
                    <a:pt x="723" y="78"/>
                  </a:cubicBezTo>
                  <a:cubicBezTo>
                    <a:pt x="720" y="78"/>
                    <a:pt x="717" y="77"/>
                    <a:pt x="714" y="76"/>
                  </a:cubicBezTo>
                  <a:cubicBezTo>
                    <a:pt x="713" y="76"/>
                    <a:pt x="710" y="75"/>
                    <a:pt x="710" y="77"/>
                  </a:cubicBezTo>
                  <a:cubicBezTo>
                    <a:pt x="709" y="79"/>
                    <a:pt x="708" y="79"/>
                    <a:pt x="710" y="80"/>
                  </a:cubicBezTo>
                  <a:cubicBezTo>
                    <a:pt x="712" y="82"/>
                    <a:pt x="714" y="86"/>
                    <a:pt x="709" y="87"/>
                  </a:cubicBezTo>
                  <a:cubicBezTo>
                    <a:pt x="708" y="88"/>
                    <a:pt x="705" y="88"/>
                    <a:pt x="704" y="86"/>
                  </a:cubicBezTo>
                  <a:cubicBezTo>
                    <a:pt x="703" y="85"/>
                    <a:pt x="703" y="84"/>
                    <a:pt x="700" y="84"/>
                  </a:cubicBezTo>
                  <a:cubicBezTo>
                    <a:pt x="697" y="83"/>
                    <a:pt x="699" y="82"/>
                    <a:pt x="698" y="81"/>
                  </a:cubicBezTo>
                  <a:cubicBezTo>
                    <a:pt x="698" y="80"/>
                    <a:pt x="695" y="79"/>
                    <a:pt x="694" y="80"/>
                  </a:cubicBezTo>
                  <a:cubicBezTo>
                    <a:pt x="691" y="83"/>
                    <a:pt x="686" y="80"/>
                    <a:pt x="682" y="80"/>
                  </a:cubicBezTo>
                  <a:cubicBezTo>
                    <a:pt x="678" y="80"/>
                    <a:pt x="674" y="79"/>
                    <a:pt x="670" y="79"/>
                  </a:cubicBezTo>
                  <a:cubicBezTo>
                    <a:pt x="668" y="79"/>
                    <a:pt x="667" y="79"/>
                    <a:pt x="665" y="80"/>
                  </a:cubicBezTo>
                  <a:cubicBezTo>
                    <a:pt x="663" y="81"/>
                    <a:pt x="664" y="84"/>
                    <a:pt x="664" y="86"/>
                  </a:cubicBezTo>
                  <a:cubicBezTo>
                    <a:pt x="664" y="86"/>
                    <a:pt x="664" y="86"/>
                    <a:pt x="664" y="86"/>
                  </a:cubicBezTo>
                  <a:cubicBezTo>
                    <a:pt x="663" y="86"/>
                    <a:pt x="662" y="81"/>
                    <a:pt x="661" y="80"/>
                  </a:cubicBezTo>
                  <a:cubicBezTo>
                    <a:pt x="660" y="80"/>
                    <a:pt x="656" y="80"/>
                    <a:pt x="655" y="78"/>
                  </a:cubicBezTo>
                  <a:cubicBezTo>
                    <a:pt x="655" y="75"/>
                    <a:pt x="659" y="74"/>
                    <a:pt x="655" y="71"/>
                  </a:cubicBezTo>
                  <a:cubicBezTo>
                    <a:pt x="653" y="70"/>
                    <a:pt x="651" y="69"/>
                    <a:pt x="648" y="68"/>
                  </a:cubicBezTo>
                  <a:cubicBezTo>
                    <a:pt x="642" y="66"/>
                    <a:pt x="635" y="68"/>
                    <a:pt x="629" y="69"/>
                  </a:cubicBezTo>
                  <a:cubicBezTo>
                    <a:pt x="626" y="69"/>
                    <a:pt x="623" y="69"/>
                    <a:pt x="619" y="69"/>
                  </a:cubicBezTo>
                  <a:cubicBezTo>
                    <a:pt x="618" y="69"/>
                    <a:pt x="618" y="69"/>
                    <a:pt x="617" y="69"/>
                  </a:cubicBezTo>
                  <a:cubicBezTo>
                    <a:pt x="615" y="68"/>
                    <a:pt x="617" y="68"/>
                    <a:pt x="618" y="67"/>
                  </a:cubicBezTo>
                  <a:cubicBezTo>
                    <a:pt x="618" y="66"/>
                    <a:pt x="613" y="65"/>
                    <a:pt x="613" y="65"/>
                  </a:cubicBezTo>
                  <a:cubicBezTo>
                    <a:pt x="612" y="64"/>
                    <a:pt x="608" y="65"/>
                    <a:pt x="607" y="65"/>
                  </a:cubicBezTo>
                  <a:cubicBezTo>
                    <a:pt x="607" y="65"/>
                    <a:pt x="611" y="64"/>
                    <a:pt x="610" y="63"/>
                  </a:cubicBezTo>
                  <a:cubicBezTo>
                    <a:pt x="609" y="63"/>
                    <a:pt x="608" y="64"/>
                    <a:pt x="607" y="64"/>
                  </a:cubicBezTo>
                  <a:cubicBezTo>
                    <a:pt x="606" y="63"/>
                    <a:pt x="604" y="62"/>
                    <a:pt x="604" y="62"/>
                  </a:cubicBezTo>
                  <a:cubicBezTo>
                    <a:pt x="603" y="62"/>
                    <a:pt x="600" y="60"/>
                    <a:pt x="602" y="60"/>
                  </a:cubicBezTo>
                  <a:cubicBezTo>
                    <a:pt x="603" y="60"/>
                    <a:pt x="605" y="60"/>
                    <a:pt x="606" y="60"/>
                  </a:cubicBezTo>
                  <a:cubicBezTo>
                    <a:pt x="609" y="60"/>
                    <a:pt x="605" y="57"/>
                    <a:pt x="604" y="57"/>
                  </a:cubicBezTo>
                  <a:cubicBezTo>
                    <a:pt x="602" y="55"/>
                    <a:pt x="597" y="56"/>
                    <a:pt x="594" y="55"/>
                  </a:cubicBezTo>
                  <a:cubicBezTo>
                    <a:pt x="592" y="55"/>
                    <a:pt x="591" y="57"/>
                    <a:pt x="589" y="59"/>
                  </a:cubicBezTo>
                  <a:cubicBezTo>
                    <a:pt x="589" y="59"/>
                    <a:pt x="582" y="63"/>
                    <a:pt x="582" y="60"/>
                  </a:cubicBezTo>
                  <a:cubicBezTo>
                    <a:pt x="583" y="58"/>
                    <a:pt x="584" y="60"/>
                    <a:pt x="586" y="59"/>
                  </a:cubicBezTo>
                  <a:cubicBezTo>
                    <a:pt x="586" y="59"/>
                    <a:pt x="585" y="56"/>
                    <a:pt x="584" y="56"/>
                  </a:cubicBezTo>
                  <a:cubicBezTo>
                    <a:pt x="584" y="56"/>
                    <a:pt x="578" y="56"/>
                    <a:pt x="578" y="56"/>
                  </a:cubicBezTo>
                  <a:cubicBezTo>
                    <a:pt x="579" y="55"/>
                    <a:pt x="581" y="54"/>
                    <a:pt x="583" y="54"/>
                  </a:cubicBezTo>
                  <a:cubicBezTo>
                    <a:pt x="584" y="55"/>
                    <a:pt x="591" y="55"/>
                    <a:pt x="591" y="55"/>
                  </a:cubicBezTo>
                  <a:cubicBezTo>
                    <a:pt x="591" y="54"/>
                    <a:pt x="585" y="54"/>
                    <a:pt x="584" y="53"/>
                  </a:cubicBezTo>
                  <a:cubicBezTo>
                    <a:pt x="582" y="53"/>
                    <a:pt x="580" y="53"/>
                    <a:pt x="578" y="53"/>
                  </a:cubicBezTo>
                  <a:cubicBezTo>
                    <a:pt x="574" y="52"/>
                    <a:pt x="570" y="52"/>
                    <a:pt x="566" y="51"/>
                  </a:cubicBezTo>
                  <a:cubicBezTo>
                    <a:pt x="565" y="51"/>
                    <a:pt x="561" y="50"/>
                    <a:pt x="561" y="50"/>
                  </a:cubicBezTo>
                  <a:cubicBezTo>
                    <a:pt x="561" y="51"/>
                    <a:pt x="562" y="52"/>
                    <a:pt x="561" y="52"/>
                  </a:cubicBezTo>
                  <a:cubicBezTo>
                    <a:pt x="560" y="53"/>
                    <a:pt x="559" y="53"/>
                    <a:pt x="558" y="53"/>
                  </a:cubicBezTo>
                  <a:cubicBezTo>
                    <a:pt x="557" y="53"/>
                    <a:pt x="552" y="54"/>
                    <a:pt x="553" y="56"/>
                  </a:cubicBezTo>
                  <a:cubicBezTo>
                    <a:pt x="554" y="58"/>
                    <a:pt x="556" y="55"/>
                    <a:pt x="557" y="56"/>
                  </a:cubicBezTo>
                  <a:cubicBezTo>
                    <a:pt x="557" y="56"/>
                    <a:pt x="554" y="57"/>
                    <a:pt x="555" y="59"/>
                  </a:cubicBezTo>
                  <a:cubicBezTo>
                    <a:pt x="556" y="59"/>
                    <a:pt x="555" y="60"/>
                    <a:pt x="555" y="61"/>
                  </a:cubicBezTo>
                  <a:cubicBezTo>
                    <a:pt x="556" y="61"/>
                    <a:pt x="557" y="62"/>
                    <a:pt x="557" y="63"/>
                  </a:cubicBezTo>
                  <a:cubicBezTo>
                    <a:pt x="557" y="63"/>
                    <a:pt x="553" y="63"/>
                    <a:pt x="552" y="63"/>
                  </a:cubicBezTo>
                  <a:cubicBezTo>
                    <a:pt x="550" y="63"/>
                    <a:pt x="552" y="62"/>
                    <a:pt x="552" y="62"/>
                  </a:cubicBezTo>
                  <a:cubicBezTo>
                    <a:pt x="551" y="61"/>
                    <a:pt x="548" y="62"/>
                    <a:pt x="548" y="62"/>
                  </a:cubicBezTo>
                  <a:cubicBezTo>
                    <a:pt x="546" y="63"/>
                    <a:pt x="544" y="62"/>
                    <a:pt x="543" y="62"/>
                  </a:cubicBezTo>
                  <a:cubicBezTo>
                    <a:pt x="542" y="62"/>
                    <a:pt x="546" y="63"/>
                    <a:pt x="546" y="63"/>
                  </a:cubicBezTo>
                  <a:cubicBezTo>
                    <a:pt x="549" y="64"/>
                    <a:pt x="546" y="66"/>
                    <a:pt x="545" y="65"/>
                  </a:cubicBezTo>
                  <a:cubicBezTo>
                    <a:pt x="544" y="65"/>
                    <a:pt x="544" y="64"/>
                    <a:pt x="544" y="63"/>
                  </a:cubicBezTo>
                  <a:cubicBezTo>
                    <a:pt x="543" y="63"/>
                    <a:pt x="542" y="63"/>
                    <a:pt x="541" y="63"/>
                  </a:cubicBezTo>
                  <a:cubicBezTo>
                    <a:pt x="539" y="62"/>
                    <a:pt x="537" y="61"/>
                    <a:pt x="534" y="62"/>
                  </a:cubicBezTo>
                  <a:cubicBezTo>
                    <a:pt x="531" y="62"/>
                    <a:pt x="529" y="65"/>
                    <a:pt x="526" y="63"/>
                  </a:cubicBezTo>
                  <a:cubicBezTo>
                    <a:pt x="524" y="62"/>
                    <a:pt x="522" y="61"/>
                    <a:pt x="521" y="59"/>
                  </a:cubicBezTo>
                  <a:cubicBezTo>
                    <a:pt x="520" y="58"/>
                    <a:pt x="518" y="62"/>
                    <a:pt x="517" y="62"/>
                  </a:cubicBezTo>
                  <a:cubicBezTo>
                    <a:pt x="516" y="64"/>
                    <a:pt x="515" y="70"/>
                    <a:pt x="512" y="69"/>
                  </a:cubicBezTo>
                  <a:cubicBezTo>
                    <a:pt x="510" y="68"/>
                    <a:pt x="508" y="68"/>
                    <a:pt x="506" y="66"/>
                  </a:cubicBezTo>
                  <a:cubicBezTo>
                    <a:pt x="505" y="65"/>
                    <a:pt x="503" y="63"/>
                    <a:pt x="502" y="62"/>
                  </a:cubicBezTo>
                  <a:cubicBezTo>
                    <a:pt x="501" y="60"/>
                    <a:pt x="499" y="59"/>
                    <a:pt x="498" y="58"/>
                  </a:cubicBezTo>
                  <a:cubicBezTo>
                    <a:pt x="496" y="56"/>
                    <a:pt x="500" y="57"/>
                    <a:pt x="501" y="57"/>
                  </a:cubicBezTo>
                  <a:cubicBezTo>
                    <a:pt x="502" y="57"/>
                    <a:pt x="504" y="56"/>
                    <a:pt x="504" y="55"/>
                  </a:cubicBezTo>
                  <a:cubicBezTo>
                    <a:pt x="504" y="55"/>
                    <a:pt x="499" y="52"/>
                    <a:pt x="499" y="52"/>
                  </a:cubicBezTo>
                  <a:cubicBezTo>
                    <a:pt x="499" y="52"/>
                    <a:pt x="502" y="52"/>
                    <a:pt x="502" y="51"/>
                  </a:cubicBezTo>
                  <a:cubicBezTo>
                    <a:pt x="501" y="50"/>
                    <a:pt x="499" y="50"/>
                    <a:pt x="499" y="50"/>
                  </a:cubicBezTo>
                  <a:cubicBezTo>
                    <a:pt x="499" y="48"/>
                    <a:pt x="504" y="47"/>
                    <a:pt x="499" y="46"/>
                  </a:cubicBezTo>
                  <a:cubicBezTo>
                    <a:pt x="498" y="46"/>
                    <a:pt x="497" y="44"/>
                    <a:pt x="495" y="44"/>
                  </a:cubicBezTo>
                  <a:cubicBezTo>
                    <a:pt x="494" y="44"/>
                    <a:pt x="492" y="43"/>
                    <a:pt x="491" y="44"/>
                  </a:cubicBezTo>
                  <a:cubicBezTo>
                    <a:pt x="490" y="44"/>
                    <a:pt x="490" y="45"/>
                    <a:pt x="489" y="45"/>
                  </a:cubicBezTo>
                  <a:cubicBezTo>
                    <a:pt x="488" y="44"/>
                    <a:pt x="488" y="44"/>
                    <a:pt x="487" y="44"/>
                  </a:cubicBezTo>
                  <a:cubicBezTo>
                    <a:pt x="486" y="44"/>
                    <a:pt x="484" y="44"/>
                    <a:pt x="483" y="43"/>
                  </a:cubicBezTo>
                  <a:cubicBezTo>
                    <a:pt x="482" y="43"/>
                    <a:pt x="481" y="43"/>
                    <a:pt x="480" y="41"/>
                  </a:cubicBezTo>
                  <a:cubicBezTo>
                    <a:pt x="479" y="41"/>
                    <a:pt x="480" y="40"/>
                    <a:pt x="478" y="41"/>
                  </a:cubicBezTo>
                  <a:cubicBezTo>
                    <a:pt x="478" y="41"/>
                    <a:pt x="477" y="42"/>
                    <a:pt x="476" y="42"/>
                  </a:cubicBezTo>
                  <a:cubicBezTo>
                    <a:pt x="475" y="42"/>
                    <a:pt x="475" y="41"/>
                    <a:pt x="474" y="42"/>
                  </a:cubicBezTo>
                  <a:cubicBezTo>
                    <a:pt x="474" y="43"/>
                    <a:pt x="473" y="44"/>
                    <a:pt x="473" y="45"/>
                  </a:cubicBezTo>
                  <a:cubicBezTo>
                    <a:pt x="473" y="46"/>
                    <a:pt x="475" y="46"/>
                    <a:pt x="474" y="47"/>
                  </a:cubicBezTo>
                  <a:cubicBezTo>
                    <a:pt x="473" y="48"/>
                    <a:pt x="474" y="48"/>
                    <a:pt x="473" y="48"/>
                  </a:cubicBezTo>
                  <a:cubicBezTo>
                    <a:pt x="472" y="48"/>
                    <a:pt x="470" y="48"/>
                    <a:pt x="469" y="49"/>
                  </a:cubicBezTo>
                  <a:cubicBezTo>
                    <a:pt x="470" y="48"/>
                    <a:pt x="473" y="50"/>
                    <a:pt x="473" y="50"/>
                  </a:cubicBezTo>
                  <a:cubicBezTo>
                    <a:pt x="472" y="51"/>
                    <a:pt x="469" y="49"/>
                    <a:pt x="467" y="49"/>
                  </a:cubicBezTo>
                  <a:cubicBezTo>
                    <a:pt x="465" y="49"/>
                    <a:pt x="462" y="49"/>
                    <a:pt x="459" y="49"/>
                  </a:cubicBezTo>
                  <a:cubicBezTo>
                    <a:pt x="458" y="49"/>
                    <a:pt x="458" y="48"/>
                    <a:pt x="457" y="48"/>
                  </a:cubicBezTo>
                  <a:cubicBezTo>
                    <a:pt x="456" y="47"/>
                    <a:pt x="453" y="48"/>
                    <a:pt x="452" y="48"/>
                  </a:cubicBezTo>
                  <a:cubicBezTo>
                    <a:pt x="451" y="47"/>
                    <a:pt x="449" y="47"/>
                    <a:pt x="448" y="46"/>
                  </a:cubicBezTo>
                  <a:cubicBezTo>
                    <a:pt x="448" y="45"/>
                    <a:pt x="450" y="45"/>
                    <a:pt x="450" y="44"/>
                  </a:cubicBezTo>
                  <a:cubicBezTo>
                    <a:pt x="451" y="43"/>
                    <a:pt x="442" y="43"/>
                    <a:pt x="441" y="43"/>
                  </a:cubicBezTo>
                  <a:cubicBezTo>
                    <a:pt x="436" y="42"/>
                    <a:pt x="432" y="43"/>
                    <a:pt x="427" y="43"/>
                  </a:cubicBezTo>
                  <a:cubicBezTo>
                    <a:pt x="424" y="43"/>
                    <a:pt x="425" y="43"/>
                    <a:pt x="426" y="45"/>
                  </a:cubicBezTo>
                  <a:cubicBezTo>
                    <a:pt x="426" y="46"/>
                    <a:pt x="424" y="45"/>
                    <a:pt x="424" y="45"/>
                  </a:cubicBezTo>
                  <a:cubicBezTo>
                    <a:pt x="422" y="45"/>
                    <a:pt x="423" y="44"/>
                    <a:pt x="423" y="43"/>
                  </a:cubicBezTo>
                  <a:cubicBezTo>
                    <a:pt x="423" y="41"/>
                    <a:pt x="422" y="38"/>
                    <a:pt x="420" y="40"/>
                  </a:cubicBezTo>
                  <a:cubicBezTo>
                    <a:pt x="420" y="42"/>
                    <a:pt x="416" y="42"/>
                    <a:pt x="414" y="41"/>
                  </a:cubicBezTo>
                  <a:cubicBezTo>
                    <a:pt x="413" y="40"/>
                    <a:pt x="415" y="38"/>
                    <a:pt x="411" y="39"/>
                  </a:cubicBezTo>
                  <a:cubicBezTo>
                    <a:pt x="410" y="39"/>
                    <a:pt x="409" y="39"/>
                    <a:pt x="408" y="39"/>
                  </a:cubicBezTo>
                  <a:cubicBezTo>
                    <a:pt x="407" y="38"/>
                    <a:pt x="406" y="39"/>
                    <a:pt x="404" y="40"/>
                  </a:cubicBezTo>
                  <a:cubicBezTo>
                    <a:pt x="402" y="42"/>
                    <a:pt x="407" y="41"/>
                    <a:pt x="407" y="42"/>
                  </a:cubicBezTo>
                  <a:cubicBezTo>
                    <a:pt x="407" y="44"/>
                    <a:pt x="403" y="43"/>
                    <a:pt x="402" y="44"/>
                  </a:cubicBezTo>
                  <a:cubicBezTo>
                    <a:pt x="401" y="45"/>
                    <a:pt x="399" y="45"/>
                    <a:pt x="397" y="46"/>
                  </a:cubicBezTo>
                  <a:cubicBezTo>
                    <a:pt x="395" y="47"/>
                    <a:pt x="393" y="47"/>
                    <a:pt x="390" y="47"/>
                  </a:cubicBezTo>
                  <a:cubicBezTo>
                    <a:pt x="388" y="47"/>
                    <a:pt x="388" y="47"/>
                    <a:pt x="387" y="49"/>
                  </a:cubicBezTo>
                  <a:cubicBezTo>
                    <a:pt x="386" y="50"/>
                    <a:pt x="382" y="51"/>
                    <a:pt x="381" y="51"/>
                  </a:cubicBezTo>
                  <a:cubicBezTo>
                    <a:pt x="381" y="50"/>
                    <a:pt x="383" y="50"/>
                    <a:pt x="383" y="50"/>
                  </a:cubicBezTo>
                  <a:cubicBezTo>
                    <a:pt x="385" y="49"/>
                    <a:pt x="385" y="47"/>
                    <a:pt x="386" y="46"/>
                  </a:cubicBezTo>
                  <a:cubicBezTo>
                    <a:pt x="387" y="44"/>
                    <a:pt x="388" y="46"/>
                    <a:pt x="389" y="45"/>
                  </a:cubicBezTo>
                  <a:cubicBezTo>
                    <a:pt x="390" y="45"/>
                    <a:pt x="390" y="44"/>
                    <a:pt x="391" y="44"/>
                  </a:cubicBezTo>
                  <a:cubicBezTo>
                    <a:pt x="394" y="42"/>
                    <a:pt x="398" y="41"/>
                    <a:pt x="401" y="39"/>
                  </a:cubicBezTo>
                  <a:cubicBezTo>
                    <a:pt x="403" y="38"/>
                    <a:pt x="405" y="37"/>
                    <a:pt x="407" y="36"/>
                  </a:cubicBezTo>
                  <a:cubicBezTo>
                    <a:pt x="411" y="33"/>
                    <a:pt x="416" y="31"/>
                    <a:pt x="420" y="29"/>
                  </a:cubicBezTo>
                  <a:cubicBezTo>
                    <a:pt x="423" y="28"/>
                    <a:pt x="426" y="26"/>
                    <a:pt x="423" y="23"/>
                  </a:cubicBezTo>
                  <a:cubicBezTo>
                    <a:pt x="422" y="22"/>
                    <a:pt x="422" y="24"/>
                    <a:pt x="421" y="23"/>
                  </a:cubicBezTo>
                  <a:cubicBezTo>
                    <a:pt x="420" y="22"/>
                    <a:pt x="419" y="22"/>
                    <a:pt x="418" y="21"/>
                  </a:cubicBezTo>
                  <a:cubicBezTo>
                    <a:pt x="418" y="20"/>
                    <a:pt x="423" y="22"/>
                    <a:pt x="423" y="22"/>
                  </a:cubicBezTo>
                  <a:cubicBezTo>
                    <a:pt x="424" y="22"/>
                    <a:pt x="427" y="22"/>
                    <a:pt x="425" y="20"/>
                  </a:cubicBezTo>
                  <a:cubicBezTo>
                    <a:pt x="424" y="19"/>
                    <a:pt x="424" y="18"/>
                    <a:pt x="423" y="17"/>
                  </a:cubicBezTo>
                  <a:cubicBezTo>
                    <a:pt x="422" y="15"/>
                    <a:pt x="421" y="19"/>
                    <a:pt x="420" y="19"/>
                  </a:cubicBezTo>
                  <a:cubicBezTo>
                    <a:pt x="420" y="18"/>
                    <a:pt x="420" y="17"/>
                    <a:pt x="420" y="17"/>
                  </a:cubicBezTo>
                  <a:cubicBezTo>
                    <a:pt x="420" y="16"/>
                    <a:pt x="420" y="16"/>
                    <a:pt x="419" y="15"/>
                  </a:cubicBezTo>
                  <a:cubicBezTo>
                    <a:pt x="419" y="14"/>
                    <a:pt x="417" y="13"/>
                    <a:pt x="416" y="13"/>
                  </a:cubicBezTo>
                  <a:cubicBezTo>
                    <a:pt x="414" y="12"/>
                    <a:pt x="413" y="12"/>
                    <a:pt x="411" y="11"/>
                  </a:cubicBezTo>
                  <a:cubicBezTo>
                    <a:pt x="409" y="11"/>
                    <a:pt x="409" y="11"/>
                    <a:pt x="406" y="12"/>
                  </a:cubicBezTo>
                  <a:cubicBezTo>
                    <a:pt x="404" y="12"/>
                    <a:pt x="397" y="9"/>
                    <a:pt x="396" y="12"/>
                  </a:cubicBezTo>
                  <a:cubicBezTo>
                    <a:pt x="395" y="13"/>
                    <a:pt x="389" y="14"/>
                    <a:pt x="388" y="13"/>
                  </a:cubicBezTo>
                  <a:cubicBezTo>
                    <a:pt x="388" y="13"/>
                    <a:pt x="394" y="9"/>
                    <a:pt x="392" y="8"/>
                  </a:cubicBezTo>
                  <a:cubicBezTo>
                    <a:pt x="392" y="8"/>
                    <a:pt x="385" y="9"/>
                    <a:pt x="384" y="8"/>
                  </a:cubicBezTo>
                  <a:cubicBezTo>
                    <a:pt x="384" y="7"/>
                    <a:pt x="386" y="7"/>
                    <a:pt x="386" y="7"/>
                  </a:cubicBezTo>
                  <a:cubicBezTo>
                    <a:pt x="386" y="6"/>
                    <a:pt x="378" y="7"/>
                    <a:pt x="378" y="7"/>
                  </a:cubicBezTo>
                  <a:cubicBezTo>
                    <a:pt x="379" y="5"/>
                    <a:pt x="383" y="6"/>
                    <a:pt x="384" y="5"/>
                  </a:cubicBezTo>
                  <a:cubicBezTo>
                    <a:pt x="385" y="4"/>
                    <a:pt x="387" y="5"/>
                    <a:pt x="386" y="4"/>
                  </a:cubicBezTo>
                  <a:cubicBezTo>
                    <a:pt x="386" y="3"/>
                    <a:pt x="386" y="2"/>
                    <a:pt x="385" y="2"/>
                  </a:cubicBezTo>
                  <a:cubicBezTo>
                    <a:pt x="382" y="2"/>
                    <a:pt x="381" y="1"/>
                    <a:pt x="378" y="1"/>
                  </a:cubicBezTo>
                  <a:cubicBezTo>
                    <a:pt x="376" y="0"/>
                    <a:pt x="374" y="1"/>
                    <a:pt x="372" y="2"/>
                  </a:cubicBezTo>
                  <a:cubicBezTo>
                    <a:pt x="368" y="3"/>
                    <a:pt x="364" y="6"/>
                    <a:pt x="362" y="8"/>
                  </a:cubicBezTo>
                  <a:cubicBezTo>
                    <a:pt x="361" y="9"/>
                    <a:pt x="361" y="9"/>
                    <a:pt x="362" y="10"/>
                  </a:cubicBezTo>
                  <a:cubicBezTo>
                    <a:pt x="363" y="10"/>
                    <a:pt x="362" y="11"/>
                    <a:pt x="362" y="12"/>
                  </a:cubicBezTo>
                  <a:cubicBezTo>
                    <a:pt x="362" y="14"/>
                    <a:pt x="366" y="13"/>
                    <a:pt x="366" y="14"/>
                  </a:cubicBezTo>
                  <a:cubicBezTo>
                    <a:pt x="366" y="13"/>
                    <a:pt x="361" y="14"/>
                    <a:pt x="360" y="14"/>
                  </a:cubicBezTo>
                  <a:cubicBezTo>
                    <a:pt x="359" y="14"/>
                    <a:pt x="353" y="13"/>
                    <a:pt x="352" y="14"/>
                  </a:cubicBezTo>
                  <a:cubicBezTo>
                    <a:pt x="352" y="13"/>
                    <a:pt x="355" y="17"/>
                    <a:pt x="355" y="17"/>
                  </a:cubicBezTo>
                  <a:cubicBezTo>
                    <a:pt x="356" y="18"/>
                    <a:pt x="351" y="16"/>
                    <a:pt x="350" y="16"/>
                  </a:cubicBezTo>
                  <a:cubicBezTo>
                    <a:pt x="349" y="16"/>
                    <a:pt x="347" y="17"/>
                    <a:pt x="345" y="18"/>
                  </a:cubicBezTo>
                  <a:cubicBezTo>
                    <a:pt x="345" y="18"/>
                    <a:pt x="345" y="18"/>
                    <a:pt x="344" y="18"/>
                  </a:cubicBezTo>
                  <a:cubicBezTo>
                    <a:pt x="342" y="18"/>
                    <a:pt x="344" y="18"/>
                    <a:pt x="343" y="17"/>
                  </a:cubicBezTo>
                  <a:cubicBezTo>
                    <a:pt x="343" y="18"/>
                    <a:pt x="338" y="20"/>
                    <a:pt x="338" y="20"/>
                  </a:cubicBezTo>
                  <a:cubicBezTo>
                    <a:pt x="338" y="19"/>
                    <a:pt x="340" y="18"/>
                    <a:pt x="340" y="18"/>
                  </a:cubicBezTo>
                  <a:cubicBezTo>
                    <a:pt x="340" y="17"/>
                    <a:pt x="335" y="18"/>
                    <a:pt x="334" y="17"/>
                  </a:cubicBezTo>
                  <a:cubicBezTo>
                    <a:pt x="334" y="17"/>
                    <a:pt x="336" y="16"/>
                    <a:pt x="336" y="16"/>
                  </a:cubicBezTo>
                  <a:cubicBezTo>
                    <a:pt x="335" y="17"/>
                    <a:pt x="330" y="18"/>
                    <a:pt x="328" y="18"/>
                  </a:cubicBezTo>
                  <a:cubicBezTo>
                    <a:pt x="323" y="19"/>
                    <a:pt x="329" y="19"/>
                    <a:pt x="330" y="20"/>
                  </a:cubicBezTo>
                  <a:cubicBezTo>
                    <a:pt x="329" y="19"/>
                    <a:pt x="324" y="21"/>
                    <a:pt x="323" y="21"/>
                  </a:cubicBezTo>
                  <a:cubicBezTo>
                    <a:pt x="322" y="21"/>
                    <a:pt x="321" y="21"/>
                    <a:pt x="320" y="22"/>
                  </a:cubicBezTo>
                  <a:cubicBezTo>
                    <a:pt x="319" y="23"/>
                    <a:pt x="317" y="22"/>
                    <a:pt x="315" y="22"/>
                  </a:cubicBezTo>
                  <a:cubicBezTo>
                    <a:pt x="314" y="22"/>
                    <a:pt x="313" y="24"/>
                    <a:pt x="311" y="24"/>
                  </a:cubicBezTo>
                  <a:cubicBezTo>
                    <a:pt x="309" y="25"/>
                    <a:pt x="308" y="24"/>
                    <a:pt x="307" y="25"/>
                  </a:cubicBezTo>
                  <a:cubicBezTo>
                    <a:pt x="306" y="26"/>
                    <a:pt x="305" y="27"/>
                    <a:pt x="304" y="27"/>
                  </a:cubicBezTo>
                  <a:cubicBezTo>
                    <a:pt x="302" y="27"/>
                    <a:pt x="300" y="27"/>
                    <a:pt x="299" y="27"/>
                  </a:cubicBezTo>
                  <a:cubicBezTo>
                    <a:pt x="299" y="27"/>
                    <a:pt x="302" y="29"/>
                    <a:pt x="302" y="29"/>
                  </a:cubicBezTo>
                  <a:cubicBezTo>
                    <a:pt x="301" y="30"/>
                    <a:pt x="295" y="30"/>
                    <a:pt x="295" y="30"/>
                  </a:cubicBezTo>
                  <a:cubicBezTo>
                    <a:pt x="295" y="30"/>
                    <a:pt x="299" y="30"/>
                    <a:pt x="299" y="30"/>
                  </a:cubicBezTo>
                  <a:cubicBezTo>
                    <a:pt x="299" y="30"/>
                    <a:pt x="297" y="30"/>
                    <a:pt x="296" y="30"/>
                  </a:cubicBezTo>
                  <a:cubicBezTo>
                    <a:pt x="297" y="30"/>
                    <a:pt x="299" y="31"/>
                    <a:pt x="299" y="31"/>
                  </a:cubicBezTo>
                  <a:cubicBezTo>
                    <a:pt x="298" y="31"/>
                    <a:pt x="298" y="31"/>
                    <a:pt x="297" y="31"/>
                  </a:cubicBezTo>
                  <a:cubicBezTo>
                    <a:pt x="298" y="31"/>
                    <a:pt x="297" y="32"/>
                    <a:pt x="297" y="32"/>
                  </a:cubicBezTo>
                  <a:cubicBezTo>
                    <a:pt x="297" y="33"/>
                    <a:pt x="294" y="32"/>
                    <a:pt x="294" y="32"/>
                  </a:cubicBezTo>
                  <a:cubicBezTo>
                    <a:pt x="294" y="33"/>
                    <a:pt x="296" y="33"/>
                    <a:pt x="296" y="34"/>
                  </a:cubicBezTo>
                  <a:cubicBezTo>
                    <a:pt x="297" y="34"/>
                    <a:pt x="295" y="34"/>
                    <a:pt x="295" y="34"/>
                  </a:cubicBezTo>
                  <a:cubicBezTo>
                    <a:pt x="295" y="36"/>
                    <a:pt x="299" y="34"/>
                    <a:pt x="298" y="36"/>
                  </a:cubicBezTo>
                  <a:cubicBezTo>
                    <a:pt x="296" y="38"/>
                    <a:pt x="301" y="39"/>
                    <a:pt x="298" y="40"/>
                  </a:cubicBezTo>
                  <a:cubicBezTo>
                    <a:pt x="296" y="40"/>
                    <a:pt x="294" y="40"/>
                    <a:pt x="292" y="40"/>
                  </a:cubicBezTo>
                  <a:cubicBezTo>
                    <a:pt x="291" y="41"/>
                    <a:pt x="291" y="42"/>
                    <a:pt x="289" y="41"/>
                  </a:cubicBezTo>
                  <a:cubicBezTo>
                    <a:pt x="288" y="41"/>
                    <a:pt x="287" y="41"/>
                    <a:pt x="286" y="41"/>
                  </a:cubicBezTo>
                  <a:cubicBezTo>
                    <a:pt x="282" y="42"/>
                    <a:pt x="278" y="42"/>
                    <a:pt x="274" y="42"/>
                  </a:cubicBezTo>
                  <a:cubicBezTo>
                    <a:pt x="272" y="42"/>
                    <a:pt x="270" y="42"/>
                    <a:pt x="269" y="43"/>
                  </a:cubicBezTo>
                  <a:cubicBezTo>
                    <a:pt x="268" y="44"/>
                    <a:pt x="267" y="45"/>
                    <a:pt x="267" y="46"/>
                  </a:cubicBezTo>
                  <a:cubicBezTo>
                    <a:pt x="267" y="47"/>
                    <a:pt x="269" y="48"/>
                    <a:pt x="269" y="49"/>
                  </a:cubicBezTo>
                  <a:cubicBezTo>
                    <a:pt x="268" y="51"/>
                    <a:pt x="268" y="52"/>
                    <a:pt x="269" y="53"/>
                  </a:cubicBezTo>
                  <a:cubicBezTo>
                    <a:pt x="271" y="55"/>
                    <a:pt x="274" y="54"/>
                    <a:pt x="276" y="56"/>
                  </a:cubicBezTo>
                  <a:cubicBezTo>
                    <a:pt x="276" y="56"/>
                    <a:pt x="278" y="60"/>
                    <a:pt x="278" y="60"/>
                  </a:cubicBezTo>
                  <a:cubicBezTo>
                    <a:pt x="274" y="60"/>
                    <a:pt x="273" y="60"/>
                    <a:pt x="270" y="58"/>
                  </a:cubicBezTo>
                  <a:cubicBezTo>
                    <a:pt x="267" y="56"/>
                    <a:pt x="262" y="54"/>
                    <a:pt x="258" y="54"/>
                  </a:cubicBezTo>
                  <a:cubicBezTo>
                    <a:pt x="256" y="54"/>
                    <a:pt x="257" y="53"/>
                    <a:pt x="255" y="52"/>
                  </a:cubicBezTo>
                  <a:cubicBezTo>
                    <a:pt x="254" y="52"/>
                    <a:pt x="250" y="52"/>
                    <a:pt x="250" y="54"/>
                  </a:cubicBezTo>
                  <a:cubicBezTo>
                    <a:pt x="250" y="55"/>
                    <a:pt x="254" y="55"/>
                    <a:pt x="254" y="55"/>
                  </a:cubicBezTo>
                  <a:cubicBezTo>
                    <a:pt x="254" y="55"/>
                    <a:pt x="251" y="56"/>
                    <a:pt x="252" y="56"/>
                  </a:cubicBezTo>
                  <a:cubicBezTo>
                    <a:pt x="254" y="57"/>
                    <a:pt x="255" y="56"/>
                    <a:pt x="256" y="58"/>
                  </a:cubicBezTo>
                  <a:cubicBezTo>
                    <a:pt x="256" y="60"/>
                    <a:pt x="253" y="59"/>
                    <a:pt x="252" y="59"/>
                  </a:cubicBezTo>
                  <a:cubicBezTo>
                    <a:pt x="250" y="58"/>
                    <a:pt x="249" y="57"/>
                    <a:pt x="247" y="58"/>
                  </a:cubicBezTo>
                  <a:cubicBezTo>
                    <a:pt x="245" y="58"/>
                    <a:pt x="246" y="61"/>
                    <a:pt x="247" y="62"/>
                  </a:cubicBezTo>
                  <a:cubicBezTo>
                    <a:pt x="248" y="63"/>
                    <a:pt x="250" y="63"/>
                    <a:pt x="251" y="63"/>
                  </a:cubicBezTo>
                  <a:cubicBezTo>
                    <a:pt x="253" y="64"/>
                    <a:pt x="255" y="64"/>
                    <a:pt x="256" y="65"/>
                  </a:cubicBezTo>
                  <a:cubicBezTo>
                    <a:pt x="257" y="66"/>
                    <a:pt x="257" y="67"/>
                    <a:pt x="257" y="67"/>
                  </a:cubicBezTo>
                  <a:cubicBezTo>
                    <a:pt x="258" y="67"/>
                    <a:pt x="259" y="67"/>
                    <a:pt x="260" y="67"/>
                  </a:cubicBezTo>
                  <a:cubicBezTo>
                    <a:pt x="260" y="67"/>
                    <a:pt x="257" y="68"/>
                    <a:pt x="257" y="68"/>
                  </a:cubicBezTo>
                  <a:cubicBezTo>
                    <a:pt x="255" y="68"/>
                    <a:pt x="255" y="67"/>
                    <a:pt x="254" y="66"/>
                  </a:cubicBezTo>
                  <a:cubicBezTo>
                    <a:pt x="252" y="65"/>
                    <a:pt x="249" y="65"/>
                    <a:pt x="246" y="65"/>
                  </a:cubicBezTo>
                  <a:cubicBezTo>
                    <a:pt x="245" y="65"/>
                    <a:pt x="240" y="64"/>
                    <a:pt x="242" y="62"/>
                  </a:cubicBezTo>
                  <a:cubicBezTo>
                    <a:pt x="243" y="62"/>
                    <a:pt x="242" y="61"/>
                    <a:pt x="242" y="60"/>
                  </a:cubicBezTo>
                  <a:cubicBezTo>
                    <a:pt x="241" y="59"/>
                    <a:pt x="242" y="58"/>
                    <a:pt x="242" y="57"/>
                  </a:cubicBezTo>
                  <a:cubicBezTo>
                    <a:pt x="243" y="55"/>
                    <a:pt x="244" y="51"/>
                    <a:pt x="242" y="50"/>
                  </a:cubicBezTo>
                  <a:cubicBezTo>
                    <a:pt x="238" y="49"/>
                    <a:pt x="241" y="54"/>
                    <a:pt x="240" y="56"/>
                  </a:cubicBezTo>
                  <a:cubicBezTo>
                    <a:pt x="238" y="58"/>
                    <a:pt x="235" y="59"/>
                    <a:pt x="233" y="61"/>
                  </a:cubicBezTo>
                  <a:cubicBezTo>
                    <a:pt x="230" y="64"/>
                    <a:pt x="231" y="63"/>
                    <a:pt x="233" y="65"/>
                  </a:cubicBezTo>
                  <a:cubicBezTo>
                    <a:pt x="234" y="66"/>
                    <a:pt x="237" y="69"/>
                    <a:pt x="237" y="71"/>
                  </a:cubicBezTo>
                  <a:cubicBezTo>
                    <a:pt x="237" y="71"/>
                    <a:pt x="236" y="73"/>
                    <a:pt x="235" y="73"/>
                  </a:cubicBezTo>
                  <a:cubicBezTo>
                    <a:pt x="234" y="75"/>
                    <a:pt x="233" y="77"/>
                    <a:pt x="233" y="79"/>
                  </a:cubicBezTo>
                  <a:cubicBezTo>
                    <a:pt x="233" y="79"/>
                    <a:pt x="234" y="84"/>
                    <a:pt x="235" y="84"/>
                  </a:cubicBezTo>
                  <a:cubicBezTo>
                    <a:pt x="237" y="84"/>
                    <a:pt x="239" y="84"/>
                    <a:pt x="241" y="83"/>
                  </a:cubicBezTo>
                  <a:cubicBezTo>
                    <a:pt x="243" y="82"/>
                    <a:pt x="246" y="83"/>
                    <a:pt x="248" y="84"/>
                  </a:cubicBezTo>
                  <a:cubicBezTo>
                    <a:pt x="251" y="84"/>
                    <a:pt x="253" y="86"/>
                    <a:pt x="254" y="89"/>
                  </a:cubicBezTo>
                  <a:cubicBezTo>
                    <a:pt x="255" y="91"/>
                    <a:pt x="251" y="94"/>
                    <a:pt x="253" y="95"/>
                  </a:cubicBezTo>
                  <a:cubicBezTo>
                    <a:pt x="253" y="95"/>
                    <a:pt x="259" y="97"/>
                    <a:pt x="259" y="97"/>
                  </a:cubicBezTo>
                  <a:cubicBezTo>
                    <a:pt x="259" y="98"/>
                    <a:pt x="252" y="96"/>
                    <a:pt x="251" y="96"/>
                  </a:cubicBezTo>
                  <a:cubicBezTo>
                    <a:pt x="251" y="96"/>
                    <a:pt x="250" y="93"/>
                    <a:pt x="250" y="93"/>
                  </a:cubicBezTo>
                  <a:cubicBezTo>
                    <a:pt x="251" y="91"/>
                    <a:pt x="252" y="90"/>
                    <a:pt x="250" y="89"/>
                  </a:cubicBezTo>
                  <a:cubicBezTo>
                    <a:pt x="248" y="88"/>
                    <a:pt x="249" y="86"/>
                    <a:pt x="247" y="85"/>
                  </a:cubicBezTo>
                  <a:cubicBezTo>
                    <a:pt x="245" y="85"/>
                    <a:pt x="243" y="86"/>
                    <a:pt x="241" y="86"/>
                  </a:cubicBezTo>
                  <a:cubicBezTo>
                    <a:pt x="241" y="86"/>
                    <a:pt x="237" y="87"/>
                    <a:pt x="237" y="88"/>
                  </a:cubicBezTo>
                  <a:cubicBezTo>
                    <a:pt x="238" y="88"/>
                    <a:pt x="239" y="88"/>
                    <a:pt x="238" y="88"/>
                  </a:cubicBezTo>
                  <a:cubicBezTo>
                    <a:pt x="238" y="89"/>
                    <a:pt x="236" y="90"/>
                    <a:pt x="237" y="91"/>
                  </a:cubicBezTo>
                  <a:cubicBezTo>
                    <a:pt x="241" y="93"/>
                    <a:pt x="238" y="96"/>
                    <a:pt x="236" y="98"/>
                  </a:cubicBezTo>
                  <a:cubicBezTo>
                    <a:pt x="235" y="99"/>
                    <a:pt x="234" y="101"/>
                    <a:pt x="234" y="102"/>
                  </a:cubicBezTo>
                  <a:cubicBezTo>
                    <a:pt x="233" y="103"/>
                    <a:pt x="231" y="104"/>
                    <a:pt x="229" y="104"/>
                  </a:cubicBezTo>
                  <a:cubicBezTo>
                    <a:pt x="228" y="105"/>
                    <a:pt x="227" y="105"/>
                    <a:pt x="227" y="107"/>
                  </a:cubicBezTo>
                  <a:cubicBezTo>
                    <a:pt x="226" y="109"/>
                    <a:pt x="224" y="108"/>
                    <a:pt x="223" y="108"/>
                  </a:cubicBezTo>
                  <a:cubicBezTo>
                    <a:pt x="220" y="107"/>
                    <a:pt x="218" y="108"/>
                    <a:pt x="216" y="107"/>
                  </a:cubicBezTo>
                  <a:cubicBezTo>
                    <a:pt x="215" y="107"/>
                    <a:pt x="214" y="106"/>
                    <a:pt x="213" y="106"/>
                  </a:cubicBezTo>
                  <a:cubicBezTo>
                    <a:pt x="211" y="106"/>
                    <a:pt x="211" y="105"/>
                    <a:pt x="210" y="104"/>
                  </a:cubicBezTo>
                  <a:cubicBezTo>
                    <a:pt x="210" y="104"/>
                    <a:pt x="212" y="103"/>
                    <a:pt x="212" y="104"/>
                  </a:cubicBezTo>
                  <a:cubicBezTo>
                    <a:pt x="213" y="106"/>
                    <a:pt x="215" y="106"/>
                    <a:pt x="215" y="105"/>
                  </a:cubicBezTo>
                  <a:cubicBezTo>
                    <a:pt x="216" y="104"/>
                    <a:pt x="221" y="107"/>
                    <a:pt x="223" y="105"/>
                  </a:cubicBezTo>
                  <a:cubicBezTo>
                    <a:pt x="223" y="104"/>
                    <a:pt x="221" y="103"/>
                    <a:pt x="223" y="103"/>
                  </a:cubicBezTo>
                  <a:cubicBezTo>
                    <a:pt x="224" y="102"/>
                    <a:pt x="226" y="101"/>
                    <a:pt x="227" y="100"/>
                  </a:cubicBezTo>
                  <a:cubicBezTo>
                    <a:pt x="228" y="98"/>
                    <a:pt x="227" y="98"/>
                    <a:pt x="230" y="97"/>
                  </a:cubicBezTo>
                  <a:cubicBezTo>
                    <a:pt x="233" y="95"/>
                    <a:pt x="229" y="93"/>
                    <a:pt x="231" y="91"/>
                  </a:cubicBezTo>
                  <a:cubicBezTo>
                    <a:pt x="233" y="90"/>
                    <a:pt x="233" y="89"/>
                    <a:pt x="231" y="88"/>
                  </a:cubicBezTo>
                  <a:cubicBezTo>
                    <a:pt x="230" y="88"/>
                    <a:pt x="229" y="87"/>
                    <a:pt x="228" y="86"/>
                  </a:cubicBezTo>
                  <a:cubicBezTo>
                    <a:pt x="227" y="84"/>
                    <a:pt x="228" y="81"/>
                    <a:pt x="228" y="79"/>
                  </a:cubicBezTo>
                  <a:cubicBezTo>
                    <a:pt x="228" y="77"/>
                    <a:pt x="227" y="75"/>
                    <a:pt x="228" y="73"/>
                  </a:cubicBezTo>
                  <a:cubicBezTo>
                    <a:pt x="228" y="71"/>
                    <a:pt x="230" y="71"/>
                    <a:pt x="230" y="69"/>
                  </a:cubicBezTo>
                  <a:cubicBezTo>
                    <a:pt x="229" y="67"/>
                    <a:pt x="227" y="66"/>
                    <a:pt x="226" y="65"/>
                  </a:cubicBezTo>
                  <a:cubicBezTo>
                    <a:pt x="225" y="64"/>
                    <a:pt x="224" y="63"/>
                    <a:pt x="225" y="62"/>
                  </a:cubicBezTo>
                  <a:cubicBezTo>
                    <a:pt x="227" y="61"/>
                    <a:pt x="227" y="59"/>
                    <a:pt x="228" y="57"/>
                  </a:cubicBezTo>
                  <a:cubicBezTo>
                    <a:pt x="229" y="56"/>
                    <a:pt x="230" y="53"/>
                    <a:pt x="229" y="52"/>
                  </a:cubicBezTo>
                  <a:cubicBezTo>
                    <a:pt x="229" y="51"/>
                    <a:pt x="225" y="50"/>
                    <a:pt x="223" y="49"/>
                  </a:cubicBezTo>
                  <a:cubicBezTo>
                    <a:pt x="221" y="49"/>
                    <a:pt x="219" y="49"/>
                    <a:pt x="217" y="49"/>
                  </a:cubicBezTo>
                  <a:cubicBezTo>
                    <a:pt x="216" y="49"/>
                    <a:pt x="213" y="48"/>
                    <a:pt x="212" y="49"/>
                  </a:cubicBezTo>
                  <a:cubicBezTo>
                    <a:pt x="209" y="51"/>
                    <a:pt x="209" y="58"/>
                    <a:pt x="206" y="60"/>
                  </a:cubicBezTo>
                  <a:cubicBezTo>
                    <a:pt x="204" y="63"/>
                    <a:pt x="198" y="64"/>
                    <a:pt x="198" y="68"/>
                  </a:cubicBezTo>
                  <a:cubicBezTo>
                    <a:pt x="198" y="69"/>
                    <a:pt x="201" y="68"/>
                    <a:pt x="201" y="68"/>
                  </a:cubicBezTo>
                  <a:cubicBezTo>
                    <a:pt x="202" y="69"/>
                    <a:pt x="201" y="73"/>
                    <a:pt x="201" y="73"/>
                  </a:cubicBezTo>
                  <a:cubicBezTo>
                    <a:pt x="200" y="75"/>
                    <a:pt x="202" y="76"/>
                    <a:pt x="199" y="76"/>
                  </a:cubicBezTo>
                  <a:cubicBezTo>
                    <a:pt x="199" y="77"/>
                    <a:pt x="198" y="77"/>
                    <a:pt x="198" y="78"/>
                  </a:cubicBezTo>
                  <a:cubicBezTo>
                    <a:pt x="199" y="79"/>
                    <a:pt x="200" y="79"/>
                    <a:pt x="201" y="79"/>
                  </a:cubicBezTo>
                  <a:cubicBezTo>
                    <a:pt x="202" y="79"/>
                    <a:pt x="206" y="79"/>
                    <a:pt x="206" y="80"/>
                  </a:cubicBezTo>
                  <a:cubicBezTo>
                    <a:pt x="206" y="82"/>
                    <a:pt x="206" y="84"/>
                    <a:pt x="208" y="85"/>
                  </a:cubicBezTo>
                  <a:cubicBezTo>
                    <a:pt x="210" y="86"/>
                    <a:pt x="212" y="85"/>
                    <a:pt x="210" y="87"/>
                  </a:cubicBezTo>
                  <a:cubicBezTo>
                    <a:pt x="209" y="88"/>
                    <a:pt x="209" y="90"/>
                    <a:pt x="208" y="91"/>
                  </a:cubicBezTo>
                  <a:cubicBezTo>
                    <a:pt x="207" y="93"/>
                    <a:pt x="202" y="88"/>
                    <a:pt x="201" y="87"/>
                  </a:cubicBezTo>
                  <a:cubicBezTo>
                    <a:pt x="198" y="85"/>
                    <a:pt x="194" y="84"/>
                    <a:pt x="191" y="83"/>
                  </a:cubicBezTo>
                  <a:cubicBezTo>
                    <a:pt x="189" y="82"/>
                    <a:pt x="188" y="81"/>
                    <a:pt x="186" y="80"/>
                  </a:cubicBezTo>
                  <a:cubicBezTo>
                    <a:pt x="185" y="80"/>
                    <a:pt x="183" y="79"/>
                    <a:pt x="182" y="79"/>
                  </a:cubicBezTo>
                  <a:cubicBezTo>
                    <a:pt x="179" y="79"/>
                    <a:pt x="176" y="78"/>
                    <a:pt x="173" y="78"/>
                  </a:cubicBezTo>
                  <a:cubicBezTo>
                    <a:pt x="169" y="78"/>
                    <a:pt x="165" y="78"/>
                    <a:pt x="168" y="83"/>
                  </a:cubicBezTo>
                  <a:cubicBezTo>
                    <a:pt x="170" y="84"/>
                    <a:pt x="169" y="86"/>
                    <a:pt x="167" y="87"/>
                  </a:cubicBezTo>
                  <a:cubicBezTo>
                    <a:pt x="166" y="88"/>
                    <a:pt x="163" y="86"/>
                    <a:pt x="164" y="89"/>
                  </a:cubicBezTo>
                  <a:cubicBezTo>
                    <a:pt x="165" y="90"/>
                    <a:pt x="157" y="90"/>
                    <a:pt x="161" y="87"/>
                  </a:cubicBezTo>
                  <a:cubicBezTo>
                    <a:pt x="162" y="86"/>
                    <a:pt x="159" y="84"/>
                    <a:pt x="158" y="85"/>
                  </a:cubicBezTo>
                  <a:cubicBezTo>
                    <a:pt x="156" y="85"/>
                    <a:pt x="154" y="86"/>
                    <a:pt x="153" y="87"/>
                  </a:cubicBezTo>
                  <a:cubicBezTo>
                    <a:pt x="150" y="89"/>
                    <a:pt x="147" y="87"/>
                    <a:pt x="144" y="88"/>
                  </a:cubicBezTo>
                  <a:cubicBezTo>
                    <a:pt x="141" y="89"/>
                    <a:pt x="139" y="91"/>
                    <a:pt x="137" y="91"/>
                  </a:cubicBezTo>
                  <a:cubicBezTo>
                    <a:pt x="136" y="91"/>
                    <a:pt x="130" y="91"/>
                    <a:pt x="131" y="90"/>
                  </a:cubicBezTo>
                  <a:cubicBezTo>
                    <a:pt x="133" y="90"/>
                    <a:pt x="133" y="90"/>
                    <a:pt x="133" y="89"/>
                  </a:cubicBezTo>
                  <a:cubicBezTo>
                    <a:pt x="133" y="86"/>
                    <a:pt x="135" y="87"/>
                    <a:pt x="135" y="85"/>
                  </a:cubicBezTo>
                  <a:cubicBezTo>
                    <a:pt x="136" y="84"/>
                    <a:pt x="129" y="86"/>
                    <a:pt x="129" y="86"/>
                  </a:cubicBezTo>
                  <a:cubicBezTo>
                    <a:pt x="128" y="86"/>
                    <a:pt x="127" y="86"/>
                    <a:pt x="127" y="87"/>
                  </a:cubicBezTo>
                  <a:cubicBezTo>
                    <a:pt x="127" y="88"/>
                    <a:pt x="127" y="89"/>
                    <a:pt x="127" y="90"/>
                  </a:cubicBezTo>
                  <a:cubicBezTo>
                    <a:pt x="126" y="90"/>
                    <a:pt x="124" y="89"/>
                    <a:pt x="123" y="89"/>
                  </a:cubicBezTo>
                  <a:cubicBezTo>
                    <a:pt x="121" y="89"/>
                    <a:pt x="118" y="90"/>
                    <a:pt x="116" y="91"/>
                  </a:cubicBezTo>
                  <a:cubicBezTo>
                    <a:pt x="113" y="92"/>
                    <a:pt x="110" y="94"/>
                    <a:pt x="107" y="95"/>
                  </a:cubicBezTo>
                  <a:cubicBezTo>
                    <a:pt x="105" y="95"/>
                    <a:pt x="104" y="96"/>
                    <a:pt x="103" y="98"/>
                  </a:cubicBezTo>
                  <a:cubicBezTo>
                    <a:pt x="103" y="99"/>
                    <a:pt x="103" y="102"/>
                    <a:pt x="101" y="102"/>
                  </a:cubicBezTo>
                  <a:cubicBezTo>
                    <a:pt x="99" y="102"/>
                    <a:pt x="97" y="103"/>
                    <a:pt x="95" y="103"/>
                  </a:cubicBezTo>
                  <a:cubicBezTo>
                    <a:pt x="94" y="103"/>
                    <a:pt x="93" y="101"/>
                    <a:pt x="92" y="100"/>
                  </a:cubicBezTo>
                  <a:cubicBezTo>
                    <a:pt x="90" y="98"/>
                    <a:pt x="87" y="99"/>
                    <a:pt x="89" y="96"/>
                  </a:cubicBezTo>
                  <a:cubicBezTo>
                    <a:pt x="90" y="94"/>
                    <a:pt x="93" y="95"/>
                    <a:pt x="94" y="94"/>
                  </a:cubicBezTo>
                  <a:cubicBezTo>
                    <a:pt x="96" y="94"/>
                    <a:pt x="98" y="95"/>
                    <a:pt x="97" y="93"/>
                  </a:cubicBezTo>
                  <a:cubicBezTo>
                    <a:pt x="96" y="92"/>
                    <a:pt x="95" y="90"/>
                    <a:pt x="94" y="89"/>
                  </a:cubicBezTo>
                  <a:cubicBezTo>
                    <a:pt x="92" y="87"/>
                    <a:pt x="89" y="88"/>
                    <a:pt x="87" y="88"/>
                  </a:cubicBezTo>
                  <a:cubicBezTo>
                    <a:pt x="86" y="88"/>
                    <a:pt x="80" y="87"/>
                    <a:pt x="80" y="87"/>
                  </a:cubicBezTo>
                  <a:cubicBezTo>
                    <a:pt x="80" y="87"/>
                    <a:pt x="83" y="88"/>
                    <a:pt x="83" y="88"/>
                  </a:cubicBezTo>
                  <a:cubicBezTo>
                    <a:pt x="84" y="89"/>
                    <a:pt x="84" y="90"/>
                    <a:pt x="84" y="91"/>
                  </a:cubicBezTo>
                  <a:cubicBezTo>
                    <a:pt x="84" y="92"/>
                    <a:pt x="84" y="94"/>
                    <a:pt x="84" y="95"/>
                  </a:cubicBezTo>
                  <a:cubicBezTo>
                    <a:pt x="83" y="96"/>
                    <a:pt x="82" y="97"/>
                    <a:pt x="82" y="98"/>
                  </a:cubicBezTo>
                  <a:cubicBezTo>
                    <a:pt x="83" y="100"/>
                    <a:pt x="87" y="100"/>
                    <a:pt x="86" y="103"/>
                  </a:cubicBezTo>
                  <a:cubicBezTo>
                    <a:pt x="85" y="104"/>
                    <a:pt x="84" y="106"/>
                    <a:pt x="84" y="107"/>
                  </a:cubicBezTo>
                  <a:cubicBezTo>
                    <a:pt x="84" y="107"/>
                    <a:pt x="84" y="111"/>
                    <a:pt x="84" y="111"/>
                  </a:cubicBezTo>
                  <a:cubicBezTo>
                    <a:pt x="84" y="111"/>
                    <a:pt x="83" y="108"/>
                    <a:pt x="83" y="108"/>
                  </a:cubicBezTo>
                  <a:cubicBezTo>
                    <a:pt x="82" y="108"/>
                    <a:pt x="81" y="110"/>
                    <a:pt x="80" y="109"/>
                  </a:cubicBezTo>
                  <a:cubicBezTo>
                    <a:pt x="80" y="109"/>
                    <a:pt x="82" y="108"/>
                    <a:pt x="82" y="107"/>
                  </a:cubicBezTo>
                  <a:cubicBezTo>
                    <a:pt x="81" y="106"/>
                    <a:pt x="79" y="106"/>
                    <a:pt x="78" y="106"/>
                  </a:cubicBezTo>
                  <a:cubicBezTo>
                    <a:pt x="77" y="106"/>
                    <a:pt x="76" y="105"/>
                    <a:pt x="75" y="106"/>
                  </a:cubicBezTo>
                  <a:cubicBezTo>
                    <a:pt x="73" y="106"/>
                    <a:pt x="72" y="108"/>
                    <a:pt x="70" y="108"/>
                  </a:cubicBezTo>
                  <a:cubicBezTo>
                    <a:pt x="68" y="110"/>
                    <a:pt x="67" y="110"/>
                    <a:pt x="65" y="112"/>
                  </a:cubicBezTo>
                  <a:cubicBezTo>
                    <a:pt x="63" y="114"/>
                    <a:pt x="61" y="114"/>
                    <a:pt x="64" y="116"/>
                  </a:cubicBezTo>
                  <a:cubicBezTo>
                    <a:pt x="65" y="117"/>
                    <a:pt x="67" y="120"/>
                    <a:pt x="66" y="121"/>
                  </a:cubicBezTo>
                  <a:cubicBezTo>
                    <a:pt x="65" y="122"/>
                    <a:pt x="59" y="120"/>
                    <a:pt x="58" y="120"/>
                  </a:cubicBezTo>
                  <a:cubicBezTo>
                    <a:pt x="57" y="119"/>
                    <a:pt x="54" y="120"/>
                    <a:pt x="53" y="120"/>
                  </a:cubicBezTo>
                  <a:cubicBezTo>
                    <a:pt x="54" y="119"/>
                    <a:pt x="49" y="115"/>
                    <a:pt x="48" y="117"/>
                  </a:cubicBezTo>
                  <a:cubicBezTo>
                    <a:pt x="43" y="121"/>
                    <a:pt x="54" y="122"/>
                    <a:pt x="54" y="124"/>
                  </a:cubicBezTo>
                  <a:cubicBezTo>
                    <a:pt x="53" y="128"/>
                    <a:pt x="50" y="126"/>
                    <a:pt x="47" y="126"/>
                  </a:cubicBezTo>
                  <a:cubicBezTo>
                    <a:pt x="44" y="125"/>
                    <a:pt x="43" y="123"/>
                    <a:pt x="40" y="122"/>
                  </a:cubicBezTo>
                  <a:cubicBezTo>
                    <a:pt x="38" y="121"/>
                    <a:pt x="38" y="120"/>
                    <a:pt x="37" y="118"/>
                  </a:cubicBezTo>
                  <a:cubicBezTo>
                    <a:pt x="37" y="116"/>
                    <a:pt x="36" y="116"/>
                    <a:pt x="35" y="115"/>
                  </a:cubicBezTo>
                  <a:cubicBezTo>
                    <a:pt x="35" y="114"/>
                    <a:pt x="38" y="112"/>
                    <a:pt x="38" y="112"/>
                  </a:cubicBezTo>
                  <a:cubicBezTo>
                    <a:pt x="39" y="109"/>
                    <a:pt x="34" y="107"/>
                    <a:pt x="32" y="107"/>
                  </a:cubicBezTo>
                  <a:cubicBezTo>
                    <a:pt x="30" y="106"/>
                    <a:pt x="30" y="104"/>
                    <a:pt x="28" y="104"/>
                  </a:cubicBezTo>
                  <a:cubicBezTo>
                    <a:pt x="29" y="103"/>
                    <a:pt x="24" y="99"/>
                    <a:pt x="24" y="99"/>
                  </a:cubicBezTo>
                  <a:cubicBezTo>
                    <a:pt x="26" y="98"/>
                    <a:pt x="28" y="101"/>
                    <a:pt x="29" y="102"/>
                  </a:cubicBezTo>
                  <a:cubicBezTo>
                    <a:pt x="30" y="103"/>
                    <a:pt x="31" y="103"/>
                    <a:pt x="31" y="102"/>
                  </a:cubicBezTo>
                  <a:cubicBezTo>
                    <a:pt x="32" y="102"/>
                    <a:pt x="33" y="103"/>
                    <a:pt x="33" y="103"/>
                  </a:cubicBezTo>
                  <a:cubicBezTo>
                    <a:pt x="36" y="104"/>
                    <a:pt x="38" y="105"/>
                    <a:pt x="41" y="105"/>
                  </a:cubicBezTo>
                  <a:cubicBezTo>
                    <a:pt x="43" y="106"/>
                    <a:pt x="46" y="106"/>
                    <a:pt x="49" y="107"/>
                  </a:cubicBezTo>
                  <a:cubicBezTo>
                    <a:pt x="54" y="109"/>
                    <a:pt x="58" y="109"/>
                    <a:pt x="63" y="106"/>
                  </a:cubicBezTo>
                  <a:cubicBezTo>
                    <a:pt x="65" y="105"/>
                    <a:pt x="66" y="104"/>
                    <a:pt x="68" y="103"/>
                  </a:cubicBezTo>
                  <a:cubicBezTo>
                    <a:pt x="71" y="101"/>
                    <a:pt x="69" y="100"/>
                    <a:pt x="69" y="97"/>
                  </a:cubicBezTo>
                  <a:cubicBezTo>
                    <a:pt x="69" y="94"/>
                    <a:pt x="62" y="93"/>
                    <a:pt x="60" y="91"/>
                  </a:cubicBezTo>
                  <a:cubicBezTo>
                    <a:pt x="57" y="89"/>
                    <a:pt x="53" y="87"/>
                    <a:pt x="50" y="86"/>
                  </a:cubicBezTo>
                  <a:cubicBezTo>
                    <a:pt x="47" y="84"/>
                    <a:pt x="43" y="82"/>
                    <a:pt x="40" y="82"/>
                  </a:cubicBezTo>
                  <a:cubicBezTo>
                    <a:pt x="39" y="81"/>
                    <a:pt x="39" y="82"/>
                    <a:pt x="38" y="82"/>
                  </a:cubicBezTo>
                  <a:cubicBezTo>
                    <a:pt x="37" y="82"/>
                    <a:pt x="36" y="81"/>
                    <a:pt x="35" y="81"/>
                  </a:cubicBezTo>
                  <a:cubicBezTo>
                    <a:pt x="33" y="80"/>
                    <a:pt x="31" y="84"/>
                    <a:pt x="29" y="84"/>
                  </a:cubicBezTo>
                  <a:cubicBezTo>
                    <a:pt x="29" y="83"/>
                    <a:pt x="33" y="80"/>
                    <a:pt x="29" y="80"/>
                  </a:cubicBezTo>
                  <a:cubicBezTo>
                    <a:pt x="28" y="80"/>
                    <a:pt x="24" y="78"/>
                    <a:pt x="24" y="78"/>
                  </a:cubicBezTo>
                  <a:cubicBezTo>
                    <a:pt x="25" y="77"/>
                    <a:pt x="29" y="80"/>
                    <a:pt x="29" y="78"/>
                  </a:cubicBezTo>
                  <a:cubicBezTo>
                    <a:pt x="29" y="77"/>
                    <a:pt x="25" y="75"/>
                    <a:pt x="24" y="75"/>
                  </a:cubicBezTo>
                  <a:cubicBezTo>
                    <a:pt x="23" y="76"/>
                    <a:pt x="20" y="78"/>
                    <a:pt x="20" y="78"/>
                  </a:cubicBezTo>
                  <a:cubicBezTo>
                    <a:pt x="20" y="77"/>
                    <a:pt x="20" y="77"/>
                    <a:pt x="19" y="76"/>
                  </a:cubicBezTo>
                  <a:cubicBezTo>
                    <a:pt x="17" y="76"/>
                    <a:pt x="17" y="77"/>
                    <a:pt x="16" y="78"/>
                  </a:cubicBezTo>
                  <a:cubicBezTo>
                    <a:pt x="16" y="78"/>
                    <a:pt x="16" y="78"/>
                    <a:pt x="16" y="77"/>
                  </a:cubicBezTo>
                  <a:cubicBezTo>
                    <a:pt x="15" y="78"/>
                    <a:pt x="14" y="80"/>
                    <a:pt x="13" y="80"/>
                  </a:cubicBezTo>
                  <a:cubicBezTo>
                    <a:pt x="12" y="81"/>
                    <a:pt x="10" y="81"/>
                    <a:pt x="10" y="81"/>
                  </a:cubicBezTo>
                  <a:cubicBezTo>
                    <a:pt x="9" y="83"/>
                    <a:pt x="5" y="83"/>
                    <a:pt x="6" y="85"/>
                  </a:cubicBezTo>
                  <a:cubicBezTo>
                    <a:pt x="9" y="87"/>
                    <a:pt x="5" y="85"/>
                    <a:pt x="5" y="88"/>
                  </a:cubicBezTo>
                  <a:cubicBezTo>
                    <a:pt x="5" y="90"/>
                    <a:pt x="9" y="91"/>
                    <a:pt x="10" y="92"/>
                  </a:cubicBezTo>
                  <a:cubicBezTo>
                    <a:pt x="12" y="93"/>
                    <a:pt x="14" y="95"/>
                    <a:pt x="13" y="97"/>
                  </a:cubicBezTo>
                  <a:cubicBezTo>
                    <a:pt x="12" y="99"/>
                    <a:pt x="9" y="100"/>
                    <a:pt x="9" y="102"/>
                  </a:cubicBezTo>
                  <a:cubicBezTo>
                    <a:pt x="10" y="104"/>
                    <a:pt x="12" y="106"/>
                    <a:pt x="13" y="108"/>
                  </a:cubicBezTo>
                  <a:cubicBezTo>
                    <a:pt x="14" y="110"/>
                    <a:pt x="12" y="110"/>
                    <a:pt x="12" y="112"/>
                  </a:cubicBezTo>
                  <a:cubicBezTo>
                    <a:pt x="12" y="114"/>
                    <a:pt x="15" y="116"/>
                    <a:pt x="13" y="117"/>
                  </a:cubicBezTo>
                  <a:cubicBezTo>
                    <a:pt x="11" y="118"/>
                    <a:pt x="14" y="121"/>
                    <a:pt x="14" y="122"/>
                  </a:cubicBezTo>
                  <a:cubicBezTo>
                    <a:pt x="16" y="124"/>
                    <a:pt x="18" y="124"/>
                    <a:pt x="15" y="126"/>
                  </a:cubicBezTo>
                  <a:cubicBezTo>
                    <a:pt x="13" y="128"/>
                    <a:pt x="14" y="128"/>
                    <a:pt x="15" y="129"/>
                  </a:cubicBezTo>
                  <a:cubicBezTo>
                    <a:pt x="20" y="132"/>
                    <a:pt x="23" y="134"/>
                    <a:pt x="18" y="138"/>
                  </a:cubicBezTo>
                  <a:cubicBezTo>
                    <a:pt x="13" y="143"/>
                    <a:pt x="8" y="147"/>
                    <a:pt x="4" y="152"/>
                  </a:cubicBezTo>
                  <a:cubicBezTo>
                    <a:pt x="6" y="152"/>
                    <a:pt x="6" y="151"/>
                    <a:pt x="7" y="152"/>
                  </a:cubicBezTo>
                  <a:cubicBezTo>
                    <a:pt x="8" y="154"/>
                    <a:pt x="10" y="154"/>
                    <a:pt x="11" y="155"/>
                  </a:cubicBezTo>
                  <a:cubicBezTo>
                    <a:pt x="17" y="157"/>
                    <a:pt x="9" y="157"/>
                    <a:pt x="7" y="157"/>
                  </a:cubicBezTo>
                  <a:cubicBezTo>
                    <a:pt x="5" y="157"/>
                    <a:pt x="4" y="158"/>
                    <a:pt x="4" y="160"/>
                  </a:cubicBezTo>
                  <a:cubicBezTo>
                    <a:pt x="4" y="162"/>
                    <a:pt x="2" y="163"/>
                    <a:pt x="1" y="165"/>
                  </a:cubicBezTo>
                  <a:cubicBezTo>
                    <a:pt x="0" y="166"/>
                    <a:pt x="1" y="168"/>
                    <a:pt x="2" y="170"/>
                  </a:cubicBezTo>
                  <a:cubicBezTo>
                    <a:pt x="2" y="172"/>
                    <a:pt x="0" y="174"/>
                    <a:pt x="1" y="175"/>
                  </a:cubicBezTo>
                  <a:cubicBezTo>
                    <a:pt x="3" y="176"/>
                    <a:pt x="3" y="176"/>
                    <a:pt x="3" y="178"/>
                  </a:cubicBezTo>
                  <a:cubicBezTo>
                    <a:pt x="2" y="180"/>
                    <a:pt x="4" y="181"/>
                    <a:pt x="4" y="183"/>
                  </a:cubicBezTo>
                  <a:cubicBezTo>
                    <a:pt x="4" y="184"/>
                    <a:pt x="7" y="186"/>
                    <a:pt x="8" y="186"/>
                  </a:cubicBezTo>
                  <a:cubicBezTo>
                    <a:pt x="8" y="186"/>
                    <a:pt x="9" y="185"/>
                    <a:pt x="10" y="185"/>
                  </a:cubicBezTo>
                  <a:cubicBezTo>
                    <a:pt x="11" y="185"/>
                    <a:pt x="11" y="187"/>
                    <a:pt x="12" y="187"/>
                  </a:cubicBezTo>
                  <a:cubicBezTo>
                    <a:pt x="14" y="186"/>
                    <a:pt x="14" y="185"/>
                    <a:pt x="16" y="187"/>
                  </a:cubicBezTo>
                  <a:cubicBezTo>
                    <a:pt x="18" y="188"/>
                    <a:pt x="18" y="188"/>
                    <a:pt x="18" y="190"/>
                  </a:cubicBezTo>
                  <a:cubicBezTo>
                    <a:pt x="17" y="195"/>
                    <a:pt x="21" y="199"/>
                    <a:pt x="24" y="201"/>
                  </a:cubicBezTo>
                  <a:cubicBezTo>
                    <a:pt x="26" y="202"/>
                    <a:pt x="27" y="203"/>
                    <a:pt x="25" y="204"/>
                  </a:cubicBezTo>
                  <a:cubicBezTo>
                    <a:pt x="24" y="206"/>
                    <a:pt x="23" y="205"/>
                    <a:pt x="21" y="205"/>
                  </a:cubicBezTo>
                  <a:cubicBezTo>
                    <a:pt x="19" y="205"/>
                    <a:pt x="22" y="214"/>
                    <a:pt x="24" y="213"/>
                  </a:cubicBezTo>
                  <a:cubicBezTo>
                    <a:pt x="25" y="212"/>
                    <a:pt x="26" y="209"/>
                    <a:pt x="27" y="210"/>
                  </a:cubicBezTo>
                  <a:cubicBezTo>
                    <a:pt x="28" y="210"/>
                    <a:pt x="29" y="211"/>
                    <a:pt x="31" y="211"/>
                  </a:cubicBezTo>
                  <a:cubicBezTo>
                    <a:pt x="33" y="211"/>
                    <a:pt x="35" y="212"/>
                    <a:pt x="35" y="214"/>
                  </a:cubicBezTo>
                  <a:cubicBezTo>
                    <a:pt x="35" y="215"/>
                    <a:pt x="34" y="215"/>
                    <a:pt x="34" y="215"/>
                  </a:cubicBezTo>
                  <a:cubicBezTo>
                    <a:pt x="33" y="216"/>
                    <a:pt x="34" y="218"/>
                    <a:pt x="35" y="218"/>
                  </a:cubicBezTo>
                  <a:cubicBezTo>
                    <a:pt x="36" y="219"/>
                    <a:pt x="38" y="218"/>
                    <a:pt x="39" y="219"/>
                  </a:cubicBezTo>
                  <a:cubicBezTo>
                    <a:pt x="40" y="220"/>
                    <a:pt x="40" y="222"/>
                    <a:pt x="40" y="223"/>
                  </a:cubicBezTo>
                  <a:cubicBezTo>
                    <a:pt x="40" y="224"/>
                    <a:pt x="43" y="223"/>
                    <a:pt x="44" y="223"/>
                  </a:cubicBezTo>
                  <a:cubicBezTo>
                    <a:pt x="45" y="224"/>
                    <a:pt x="47" y="227"/>
                    <a:pt x="48" y="225"/>
                  </a:cubicBezTo>
                  <a:cubicBezTo>
                    <a:pt x="49" y="223"/>
                    <a:pt x="50" y="224"/>
                    <a:pt x="51" y="225"/>
                  </a:cubicBezTo>
                  <a:cubicBezTo>
                    <a:pt x="53" y="227"/>
                    <a:pt x="53" y="226"/>
                    <a:pt x="55" y="226"/>
                  </a:cubicBezTo>
                  <a:cubicBezTo>
                    <a:pt x="56" y="226"/>
                    <a:pt x="57" y="229"/>
                    <a:pt x="58" y="228"/>
                  </a:cubicBezTo>
                  <a:cubicBezTo>
                    <a:pt x="60" y="227"/>
                    <a:pt x="62" y="229"/>
                    <a:pt x="63" y="230"/>
                  </a:cubicBezTo>
                  <a:cubicBezTo>
                    <a:pt x="65" y="231"/>
                    <a:pt x="62" y="232"/>
                    <a:pt x="62" y="232"/>
                  </a:cubicBezTo>
                  <a:cubicBezTo>
                    <a:pt x="60" y="233"/>
                    <a:pt x="63" y="234"/>
                    <a:pt x="63" y="234"/>
                  </a:cubicBezTo>
                  <a:cubicBezTo>
                    <a:pt x="63" y="234"/>
                    <a:pt x="60" y="234"/>
                    <a:pt x="61" y="236"/>
                  </a:cubicBezTo>
                  <a:cubicBezTo>
                    <a:pt x="63" y="237"/>
                    <a:pt x="62" y="238"/>
                    <a:pt x="61" y="239"/>
                  </a:cubicBezTo>
                  <a:cubicBezTo>
                    <a:pt x="61" y="240"/>
                    <a:pt x="58" y="240"/>
                    <a:pt x="57" y="240"/>
                  </a:cubicBezTo>
                  <a:cubicBezTo>
                    <a:pt x="55" y="240"/>
                    <a:pt x="54" y="242"/>
                    <a:pt x="53" y="244"/>
                  </a:cubicBezTo>
                  <a:cubicBezTo>
                    <a:pt x="54" y="244"/>
                    <a:pt x="58" y="244"/>
                    <a:pt x="58" y="245"/>
                  </a:cubicBezTo>
                  <a:cubicBezTo>
                    <a:pt x="58" y="246"/>
                    <a:pt x="53" y="247"/>
                    <a:pt x="53" y="248"/>
                  </a:cubicBezTo>
                  <a:cubicBezTo>
                    <a:pt x="53" y="249"/>
                    <a:pt x="55" y="249"/>
                    <a:pt x="55" y="251"/>
                  </a:cubicBezTo>
                  <a:cubicBezTo>
                    <a:pt x="55" y="251"/>
                    <a:pt x="52" y="252"/>
                    <a:pt x="52" y="252"/>
                  </a:cubicBezTo>
                  <a:cubicBezTo>
                    <a:pt x="51" y="253"/>
                    <a:pt x="51" y="254"/>
                    <a:pt x="50" y="255"/>
                  </a:cubicBezTo>
                  <a:cubicBezTo>
                    <a:pt x="50" y="256"/>
                    <a:pt x="48" y="255"/>
                    <a:pt x="48" y="257"/>
                  </a:cubicBezTo>
                  <a:cubicBezTo>
                    <a:pt x="47" y="258"/>
                    <a:pt x="49" y="260"/>
                    <a:pt x="51" y="260"/>
                  </a:cubicBezTo>
                  <a:cubicBezTo>
                    <a:pt x="53" y="261"/>
                    <a:pt x="55" y="262"/>
                    <a:pt x="58" y="264"/>
                  </a:cubicBezTo>
                  <a:cubicBezTo>
                    <a:pt x="59" y="265"/>
                    <a:pt x="60" y="266"/>
                    <a:pt x="61" y="266"/>
                  </a:cubicBezTo>
                  <a:cubicBezTo>
                    <a:pt x="62" y="268"/>
                    <a:pt x="62" y="267"/>
                    <a:pt x="64" y="266"/>
                  </a:cubicBezTo>
                  <a:cubicBezTo>
                    <a:pt x="67" y="266"/>
                    <a:pt x="70" y="269"/>
                    <a:pt x="73" y="269"/>
                  </a:cubicBezTo>
                  <a:cubicBezTo>
                    <a:pt x="76" y="269"/>
                    <a:pt x="79" y="271"/>
                    <a:pt x="82" y="272"/>
                  </a:cubicBezTo>
                  <a:cubicBezTo>
                    <a:pt x="85" y="273"/>
                    <a:pt x="87" y="272"/>
                    <a:pt x="90" y="272"/>
                  </a:cubicBezTo>
                  <a:cubicBezTo>
                    <a:pt x="91" y="273"/>
                    <a:pt x="92" y="274"/>
                    <a:pt x="92" y="275"/>
                  </a:cubicBezTo>
                  <a:cubicBezTo>
                    <a:pt x="92" y="276"/>
                    <a:pt x="93" y="276"/>
                    <a:pt x="94" y="276"/>
                  </a:cubicBezTo>
                  <a:cubicBezTo>
                    <a:pt x="97" y="277"/>
                    <a:pt x="99" y="282"/>
                    <a:pt x="103" y="280"/>
                  </a:cubicBezTo>
                  <a:cubicBezTo>
                    <a:pt x="104" y="279"/>
                    <a:pt x="106" y="278"/>
                    <a:pt x="105" y="277"/>
                  </a:cubicBezTo>
                  <a:cubicBezTo>
                    <a:pt x="104" y="276"/>
                    <a:pt x="103" y="275"/>
                    <a:pt x="102" y="274"/>
                  </a:cubicBezTo>
                  <a:cubicBezTo>
                    <a:pt x="100" y="272"/>
                    <a:pt x="99" y="270"/>
                    <a:pt x="100" y="267"/>
                  </a:cubicBezTo>
                  <a:cubicBezTo>
                    <a:pt x="100" y="265"/>
                    <a:pt x="99" y="263"/>
                    <a:pt x="97" y="262"/>
                  </a:cubicBezTo>
                  <a:cubicBezTo>
                    <a:pt x="95" y="261"/>
                    <a:pt x="98" y="259"/>
                    <a:pt x="99" y="258"/>
                  </a:cubicBezTo>
                  <a:cubicBezTo>
                    <a:pt x="100" y="256"/>
                    <a:pt x="100" y="254"/>
                    <a:pt x="103" y="254"/>
                  </a:cubicBezTo>
                  <a:cubicBezTo>
                    <a:pt x="104" y="254"/>
                    <a:pt x="105" y="253"/>
                    <a:pt x="106" y="252"/>
                  </a:cubicBezTo>
                  <a:cubicBezTo>
                    <a:pt x="107" y="251"/>
                    <a:pt x="108" y="251"/>
                    <a:pt x="109" y="250"/>
                  </a:cubicBezTo>
                  <a:cubicBezTo>
                    <a:pt x="108" y="250"/>
                    <a:pt x="106" y="249"/>
                    <a:pt x="106" y="248"/>
                  </a:cubicBezTo>
                  <a:cubicBezTo>
                    <a:pt x="106" y="247"/>
                    <a:pt x="108" y="248"/>
                    <a:pt x="108" y="248"/>
                  </a:cubicBezTo>
                  <a:cubicBezTo>
                    <a:pt x="108" y="247"/>
                    <a:pt x="106" y="244"/>
                    <a:pt x="105" y="243"/>
                  </a:cubicBezTo>
                  <a:cubicBezTo>
                    <a:pt x="104" y="241"/>
                    <a:pt x="103" y="241"/>
                    <a:pt x="101" y="241"/>
                  </a:cubicBezTo>
                  <a:cubicBezTo>
                    <a:pt x="98" y="241"/>
                    <a:pt x="100" y="239"/>
                    <a:pt x="98" y="238"/>
                  </a:cubicBezTo>
                  <a:cubicBezTo>
                    <a:pt x="97" y="237"/>
                    <a:pt x="94" y="237"/>
                    <a:pt x="96" y="235"/>
                  </a:cubicBezTo>
                  <a:cubicBezTo>
                    <a:pt x="97" y="233"/>
                    <a:pt x="99" y="232"/>
                    <a:pt x="97" y="231"/>
                  </a:cubicBezTo>
                  <a:cubicBezTo>
                    <a:pt x="96" y="229"/>
                    <a:pt x="98" y="228"/>
                    <a:pt x="99" y="227"/>
                  </a:cubicBezTo>
                  <a:cubicBezTo>
                    <a:pt x="99" y="226"/>
                    <a:pt x="101" y="223"/>
                    <a:pt x="101" y="224"/>
                  </a:cubicBezTo>
                  <a:cubicBezTo>
                    <a:pt x="102" y="225"/>
                    <a:pt x="103" y="227"/>
                    <a:pt x="104" y="228"/>
                  </a:cubicBezTo>
                  <a:cubicBezTo>
                    <a:pt x="106" y="228"/>
                    <a:pt x="107" y="227"/>
                    <a:pt x="107" y="226"/>
                  </a:cubicBezTo>
                  <a:cubicBezTo>
                    <a:pt x="106" y="224"/>
                    <a:pt x="106" y="223"/>
                    <a:pt x="108" y="222"/>
                  </a:cubicBezTo>
                  <a:cubicBezTo>
                    <a:pt x="110" y="221"/>
                    <a:pt x="110" y="219"/>
                    <a:pt x="112" y="219"/>
                  </a:cubicBezTo>
                  <a:cubicBezTo>
                    <a:pt x="114" y="218"/>
                    <a:pt x="116" y="215"/>
                    <a:pt x="118" y="216"/>
                  </a:cubicBezTo>
                  <a:cubicBezTo>
                    <a:pt x="120" y="216"/>
                    <a:pt x="120" y="218"/>
                    <a:pt x="122" y="216"/>
                  </a:cubicBezTo>
                  <a:cubicBezTo>
                    <a:pt x="124" y="215"/>
                    <a:pt x="124" y="216"/>
                    <a:pt x="126" y="217"/>
                  </a:cubicBezTo>
                  <a:cubicBezTo>
                    <a:pt x="128" y="217"/>
                    <a:pt x="130" y="217"/>
                    <a:pt x="132" y="218"/>
                  </a:cubicBezTo>
                  <a:cubicBezTo>
                    <a:pt x="134" y="219"/>
                    <a:pt x="134" y="221"/>
                    <a:pt x="136" y="223"/>
                  </a:cubicBezTo>
                  <a:cubicBezTo>
                    <a:pt x="136" y="223"/>
                    <a:pt x="136" y="220"/>
                    <a:pt x="138" y="221"/>
                  </a:cubicBezTo>
                  <a:cubicBezTo>
                    <a:pt x="139" y="221"/>
                    <a:pt x="140" y="223"/>
                    <a:pt x="142" y="223"/>
                  </a:cubicBezTo>
                  <a:cubicBezTo>
                    <a:pt x="143" y="224"/>
                    <a:pt x="144" y="222"/>
                    <a:pt x="145" y="221"/>
                  </a:cubicBezTo>
                  <a:cubicBezTo>
                    <a:pt x="147" y="219"/>
                    <a:pt x="148" y="221"/>
                    <a:pt x="150" y="221"/>
                  </a:cubicBezTo>
                  <a:cubicBezTo>
                    <a:pt x="152" y="221"/>
                    <a:pt x="153" y="219"/>
                    <a:pt x="155" y="220"/>
                  </a:cubicBezTo>
                  <a:cubicBezTo>
                    <a:pt x="157" y="221"/>
                    <a:pt x="158" y="222"/>
                    <a:pt x="160" y="223"/>
                  </a:cubicBezTo>
                  <a:cubicBezTo>
                    <a:pt x="162" y="224"/>
                    <a:pt x="161" y="223"/>
                    <a:pt x="163" y="222"/>
                  </a:cubicBezTo>
                  <a:cubicBezTo>
                    <a:pt x="164" y="221"/>
                    <a:pt x="168" y="222"/>
                    <a:pt x="169" y="222"/>
                  </a:cubicBezTo>
                  <a:cubicBezTo>
                    <a:pt x="170" y="222"/>
                    <a:pt x="172" y="220"/>
                    <a:pt x="172" y="219"/>
                  </a:cubicBezTo>
                  <a:cubicBezTo>
                    <a:pt x="172" y="217"/>
                    <a:pt x="169" y="217"/>
                    <a:pt x="168" y="216"/>
                  </a:cubicBezTo>
                  <a:cubicBezTo>
                    <a:pt x="161" y="213"/>
                    <a:pt x="171" y="214"/>
                    <a:pt x="169" y="210"/>
                  </a:cubicBezTo>
                  <a:cubicBezTo>
                    <a:pt x="168" y="209"/>
                    <a:pt x="166" y="209"/>
                    <a:pt x="169" y="208"/>
                  </a:cubicBezTo>
                  <a:cubicBezTo>
                    <a:pt x="170" y="207"/>
                    <a:pt x="172" y="208"/>
                    <a:pt x="173" y="207"/>
                  </a:cubicBezTo>
                  <a:cubicBezTo>
                    <a:pt x="177" y="207"/>
                    <a:pt x="166" y="202"/>
                    <a:pt x="171" y="200"/>
                  </a:cubicBezTo>
                  <a:cubicBezTo>
                    <a:pt x="172" y="200"/>
                    <a:pt x="174" y="200"/>
                    <a:pt x="175" y="200"/>
                  </a:cubicBezTo>
                  <a:cubicBezTo>
                    <a:pt x="178" y="200"/>
                    <a:pt x="180" y="200"/>
                    <a:pt x="183" y="199"/>
                  </a:cubicBezTo>
                  <a:cubicBezTo>
                    <a:pt x="185" y="198"/>
                    <a:pt x="187" y="198"/>
                    <a:pt x="189" y="198"/>
                  </a:cubicBezTo>
                  <a:cubicBezTo>
                    <a:pt x="191" y="197"/>
                    <a:pt x="193" y="196"/>
                    <a:pt x="196" y="196"/>
                  </a:cubicBezTo>
                  <a:cubicBezTo>
                    <a:pt x="200" y="195"/>
                    <a:pt x="204" y="194"/>
                    <a:pt x="208" y="192"/>
                  </a:cubicBezTo>
                  <a:cubicBezTo>
                    <a:pt x="211" y="190"/>
                    <a:pt x="217" y="190"/>
                    <a:pt x="219" y="194"/>
                  </a:cubicBezTo>
                  <a:cubicBezTo>
                    <a:pt x="220" y="196"/>
                    <a:pt x="219" y="196"/>
                    <a:pt x="220" y="198"/>
                  </a:cubicBezTo>
                  <a:cubicBezTo>
                    <a:pt x="220" y="201"/>
                    <a:pt x="224" y="198"/>
                    <a:pt x="226" y="199"/>
                  </a:cubicBezTo>
                  <a:cubicBezTo>
                    <a:pt x="227" y="199"/>
                    <a:pt x="226" y="200"/>
                    <a:pt x="227" y="200"/>
                  </a:cubicBezTo>
                  <a:cubicBezTo>
                    <a:pt x="228" y="201"/>
                    <a:pt x="228" y="200"/>
                    <a:pt x="228" y="200"/>
                  </a:cubicBezTo>
                  <a:cubicBezTo>
                    <a:pt x="229" y="199"/>
                    <a:pt x="230" y="200"/>
                    <a:pt x="231" y="201"/>
                  </a:cubicBezTo>
                  <a:cubicBezTo>
                    <a:pt x="232" y="201"/>
                    <a:pt x="232" y="201"/>
                    <a:pt x="231" y="202"/>
                  </a:cubicBezTo>
                  <a:cubicBezTo>
                    <a:pt x="230" y="205"/>
                    <a:pt x="237" y="203"/>
                    <a:pt x="239" y="202"/>
                  </a:cubicBezTo>
                  <a:cubicBezTo>
                    <a:pt x="239" y="202"/>
                    <a:pt x="248" y="197"/>
                    <a:pt x="248" y="198"/>
                  </a:cubicBezTo>
                  <a:cubicBezTo>
                    <a:pt x="248" y="199"/>
                    <a:pt x="246" y="201"/>
                    <a:pt x="248" y="202"/>
                  </a:cubicBezTo>
                  <a:cubicBezTo>
                    <a:pt x="250" y="202"/>
                    <a:pt x="251" y="203"/>
                    <a:pt x="252" y="204"/>
                  </a:cubicBezTo>
                  <a:cubicBezTo>
                    <a:pt x="255" y="207"/>
                    <a:pt x="256" y="210"/>
                    <a:pt x="258" y="213"/>
                  </a:cubicBezTo>
                  <a:cubicBezTo>
                    <a:pt x="260" y="216"/>
                    <a:pt x="261" y="219"/>
                    <a:pt x="263" y="221"/>
                  </a:cubicBezTo>
                  <a:cubicBezTo>
                    <a:pt x="266" y="224"/>
                    <a:pt x="266" y="217"/>
                    <a:pt x="269" y="220"/>
                  </a:cubicBezTo>
                  <a:cubicBezTo>
                    <a:pt x="273" y="224"/>
                    <a:pt x="275" y="222"/>
                    <a:pt x="280" y="221"/>
                  </a:cubicBezTo>
                  <a:cubicBezTo>
                    <a:pt x="282" y="220"/>
                    <a:pt x="283" y="223"/>
                    <a:pt x="284" y="224"/>
                  </a:cubicBezTo>
                  <a:cubicBezTo>
                    <a:pt x="285" y="226"/>
                    <a:pt x="287" y="226"/>
                    <a:pt x="288" y="228"/>
                  </a:cubicBezTo>
                  <a:cubicBezTo>
                    <a:pt x="289" y="230"/>
                    <a:pt x="291" y="230"/>
                    <a:pt x="293" y="230"/>
                  </a:cubicBezTo>
                  <a:cubicBezTo>
                    <a:pt x="296" y="229"/>
                    <a:pt x="295" y="230"/>
                    <a:pt x="296" y="231"/>
                  </a:cubicBezTo>
                  <a:cubicBezTo>
                    <a:pt x="298" y="235"/>
                    <a:pt x="304" y="230"/>
                    <a:pt x="307" y="230"/>
                  </a:cubicBezTo>
                  <a:cubicBezTo>
                    <a:pt x="310" y="229"/>
                    <a:pt x="313" y="226"/>
                    <a:pt x="316" y="225"/>
                  </a:cubicBezTo>
                  <a:cubicBezTo>
                    <a:pt x="320" y="222"/>
                    <a:pt x="322" y="222"/>
                    <a:pt x="327" y="223"/>
                  </a:cubicBezTo>
                  <a:cubicBezTo>
                    <a:pt x="329" y="223"/>
                    <a:pt x="329" y="224"/>
                    <a:pt x="331" y="226"/>
                  </a:cubicBezTo>
                  <a:cubicBezTo>
                    <a:pt x="332" y="227"/>
                    <a:pt x="334" y="227"/>
                    <a:pt x="336" y="227"/>
                  </a:cubicBezTo>
                  <a:cubicBezTo>
                    <a:pt x="338" y="227"/>
                    <a:pt x="339" y="228"/>
                    <a:pt x="341" y="228"/>
                  </a:cubicBezTo>
                  <a:cubicBezTo>
                    <a:pt x="343" y="230"/>
                    <a:pt x="344" y="228"/>
                    <a:pt x="346" y="227"/>
                  </a:cubicBezTo>
                  <a:cubicBezTo>
                    <a:pt x="349" y="224"/>
                    <a:pt x="344" y="222"/>
                    <a:pt x="346" y="219"/>
                  </a:cubicBezTo>
                  <a:cubicBezTo>
                    <a:pt x="347" y="217"/>
                    <a:pt x="351" y="213"/>
                    <a:pt x="353" y="214"/>
                  </a:cubicBezTo>
                  <a:cubicBezTo>
                    <a:pt x="357" y="216"/>
                    <a:pt x="362" y="216"/>
                    <a:pt x="366" y="218"/>
                  </a:cubicBezTo>
                  <a:cubicBezTo>
                    <a:pt x="368" y="219"/>
                    <a:pt x="367" y="221"/>
                    <a:pt x="368" y="222"/>
                  </a:cubicBezTo>
                  <a:cubicBezTo>
                    <a:pt x="369" y="225"/>
                    <a:pt x="371" y="225"/>
                    <a:pt x="374" y="226"/>
                  </a:cubicBezTo>
                  <a:cubicBezTo>
                    <a:pt x="378" y="227"/>
                    <a:pt x="382" y="224"/>
                    <a:pt x="386" y="225"/>
                  </a:cubicBezTo>
                  <a:cubicBezTo>
                    <a:pt x="387" y="225"/>
                    <a:pt x="389" y="225"/>
                    <a:pt x="390" y="226"/>
                  </a:cubicBezTo>
                  <a:cubicBezTo>
                    <a:pt x="392" y="227"/>
                    <a:pt x="394" y="227"/>
                    <a:pt x="396" y="229"/>
                  </a:cubicBezTo>
                  <a:cubicBezTo>
                    <a:pt x="401" y="233"/>
                    <a:pt x="409" y="233"/>
                    <a:pt x="415" y="231"/>
                  </a:cubicBezTo>
                  <a:cubicBezTo>
                    <a:pt x="419" y="230"/>
                    <a:pt x="422" y="228"/>
                    <a:pt x="426" y="227"/>
                  </a:cubicBezTo>
                  <a:cubicBezTo>
                    <a:pt x="428" y="225"/>
                    <a:pt x="431" y="227"/>
                    <a:pt x="433" y="227"/>
                  </a:cubicBezTo>
                  <a:cubicBezTo>
                    <a:pt x="435" y="228"/>
                    <a:pt x="436" y="226"/>
                    <a:pt x="438" y="227"/>
                  </a:cubicBezTo>
                  <a:cubicBezTo>
                    <a:pt x="439" y="228"/>
                    <a:pt x="443" y="231"/>
                    <a:pt x="445" y="230"/>
                  </a:cubicBezTo>
                  <a:cubicBezTo>
                    <a:pt x="446" y="230"/>
                    <a:pt x="448" y="229"/>
                    <a:pt x="449" y="228"/>
                  </a:cubicBezTo>
                  <a:cubicBezTo>
                    <a:pt x="452" y="227"/>
                    <a:pt x="453" y="227"/>
                    <a:pt x="453" y="225"/>
                  </a:cubicBezTo>
                  <a:cubicBezTo>
                    <a:pt x="453" y="221"/>
                    <a:pt x="456" y="217"/>
                    <a:pt x="458" y="215"/>
                  </a:cubicBezTo>
                  <a:cubicBezTo>
                    <a:pt x="459" y="214"/>
                    <a:pt x="460" y="212"/>
                    <a:pt x="459" y="211"/>
                  </a:cubicBezTo>
                  <a:cubicBezTo>
                    <a:pt x="458" y="210"/>
                    <a:pt x="455" y="210"/>
                    <a:pt x="457" y="208"/>
                  </a:cubicBezTo>
                  <a:cubicBezTo>
                    <a:pt x="460" y="205"/>
                    <a:pt x="465" y="205"/>
                    <a:pt x="470" y="204"/>
                  </a:cubicBezTo>
                  <a:cubicBezTo>
                    <a:pt x="472" y="204"/>
                    <a:pt x="474" y="204"/>
                    <a:pt x="476" y="205"/>
                  </a:cubicBezTo>
                  <a:cubicBezTo>
                    <a:pt x="478" y="206"/>
                    <a:pt x="481" y="206"/>
                    <a:pt x="483" y="207"/>
                  </a:cubicBezTo>
                  <a:cubicBezTo>
                    <a:pt x="486" y="208"/>
                    <a:pt x="487" y="212"/>
                    <a:pt x="489" y="215"/>
                  </a:cubicBezTo>
                  <a:cubicBezTo>
                    <a:pt x="490" y="218"/>
                    <a:pt x="492" y="221"/>
                    <a:pt x="493" y="224"/>
                  </a:cubicBezTo>
                  <a:cubicBezTo>
                    <a:pt x="493" y="225"/>
                    <a:pt x="493" y="227"/>
                    <a:pt x="494" y="229"/>
                  </a:cubicBezTo>
                  <a:cubicBezTo>
                    <a:pt x="494" y="230"/>
                    <a:pt x="497" y="230"/>
                    <a:pt x="498" y="230"/>
                  </a:cubicBezTo>
                  <a:cubicBezTo>
                    <a:pt x="502" y="231"/>
                    <a:pt x="507" y="233"/>
                    <a:pt x="508" y="237"/>
                  </a:cubicBezTo>
                  <a:cubicBezTo>
                    <a:pt x="509" y="240"/>
                    <a:pt x="510" y="242"/>
                    <a:pt x="514" y="242"/>
                  </a:cubicBezTo>
                  <a:cubicBezTo>
                    <a:pt x="515" y="242"/>
                    <a:pt x="517" y="242"/>
                    <a:pt x="518" y="242"/>
                  </a:cubicBezTo>
                  <a:cubicBezTo>
                    <a:pt x="520" y="242"/>
                    <a:pt x="520" y="240"/>
                    <a:pt x="522" y="240"/>
                  </a:cubicBezTo>
                  <a:cubicBezTo>
                    <a:pt x="525" y="240"/>
                    <a:pt x="528" y="237"/>
                    <a:pt x="530" y="241"/>
                  </a:cubicBezTo>
                  <a:cubicBezTo>
                    <a:pt x="530" y="243"/>
                    <a:pt x="530" y="243"/>
                    <a:pt x="529" y="244"/>
                  </a:cubicBezTo>
                  <a:cubicBezTo>
                    <a:pt x="527" y="246"/>
                    <a:pt x="527" y="247"/>
                    <a:pt x="526" y="249"/>
                  </a:cubicBezTo>
                  <a:cubicBezTo>
                    <a:pt x="525" y="252"/>
                    <a:pt x="523" y="255"/>
                    <a:pt x="521" y="258"/>
                  </a:cubicBezTo>
                  <a:cubicBezTo>
                    <a:pt x="520" y="260"/>
                    <a:pt x="519" y="259"/>
                    <a:pt x="518" y="258"/>
                  </a:cubicBezTo>
                  <a:cubicBezTo>
                    <a:pt x="516" y="257"/>
                    <a:pt x="516" y="258"/>
                    <a:pt x="514" y="259"/>
                  </a:cubicBezTo>
                  <a:cubicBezTo>
                    <a:pt x="513" y="259"/>
                    <a:pt x="511" y="260"/>
                    <a:pt x="511" y="260"/>
                  </a:cubicBezTo>
                  <a:cubicBezTo>
                    <a:pt x="510" y="261"/>
                    <a:pt x="513" y="265"/>
                    <a:pt x="513" y="267"/>
                  </a:cubicBezTo>
                  <a:cubicBezTo>
                    <a:pt x="512" y="268"/>
                    <a:pt x="512" y="270"/>
                    <a:pt x="512" y="271"/>
                  </a:cubicBezTo>
                  <a:cubicBezTo>
                    <a:pt x="511" y="273"/>
                    <a:pt x="509" y="272"/>
                    <a:pt x="509" y="274"/>
                  </a:cubicBezTo>
                  <a:cubicBezTo>
                    <a:pt x="511" y="273"/>
                    <a:pt x="512" y="274"/>
                    <a:pt x="514" y="272"/>
                  </a:cubicBezTo>
                  <a:cubicBezTo>
                    <a:pt x="515" y="270"/>
                    <a:pt x="517" y="272"/>
                    <a:pt x="519" y="272"/>
                  </a:cubicBezTo>
                  <a:cubicBezTo>
                    <a:pt x="523" y="274"/>
                    <a:pt x="527" y="272"/>
                    <a:pt x="531" y="269"/>
                  </a:cubicBezTo>
                  <a:cubicBezTo>
                    <a:pt x="534" y="266"/>
                    <a:pt x="537" y="262"/>
                    <a:pt x="540" y="259"/>
                  </a:cubicBezTo>
                  <a:cubicBezTo>
                    <a:pt x="543" y="255"/>
                    <a:pt x="546" y="251"/>
                    <a:pt x="549" y="247"/>
                  </a:cubicBezTo>
                  <a:cubicBezTo>
                    <a:pt x="554" y="240"/>
                    <a:pt x="559" y="235"/>
                    <a:pt x="558" y="226"/>
                  </a:cubicBezTo>
                  <a:cubicBezTo>
                    <a:pt x="558" y="222"/>
                    <a:pt x="559" y="220"/>
                    <a:pt x="561" y="217"/>
                  </a:cubicBezTo>
                  <a:cubicBezTo>
                    <a:pt x="562" y="215"/>
                    <a:pt x="562" y="214"/>
                    <a:pt x="563" y="212"/>
                  </a:cubicBezTo>
                  <a:cubicBezTo>
                    <a:pt x="563" y="212"/>
                    <a:pt x="563" y="211"/>
                    <a:pt x="563" y="210"/>
                  </a:cubicBezTo>
                  <a:cubicBezTo>
                    <a:pt x="563" y="209"/>
                    <a:pt x="561" y="208"/>
                    <a:pt x="561" y="207"/>
                  </a:cubicBezTo>
                  <a:cubicBezTo>
                    <a:pt x="561" y="207"/>
                    <a:pt x="563" y="208"/>
                    <a:pt x="563" y="207"/>
                  </a:cubicBezTo>
                  <a:cubicBezTo>
                    <a:pt x="562" y="206"/>
                    <a:pt x="562" y="205"/>
                    <a:pt x="561" y="205"/>
                  </a:cubicBezTo>
                  <a:cubicBezTo>
                    <a:pt x="560" y="204"/>
                    <a:pt x="558" y="201"/>
                    <a:pt x="557" y="200"/>
                  </a:cubicBezTo>
                  <a:cubicBezTo>
                    <a:pt x="556" y="200"/>
                    <a:pt x="551" y="198"/>
                    <a:pt x="550" y="199"/>
                  </a:cubicBezTo>
                  <a:cubicBezTo>
                    <a:pt x="550" y="200"/>
                    <a:pt x="551" y="201"/>
                    <a:pt x="550" y="201"/>
                  </a:cubicBezTo>
                  <a:cubicBezTo>
                    <a:pt x="548" y="201"/>
                    <a:pt x="548" y="203"/>
                    <a:pt x="547" y="203"/>
                  </a:cubicBezTo>
                  <a:cubicBezTo>
                    <a:pt x="545" y="205"/>
                    <a:pt x="544" y="202"/>
                    <a:pt x="544" y="201"/>
                  </a:cubicBezTo>
                  <a:cubicBezTo>
                    <a:pt x="544" y="199"/>
                    <a:pt x="546" y="198"/>
                    <a:pt x="543" y="199"/>
                  </a:cubicBezTo>
                  <a:cubicBezTo>
                    <a:pt x="540" y="200"/>
                    <a:pt x="544" y="202"/>
                    <a:pt x="540" y="202"/>
                  </a:cubicBezTo>
                  <a:cubicBezTo>
                    <a:pt x="539" y="202"/>
                    <a:pt x="541" y="197"/>
                    <a:pt x="540" y="196"/>
                  </a:cubicBezTo>
                  <a:cubicBezTo>
                    <a:pt x="540" y="197"/>
                    <a:pt x="529" y="197"/>
                    <a:pt x="534" y="194"/>
                  </a:cubicBezTo>
                  <a:cubicBezTo>
                    <a:pt x="538" y="191"/>
                    <a:pt x="542" y="188"/>
                    <a:pt x="546" y="185"/>
                  </a:cubicBezTo>
                  <a:cubicBezTo>
                    <a:pt x="547" y="184"/>
                    <a:pt x="548" y="182"/>
                    <a:pt x="549" y="181"/>
                  </a:cubicBezTo>
                  <a:cubicBezTo>
                    <a:pt x="552" y="179"/>
                    <a:pt x="555" y="177"/>
                    <a:pt x="557" y="175"/>
                  </a:cubicBezTo>
                  <a:cubicBezTo>
                    <a:pt x="558" y="174"/>
                    <a:pt x="559" y="172"/>
                    <a:pt x="561" y="171"/>
                  </a:cubicBezTo>
                  <a:cubicBezTo>
                    <a:pt x="563" y="169"/>
                    <a:pt x="565" y="167"/>
                    <a:pt x="567" y="165"/>
                  </a:cubicBezTo>
                  <a:cubicBezTo>
                    <a:pt x="571" y="162"/>
                    <a:pt x="577" y="162"/>
                    <a:pt x="582" y="162"/>
                  </a:cubicBezTo>
                  <a:cubicBezTo>
                    <a:pt x="583" y="162"/>
                    <a:pt x="584" y="162"/>
                    <a:pt x="585" y="162"/>
                  </a:cubicBezTo>
                  <a:cubicBezTo>
                    <a:pt x="586" y="163"/>
                    <a:pt x="586" y="164"/>
                    <a:pt x="587" y="164"/>
                  </a:cubicBezTo>
                  <a:cubicBezTo>
                    <a:pt x="588" y="163"/>
                    <a:pt x="590" y="163"/>
                    <a:pt x="591" y="162"/>
                  </a:cubicBezTo>
                  <a:cubicBezTo>
                    <a:pt x="592" y="162"/>
                    <a:pt x="593" y="163"/>
                    <a:pt x="594" y="163"/>
                  </a:cubicBezTo>
                  <a:cubicBezTo>
                    <a:pt x="595" y="163"/>
                    <a:pt x="596" y="163"/>
                    <a:pt x="597" y="163"/>
                  </a:cubicBezTo>
                  <a:cubicBezTo>
                    <a:pt x="597" y="162"/>
                    <a:pt x="598" y="163"/>
                    <a:pt x="599" y="163"/>
                  </a:cubicBezTo>
                  <a:cubicBezTo>
                    <a:pt x="601" y="163"/>
                    <a:pt x="601" y="160"/>
                    <a:pt x="604" y="160"/>
                  </a:cubicBezTo>
                  <a:cubicBezTo>
                    <a:pt x="605" y="160"/>
                    <a:pt x="607" y="160"/>
                    <a:pt x="608" y="160"/>
                  </a:cubicBezTo>
                  <a:cubicBezTo>
                    <a:pt x="609" y="161"/>
                    <a:pt x="610" y="162"/>
                    <a:pt x="611" y="162"/>
                  </a:cubicBezTo>
                  <a:cubicBezTo>
                    <a:pt x="612" y="163"/>
                    <a:pt x="616" y="161"/>
                    <a:pt x="616" y="164"/>
                  </a:cubicBezTo>
                  <a:cubicBezTo>
                    <a:pt x="616" y="164"/>
                    <a:pt x="613" y="164"/>
                    <a:pt x="613" y="165"/>
                  </a:cubicBezTo>
                  <a:cubicBezTo>
                    <a:pt x="612" y="167"/>
                    <a:pt x="616" y="166"/>
                    <a:pt x="616" y="166"/>
                  </a:cubicBezTo>
                  <a:cubicBezTo>
                    <a:pt x="618" y="166"/>
                    <a:pt x="620" y="166"/>
                    <a:pt x="621" y="166"/>
                  </a:cubicBezTo>
                  <a:cubicBezTo>
                    <a:pt x="622" y="165"/>
                    <a:pt x="622" y="165"/>
                    <a:pt x="623" y="164"/>
                  </a:cubicBezTo>
                  <a:cubicBezTo>
                    <a:pt x="624" y="164"/>
                    <a:pt x="625" y="165"/>
                    <a:pt x="627" y="165"/>
                  </a:cubicBezTo>
                  <a:cubicBezTo>
                    <a:pt x="628" y="165"/>
                    <a:pt x="635" y="163"/>
                    <a:pt x="631" y="162"/>
                  </a:cubicBezTo>
                  <a:cubicBezTo>
                    <a:pt x="629" y="162"/>
                    <a:pt x="628" y="163"/>
                    <a:pt x="628" y="160"/>
                  </a:cubicBezTo>
                  <a:cubicBezTo>
                    <a:pt x="628" y="159"/>
                    <a:pt x="630" y="156"/>
                    <a:pt x="631" y="155"/>
                  </a:cubicBezTo>
                  <a:cubicBezTo>
                    <a:pt x="633" y="154"/>
                    <a:pt x="634" y="153"/>
                    <a:pt x="636" y="151"/>
                  </a:cubicBezTo>
                  <a:cubicBezTo>
                    <a:pt x="637" y="150"/>
                    <a:pt x="639" y="150"/>
                    <a:pt x="640" y="148"/>
                  </a:cubicBezTo>
                  <a:cubicBezTo>
                    <a:pt x="641" y="146"/>
                    <a:pt x="642" y="145"/>
                    <a:pt x="644" y="145"/>
                  </a:cubicBezTo>
                  <a:cubicBezTo>
                    <a:pt x="646" y="145"/>
                    <a:pt x="649" y="144"/>
                    <a:pt x="651" y="144"/>
                  </a:cubicBezTo>
                  <a:cubicBezTo>
                    <a:pt x="653" y="144"/>
                    <a:pt x="654" y="146"/>
                    <a:pt x="655" y="146"/>
                  </a:cubicBezTo>
                  <a:cubicBezTo>
                    <a:pt x="656" y="145"/>
                    <a:pt x="657" y="143"/>
                    <a:pt x="658" y="144"/>
                  </a:cubicBezTo>
                  <a:cubicBezTo>
                    <a:pt x="659" y="145"/>
                    <a:pt x="656" y="148"/>
                    <a:pt x="656" y="149"/>
                  </a:cubicBezTo>
                  <a:cubicBezTo>
                    <a:pt x="656" y="151"/>
                    <a:pt x="657" y="149"/>
                    <a:pt x="659" y="150"/>
                  </a:cubicBezTo>
                  <a:cubicBezTo>
                    <a:pt x="659" y="150"/>
                    <a:pt x="657" y="152"/>
                    <a:pt x="657" y="153"/>
                  </a:cubicBezTo>
                  <a:cubicBezTo>
                    <a:pt x="657" y="154"/>
                    <a:pt x="664" y="149"/>
                    <a:pt x="664" y="149"/>
                  </a:cubicBezTo>
                  <a:cubicBezTo>
                    <a:pt x="665" y="148"/>
                    <a:pt x="666" y="147"/>
                    <a:pt x="668" y="146"/>
                  </a:cubicBezTo>
                  <a:cubicBezTo>
                    <a:pt x="669" y="145"/>
                    <a:pt x="672" y="147"/>
                    <a:pt x="672" y="145"/>
                  </a:cubicBezTo>
                  <a:cubicBezTo>
                    <a:pt x="671" y="143"/>
                    <a:pt x="672" y="139"/>
                    <a:pt x="675" y="139"/>
                  </a:cubicBezTo>
                  <a:cubicBezTo>
                    <a:pt x="676" y="138"/>
                    <a:pt x="678" y="137"/>
                    <a:pt x="679" y="138"/>
                  </a:cubicBezTo>
                  <a:cubicBezTo>
                    <a:pt x="680" y="138"/>
                    <a:pt x="682" y="140"/>
                    <a:pt x="683" y="139"/>
                  </a:cubicBezTo>
                  <a:cubicBezTo>
                    <a:pt x="681" y="140"/>
                    <a:pt x="678" y="139"/>
                    <a:pt x="677" y="142"/>
                  </a:cubicBezTo>
                  <a:cubicBezTo>
                    <a:pt x="677" y="143"/>
                    <a:pt x="677" y="144"/>
                    <a:pt x="677" y="145"/>
                  </a:cubicBezTo>
                  <a:cubicBezTo>
                    <a:pt x="677" y="146"/>
                    <a:pt x="675" y="146"/>
                    <a:pt x="676" y="147"/>
                  </a:cubicBezTo>
                  <a:cubicBezTo>
                    <a:pt x="676" y="148"/>
                    <a:pt x="677" y="148"/>
                    <a:pt x="676" y="149"/>
                  </a:cubicBezTo>
                  <a:cubicBezTo>
                    <a:pt x="675" y="149"/>
                    <a:pt x="674" y="150"/>
                    <a:pt x="675" y="151"/>
                  </a:cubicBezTo>
                  <a:cubicBezTo>
                    <a:pt x="675" y="151"/>
                    <a:pt x="669" y="153"/>
                    <a:pt x="669" y="154"/>
                  </a:cubicBezTo>
                  <a:cubicBezTo>
                    <a:pt x="667" y="155"/>
                    <a:pt x="666" y="157"/>
                    <a:pt x="664" y="158"/>
                  </a:cubicBezTo>
                  <a:cubicBezTo>
                    <a:pt x="662" y="160"/>
                    <a:pt x="660" y="161"/>
                    <a:pt x="658" y="163"/>
                  </a:cubicBezTo>
                  <a:cubicBezTo>
                    <a:pt x="654" y="166"/>
                    <a:pt x="651" y="173"/>
                    <a:pt x="646" y="173"/>
                  </a:cubicBezTo>
                  <a:cubicBezTo>
                    <a:pt x="645" y="173"/>
                    <a:pt x="641" y="174"/>
                    <a:pt x="641" y="175"/>
                  </a:cubicBezTo>
                  <a:cubicBezTo>
                    <a:pt x="641" y="178"/>
                    <a:pt x="641" y="179"/>
                    <a:pt x="638" y="181"/>
                  </a:cubicBezTo>
                  <a:cubicBezTo>
                    <a:pt x="634" y="184"/>
                    <a:pt x="634" y="190"/>
                    <a:pt x="635" y="195"/>
                  </a:cubicBezTo>
                  <a:cubicBezTo>
                    <a:pt x="636" y="200"/>
                    <a:pt x="635" y="206"/>
                    <a:pt x="638" y="210"/>
                  </a:cubicBezTo>
                  <a:cubicBezTo>
                    <a:pt x="639" y="212"/>
                    <a:pt x="639" y="215"/>
                    <a:pt x="639" y="217"/>
                  </a:cubicBezTo>
                  <a:cubicBezTo>
                    <a:pt x="639" y="217"/>
                    <a:pt x="639" y="219"/>
                    <a:pt x="640" y="219"/>
                  </a:cubicBezTo>
                  <a:cubicBezTo>
                    <a:pt x="641" y="219"/>
                    <a:pt x="639" y="222"/>
                    <a:pt x="640" y="222"/>
                  </a:cubicBezTo>
                  <a:cubicBezTo>
                    <a:pt x="640" y="222"/>
                    <a:pt x="645" y="218"/>
                    <a:pt x="645" y="217"/>
                  </a:cubicBezTo>
                  <a:cubicBezTo>
                    <a:pt x="647" y="215"/>
                    <a:pt x="648" y="213"/>
                    <a:pt x="649" y="210"/>
                  </a:cubicBezTo>
                  <a:cubicBezTo>
                    <a:pt x="650" y="208"/>
                    <a:pt x="654" y="206"/>
                    <a:pt x="655" y="206"/>
                  </a:cubicBezTo>
                  <a:cubicBezTo>
                    <a:pt x="658" y="208"/>
                    <a:pt x="655" y="202"/>
                    <a:pt x="656" y="201"/>
                  </a:cubicBezTo>
                  <a:cubicBezTo>
                    <a:pt x="658" y="198"/>
                    <a:pt x="659" y="197"/>
                    <a:pt x="662" y="197"/>
                  </a:cubicBezTo>
                  <a:cubicBezTo>
                    <a:pt x="665" y="197"/>
                    <a:pt x="669" y="197"/>
                    <a:pt x="667" y="194"/>
                  </a:cubicBezTo>
                  <a:cubicBezTo>
                    <a:pt x="664" y="191"/>
                    <a:pt x="666" y="188"/>
                    <a:pt x="669" y="186"/>
                  </a:cubicBezTo>
                  <a:cubicBezTo>
                    <a:pt x="670" y="185"/>
                    <a:pt x="670" y="187"/>
                    <a:pt x="671" y="187"/>
                  </a:cubicBezTo>
                  <a:cubicBezTo>
                    <a:pt x="673" y="187"/>
                    <a:pt x="673" y="184"/>
                    <a:pt x="673" y="183"/>
                  </a:cubicBezTo>
                  <a:cubicBezTo>
                    <a:pt x="671" y="181"/>
                    <a:pt x="669" y="180"/>
                    <a:pt x="671" y="177"/>
                  </a:cubicBezTo>
                  <a:cubicBezTo>
                    <a:pt x="671" y="177"/>
                    <a:pt x="674" y="176"/>
                    <a:pt x="673" y="175"/>
                  </a:cubicBezTo>
                  <a:cubicBezTo>
                    <a:pt x="672" y="175"/>
                    <a:pt x="671" y="173"/>
                    <a:pt x="670" y="173"/>
                  </a:cubicBezTo>
                  <a:cubicBezTo>
                    <a:pt x="669" y="173"/>
                    <a:pt x="670" y="174"/>
                    <a:pt x="669" y="174"/>
                  </a:cubicBezTo>
                  <a:cubicBezTo>
                    <a:pt x="667" y="174"/>
                    <a:pt x="666" y="173"/>
                    <a:pt x="667" y="171"/>
                  </a:cubicBezTo>
                  <a:cubicBezTo>
                    <a:pt x="668" y="169"/>
                    <a:pt x="670" y="168"/>
                    <a:pt x="672" y="165"/>
                  </a:cubicBezTo>
                  <a:cubicBezTo>
                    <a:pt x="673" y="163"/>
                    <a:pt x="673" y="160"/>
                    <a:pt x="676" y="158"/>
                  </a:cubicBezTo>
                  <a:cubicBezTo>
                    <a:pt x="677" y="157"/>
                    <a:pt x="677" y="159"/>
                    <a:pt x="677" y="159"/>
                  </a:cubicBezTo>
                  <a:cubicBezTo>
                    <a:pt x="679" y="159"/>
                    <a:pt x="679" y="157"/>
                    <a:pt x="680" y="158"/>
                  </a:cubicBezTo>
                  <a:cubicBezTo>
                    <a:pt x="681" y="158"/>
                    <a:pt x="681" y="159"/>
                    <a:pt x="682" y="158"/>
                  </a:cubicBezTo>
                  <a:cubicBezTo>
                    <a:pt x="684" y="157"/>
                    <a:pt x="685" y="156"/>
                    <a:pt x="687" y="155"/>
                  </a:cubicBezTo>
                  <a:cubicBezTo>
                    <a:pt x="690" y="154"/>
                    <a:pt x="686" y="158"/>
                    <a:pt x="688" y="159"/>
                  </a:cubicBezTo>
                  <a:cubicBezTo>
                    <a:pt x="688" y="160"/>
                    <a:pt x="692" y="156"/>
                    <a:pt x="693" y="156"/>
                  </a:cubicBezTo>
                  <a:cubicBezTo>
                    <a:pt x="695" y="155"/>
                    <a:pt x="697" y="154"/>
                    <a:pt x="700" y="154"/>
                  </a:cubicBezTo>
                  <a:cubicBezTo>
                    <a:pt x="702" y="154"/>
                    <a:pt x="704" y="154"/>
                    <a:pt x="705" y="156"/>
                  </a:cubicBezTo>
                  <a:cubicBezTo>
                    <a:pt x="706" y="156"/>
                    <a:pt x="707" y="157"/>
                    <a:pt x="708" y="158"/>
                  </a:cubicBezTo>
                  <a:cubicBezTo>
                    <a:pt x="709" y="159"/>
                    <a:pt x="709" y="156"/>
                    <a:pt x="710" y="156"/>
                  </a:cubicBezTo>
                  <a:cubicBezTo>
                    <a:pt x="718" y="149"/>
                    <a:pt x="727" y="146"/>
                    <a:pt x="736" y="142"/>
                  </a:cubicBezTo>
                  <a:cubicBezTo>
                    <a:pt x="738" y="141"/>
                    <a:pt x="741" y="140"/>
                    <a:pt x="742" y="138"/>
                  </a:cubicBezTo>
                  <a:cubicBezTo>
                    <a:pt x="743" y="136"/>
                    <a:pt x="743" y="139"/>
                    <a:pt x="745" y="139"/>
                  </a:cubicBezTo>
                  <a:cubicBezTo>
                    <a:pt x="746" y="139"/>
                    <a:pt x="748" y="139"/>
                    <a:pt x="749" y="139"/>
                  </a:cubicBezTo>
                  <a:cubicBezTo>
                    <a:pt x="750" y="140"/>
                    <a:pt x="751" y="141"/>
                    <a:pt x="752" y="141"/>
                  </a:cubicBezTo>
                  <a:cubicBezTo>
                    <a:pt x="755" y="141"/>
                    <a:pt x="755" y="137"/>
                    <a:pt x="754" y="135"/>
                  </a:cubicBezTo>
                  <a:cubicBezTo>
                    <a:pt x="754" y="134"/>
                    <a:pt x="750" y="132"/>
                    <a:pt x="751" y="131"/>
                  </a:cubicBezTo>
                  <a:cubicBezTo>
                    <a:pt x="751" y="130"/>
                    <a:pt x="749" y="125"/>
                    <a:pt x="748" y="126"/>
                  </a:cubicBezTo>
                  <a:cubicBezTo>
                    <a:pt x="748" y="127"/>
                    <a:pt x="746" y="125"/>
                    <a:pt x="745" y="125"/>
                  </a:cubicBezTo>
                  <a:cubicBezTo>
                    <a:pt x="744" y="124"/>
                    <a:pt x="745" y="123"/>
                    <a:pt x="744" y="122"/>
                  </a:cubicBezTo>
                  <a:cubicBezTo>
                    <a:pt x="744" y="121"/>
                    <a:pt x="741" y="122"/>
                    <a:pt x="741" y="122"/>
                  </a:cubicBezTo>
                  <a:cubicBezTo>
                    <a:pt x="740" y="123"/>
                    <a:pt x="737" y="122"/>
                    <a:pt x="738" y="121"/>
                  </a:cubicBezTo>
                  <a:cubicBezTo>
                    <a:pt x="738" y="120"/>
                    <a:pt x="741" y="121"/>
                    <a:pt x="742" y="121"/>
                  </a:cubicBezTo>
                  <a:cubicBezTo>
                    <a:pt x="742" y="120"/>
                    <a:pt x="739" y="120"/>
                    <a:pt x="739" y="120"/>
                  </a:cubicBezTo>
                  <a:cubicBezTo>
                    <a:pt x="739" y="117"/>
                    <a:pt x="747" y="122"/>
                    <a:pt x="748" y="122"/>
                  </a:cubicBezTo>
                  <a:cubicBezTo>
                    <a:pt x="750" y="123"/>
                    <a:pt x="756" y="121"/>
                    <a:pt x="758" y="119"/>
                  </a:cubicBezTo>
                  <a:cubicBezTo>
                    <a:pt x="759" y="118"/>
                    <a:pt x="757" y="118"/>
                    <a:pt x="757" y="117"/>
                  </a:cubicBezTo>
                  <a:cubicBezTo>
                    <a:pt x="757" y="117"/>
                    <a:pt x="761" y="117"/>
                    <a:pt x="761" y="115"/>
                  </a:cubicBezTo>
                  <a:cubicBezTo>
                    <a:pt x="760" y="114"/>
                    <a:pt x="758" y="113"/>
                    <a:pt x="759" y="112"/>
                  </a:cubicBezTo>
                  <a:cubicBezTo>
                    <a:pt x="759" y="111"/>
                    <a:pt x="761" y="109"/>
                    <a:pt x="761" y="109"/>
                  </a:cubicBezTo>
                  <a:cubicBezTo>
                    <a:pt x="762" y="109"/>
                    <a:pt x="766" y="110"/>
                    <a:pt x="766" y="109"/>
                  </a:cubicBezTo>
                  <a:cubicBezTo>
                    <a:pt x="765" y="110"/>
                    <a:pt x="762" y="111"/>
                    <a:pt x="763" y="112"/>
                  </a:cubicBezTo>
                  <a:cubicBezTo>
                    <a:pt x="764" y="113"/>
                    <a:pt x="765" y="114"/>
                    <a:pt x="765" y="114"/>
                  </a:cubicBezTo>
                  <a:cubicBezTo>
                    <a:pt x="765" y="115"/>
                    <a:pt x="764" y="116"/>
                    <a:pt x="765" y="116"/>
                  </a:cubicBezTo>
                  <a:cubicBezTo>
                    <a:pt x="767" y="116"/>
                    <a:pt x="769" y="115"/>
                    <a:pt x="771" y="115"/>
                  </a:cubicBezTo>
                  <a:cubicBezTo>
                    <a:pt x="773" y="115"/>
                    <a:pt x="775" y="115"/>
                    <a:pt x="777" y="116"/>
                  </a:cubicBezTo>
                  <a:cubicBezTo>
                    <a:pt x="778" y="117"/>
                    <a:pt x="778" y="117"/>
                    <a:pt x="778" y="119"/>
                  </a:cubicBezTo>
                  <a:cubicBezTo>
                    <a:pt x="778" y="120"/>
                    <a:pt x="782" y="121"/>
                    <a:pt x="783" y="121"/>
                  </a:cubicBezTo>
                  <a:cubicBezTo>
                    <a:pt x="784" y="122"/>
                    <a:pt x="790" y="126"/>
                    <a:pt x="791" y="124"/>
                  </a:cubicBezTo>
                  <a:cubicBezTo>
                    <a:pt x="790" y="127"/>
                    <a:pt x="796" y="124"/>
                    <a:pt x="796" y="124"/>
                  </a:cubicBezTo>
                  <a:cubicBezTo>
                    <a:pt x="796" y="123"/>
                    <a:pt x="792" y="123"/>
                    <a:pt x="793" y="122"/>
                  </a:cubicBezTo>
                  <a:cubicBezTo>
                    <a:pt x="793" y="120"/>
                    <a:pt x="796" y="122"/>
                    <a:pt x="796" y="122"/>
                  </a:cubicBezTo>
                  <a:cubicBezTo>
                    <a:pt x="796" y="120"/>
                    <a:pt x="795" y="122"/>
                    <a:pt x="796" y="119"/>
                  </a:cubicBezTo>
                  <a:cubicBezTo>
                    <a:pt x="796" y="118"/>
                    <a:pt x="796" y="117"/>
                    <a:pt x="796" y="116"/>
                  </a:cubicBezTo>
                  <a:cubicBezTo>
                    <a:pt x="795" y="115"/>
                    <a:pt x="794" y="115"/>
                    <a:pt x="794" y="114"/>
                  </a:cubicBezTo>
                  <a:cubicBezTo>
                    <a:pt x="794" y="114"/>
                    <a:pt x="801" y="116"/>
                    <a:pt x="802" y="115"/>
                  </a:cubicBezTo>
                  <a:cubicBezTo>
                    <a:pt x="802" y="115"/>
                    <a:pt x="801" y="114"/>
                    <a:pt x="800" y="114"/>
                  </a:cubicBezTo>
                  <a:cubicBezTo>
                    <a:pt x="801" y="114"/>
                    <a:pt x="804" y="115"/>
                    <a:pt x="805" y="114"/>
                  </a:cubicBezTo>
                  <a:cubicBezTo>
                    <a:pt x="805" y="113"/>
                    <a:pt x="805" y="112"/>
                    <a:pt x="806" y="111"/>
                  </a:cubicBezTo>
                  <a:cubicBezTo>
                    <a:pt x="806" y="111"/>
                    <a:pt x="809" y="111"/>
                    <a:pt x="809" y="111"/>
                  </a:cubicBezTo>
                  <a:cubicBezTo>
                    <a:pt x="809" y="111"/>
                    <a:pt x="808" y="111"/>
                    <a:pt x="808" y="111"/>
                  </a:cubicBezTo>
                  <a:cubicBezTo>
                    <a:pt x="807" y="110"/>
                    <a:pt x="810" y="111"/>
                    <a:pt x="808" y="111"/>
                  </a:cubicBezTo>
                  <a:close/>
                  <a:moveTo>
                    <a:pt x="405" y="192"/>
                  </a:moveTo>
                  <a:cubicBezTo>
                    <a:pt x="404" y="195"/>
                    <a:pt x="404" y="198"/>
                    <a:pt x="403" y="201"/>
                  </a:cubicBezTo>
                  <a:cubicBezTo>
                    <a:pt x="402" y="203"/>
                    <a:pt x="399" y="202"/>
                    <a:pt x="399" y="204"/>
                  </a:cubicBezTo>
                  <a:cubicBezTo>
                    <a:pt x="399" y="204"/>
                    <a:pt x="401" y="204"/>
                    <a:pt x="402" y="204"/>
                  </a:cubicBezTo>
                  <a:cubicBezTo>
                    <a:pt x="402" y="204"/>
                    <a:pt x="393" y="210"/>
                    <a:pt x="392" y="210"/>
                  </a:cubicBezTo>
                  <a:cubicBezTo>
                    <a:pt x="391" y="211"/>
                    <a:pt x="390" y="212"/>
                    <a:pt x="388" y="212"/>
                  </a:cubicBezTo>
                  <a:cubicBezTo>
                    <a:pt x="387" y="213"/>
                    <a:pt x="386" y="215"/>
                    <a:pt x="385" y="216"/>
                  </a:cubicBezTo>
                  <a:cubicBezTo>
                    <a:pt x="384" y="217"/>
                    <a:pt x="377" y="219"/>
                    <a:pt x="376" y="217"/>
                  </a:cubicBezTo>
                  <a:cubicBezTo>
                    <a:pt x="376" y="216"/>
                    <a:pt x="383" y="214"/>
                    <a:pt x="384" y="213"/>
                  </a:cubicBezTo>
                  <a:cubicBezTo>
                    <a:pt x="387" y="211"/>
                    <a:pt x="390" y="208"/>
                    <a:pt x="393" y="206"/>
                  </a:cubicBezTo>
                  <a:cubicBezTo>
                    <a:pt x="395" y="205"/>
                    <a:pt x="395" y="202"/>
                    <a:pt x="397" y="201"/>
                  </a:cubicBezTo>
                  <a:cubicBezTo>
                    <a:pt x="399" y="198"/>
                    <a:pt x="401" y="195"/>
                    <a:pt x="402" y="192"/>
                  </a:cubicBezTo>
                  <a:cubicBezTo>
                    <a:pt x="402" y="190"/>
                    <a:pt x="402" y="190"/>
                    <a:pt x="404" y="189"/>
                  </a:cubicBezTo>
                  <a:cubicBezTo>
                    <a:pt x="406" y="188"/>
                    <a:pt x="405" y="191"/>
                    <a:pt x="405" y="192"/>
                  </a:cubicBezTo>
                  <a:cubicBezTo>
                    <a:pt x="404" y="193"/>
                    <a:pt x="405" y="190"/>
                    <a:pt x="405" y="19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2" name="Freeform 407">
              <a:extLst>
                <a:ext uri="{FF2B5EF4-FFF2-40B4-BE49-F238E27FC236}">
                  <a16:creationId xmlns:a16="http://schemas.microsoft.com/office/drawing/2014/main" id="{F5D0075F-FD8B-990E-A7C0-3164919B9FE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8706" y="1444318"/>
              <a:ext cx="168096" cy="88941"/>
            </a:xfrm>
            <a:custGeom>
              <a:avLst/>
              <a:gdLst>
                <a:gd name="T0" fmla="*/ 16 w 32"/>
                <a:gd name="T1" fmla="*/ 6 h 16"/>
                <a:gd name="T2" fmla="*/ 19 w 32"/>
                <a:gd name="T3" fmla="*/ 1 h 16"/>
                <a:gd name="T4" fmla="*/ 16 w 32"/>
                <a:gd name="T5" fmla="*/ 0 h 16"/>
                <a:gd name="T6" fmla="*/ 15 w 32"/>
                <a:gd name="T7" fmla="*/ 2 h 16"/>
                <a:gd name="T8" fmla="*/ 10 w 32"/>
                <a:gd name="T9" fmla="*/ 2 h 16"/>
                <a:gd name="T10" fmla="*/ 9 w 32"/>
                <a:gd name="T11" fmla="*/ 4 h 16"/>
                <a:gd name="T12" fmla="*/ 12 w 32"/>
                <a:gd name="T13" fmla="*/ 4 h 16"/>
                <a:gd name="T14" fmla="*/ 10 w 32"/>
                <a:gd name="T15" fmla="*/ 8 h 16"/>
                <a:gd name="T16" fmla="*/ 5 w 32"/>
                <a:gd name="T17" fmla="*/ 10 h 16"/>
                <a:gd name="T18" fmla="*/ 1 w 32"/>
                <a:gd name="T19" fmla="*/ 15 h 16"/>
                <a:gd name="T20" fmla="*/ 8 w 32"/>
                <a:gd name="T21" fmla="*/ 15 h 16"/>
                <a:gd name="T22" fmla="*/ 17 w 32"/>
                <a:gd name="T23" fmla="*/ 14 h 16"/>
                <a:gd name="T24" fmla="*/ 28 w 32"/>
                <a:gd name="T25" fmla="*/ 12 h 16"/>
                <a:gd name="T26" fmla="*/ 29 w 32"/>
                <a:gd name="T27" fmla="*/ 7 h 16"/>
                <a:gd name="T28" fmla="*/ 22 w 32"/>
                <a:gd name="T29" fmla="*/ 3 h 16"/>
                <a:gd name="T30" fmla="*/ 16 w 32"/>
                <a:gd name="T31" fmla="*/ 6 h 16"/>
                <a:gd name="T32" fmla="*/ 16 w 32"/>
                <a:gd name="T33" fmla="*/ 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16">
                  <a:moveTo>
                    <a:pt x="16" y="6"/>
                  </a:moveTo>
                  <a:cubicBezTo>
                    <a:pt x="16" y="6"/>
                    <a:pt x="19" y="2"/>
                    <a:pt x="19" y="1"/>
                  </a:cubicBezTo>
                  <a:cubicBezTo>
                    <a:pt x="18" y="0"/>
                    <a:pt x="17" y="0"/>
                    <a:pt x="16" y="0"/>
                  </a:cubicBezTo>
                  <a:cubicBezTo>
                    <a:pt x="15" y="0"/>
                    <a:pt x="15" y="2"/>
                    <a:pt x="15" y="2"/>
                  </a:cubicBezTo>
                  <a:cubicBezTo>
                    <a:pt x="13" y="2"/>
                    <a:pt x="12" y="0"/>
                    <a:pt x="10" y="2"/>
                  </a:cubicBezTo>
                  <a:cubicBezTo>
                    <a:pt x="10" y="2"/>
                    <a:pt x="8" y="3"/>
                    <a:pt x="9" y="4"/>
                  </a:cubicBezTo>
                  <a:cubicBezTo>
                    <a:pt x="10" y="4"/>
                    <a:pt x="11" y="5"/>
                    <a:pt x="12" y="4"/>
                  </a:cubicBezTo>
                  <a:cubicBezTo>
                    <a:pt x="10" y="5"/>
                    <a:pt x="5" y="6"/>
                    <a:pt x="10" y="8"/>
                  </a:cubicBezTo>
                  <a:cubicBezTo>
                    <a:pt x="7" y="7"/>
                    <a:pt x="6" y="8"/>
                    <a:pt x="5" y="10"/>
                  </a:cubicBezTo>
                  <a:cubicBezTo>
                    <a:pt x="4" y="11"/>
                    <a:pt x="0" y="15"/>
                    <a:pt x="1" y="15"/>
                  </a:cubicBezTo>
                  <a:cubicBezTo>
                    <a:pt x="3" y="16"/>
                    <a:pt x="6" y="16"/>
                    <a:pt x="8" y="15"/>
                  </a:cubicBezTo>
                  <a:cubicBezTo>
                    <a:pt x="11" y="13"/>
                    <a:pt x="14" y="13"/>
                    <a:pt x="17" y="14"/>
                  </a:cubicBezTo>
                  <a:cubicBezTo>
                    <a:pt x="21" y="14"/>
                    <a:pt x="24" y="13"/>
                    <a:pt x="28" y="12"/>
                  </a:cubicBezTo>
                  <a:cubicBezTo>
                    <a:pt x="30" y="11"/>
                    <a:pt x="32" y="8"/>
                    <a:pt x="29" y="7"/>
                  </a:cubicBezTo>
                  <a:cubicBezTo>
                    <a:pt x="27" y="6"/>
                    <a:pt x="24" y="2"/>
                    <a:pt x="22" y="3"/>
                  </a:cubicBezTo>
                  <a:cubicBezTo>
                    <a:pt x="20" y="3"/>
                    <a:pt x="18" y="6"/>
                    <a:pt x="16" y="6"/>
                  </a:cubicBezTo>
                  <a:cubicBezTo>
                    <a:pt x="15" y="6"/>
                    <a:pt x="17" y="6"/>
                    <a:pt x="16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3" name="Freeform 408">
              <a:extLst>
                <a:ext uri="{FF2B5EF4-FFF2-40B4-BE49-F238E27FC236}">
                  <a16:creationId xmlns:a16="http://schemas.microsoft.com/office/drawing/2014/main" id="{F118A725-A7E7-7572-82D4-9D3CBDF98DF8}"/>
                </a:ext>
              </a:extLst>
            </p:cNvPr>
            <p:cNvSpPr>
              <a:spLocks/>
            </p:cNvSpPr>
            <p:nvPr/>
          </p:nvSpPr>
          <p:spPr bwMode="auto">
            <a:xfrm>
              <a:off x="8242799" y="1393224"/>
              <a:ext cx="157367" cy="88941"/>
            </a:xfrm>
            <a:custGeom>
              <a:avLst/>
              <a:gdLst>
                <a:gd name="T0" fmla="*/ 26 w 30"/>
                <a:gd name="T1" fmla="*/ 10 h 16"/>
                <a:gd name="T2" fmla="*/ 28 w 30"/>
                <a:gd name="T3" fmla="*/ 7 h 16"/>
                <a:gd name="T4" fmla="*/ 29 w 30"/>
                <a:gd name="T5" fmla="*/ 5 h 16"/>
                <a:gd name="T6" fmla="*/ 26 w 30"/>
                <a:gd name="T7" fmla="*/ 3 h 16"/>
                <a:gd name="T8" fmla="*/ 22 w 30"/>
                <a:gd name="T9" fmla="*/ 3 h 16"/>
                <a:gd name="T10" fmla="*/ 17 w 30"/>
                <a:gd name="T11" fmla="*/ 4 h 16"/>
                <a:gd name="T12" fmla="*/ 18 w 30"/>
                <a:gd name="T13" fmla="*/ 1 h 16"/>
                <a:gd name="T14" fmla="*/ 12 w 30"/>
                <a:gd name="T15" fmla="*/ 1 h 16"/>
                <a:gd name="T16" fmla="*/ 5 w 30"/>
                <a:gd name="T17" fmla="*/ 4 h 16"/>
                <a:gd name="T18" fmla="*/ 7 w 30"/>
                <a:gd name="T19" fmla="*/ 4 h 16"/>
                <a:gd name="T20" fmla="*/ 0 w 30"/>
                <a:gd name="T21" fmla="*/ 8 h 16"/>
                <a:gd name="T22" fmla="*/ 4 w 30"/>
                <a:gd name="T23" fmla="*/ 9 h 16"/>
                <a:gd name="T24" fmla="*/ 7 w 30"/>
                <a:gd name="T25" fmla="*/ 12 h 16"/>
                <a:gd name="T26" fmla="*/ 12 w 30"/>
                <a:gd name="T27" fmla="*/ 13 h 16"/>
                <a:gd name="T28" fmla="*/ 19 w 30"/>
                <a:gd name="T29" fmla="*/ 16 h 16"/>
                <a:gd name="T30" fmla="*/ 28 w 30"/>
                <a:gd name="T31" fmla="*/ 15 h 16"/>
                <a:gd name="T32" fmla="*/ 26 w 30"/>
                <a:gd name="T33" fmla="*/ 10 h 16"/>
                <a:gd name="T34" fmla="*/ 26 w 30"/>
                <a:gd name="T35" fmla="*/ 1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0" h="16">
                  <a:moveTo>
                    <a:pt x="26" y="10"/>
                  </a:moveTo>
                  <a:cubicBezTo>
                    <a:pt x="29" y="11"/>
                    <a:pt x="27" y="9"/>
                    <a:pt x="28" y="7"/>
                  </a:cubicBezTo>
                  <a:cubicBezTo>
                    <a:pt x="28" y="6"/>
                    <a:pt x="29" y="6"/>
                    <a:pt x="29" y="5"/>
                  </a:cubicBezTo>
                  <a:cubicBezTo>
                    <a:pt x="29" y="4"/>
                    <a:pt x="27" y="3"/>
                    <a:pt x="26" y="3"/>
                  </a:cubicBezTo>
                  <a:cubicBezTo>
                    <a:pt x="25" y="2"/>
                    <a:pt x="23" y="2"/>
                    <a:pt x="22" y="3"/>
                  </a:cubicBezTo>
                  <a:cubicBezTo>
                    <a:pt x="22" y="3"/>
                    <a:pt x="17" y="4"/>
                    <a:pt x="17" y="4"/>
                  </a:cubicBezTo>
                  <a:cubicBezTo>
                    <a:pt x="17" y="4"/>
                    <a:pt x="21" y="2"/>
                    <a:pt x="18" y="1"/>
                  </a:cubicBezTo>
                  <a:cubicBezTo>
                    <a:pt x="16" y="0"/>
                    <a:pt x="14" y="1"/>
                    <a:pt x="12" y="1"/>
                  </a:cubicBezTo>
                  <a:cubicBezTo>
                    <a:pt x="11" y="1"/>
                    <a:pt x="6" y="2"/>
                    <a:pt x="5" y="4"/>
                  </a:cubicBezTo>
                  <a:cubicBezTo>
                    <a:pt x="5" y="4"/>
                    <a:pt x="7" y="4"/>
                    <a:pt x="7" y="4"/>
                  </a:cubicBezTo>
                  <a:cubicBezTo>
                    <a:pt x="7" y="4"/>
                    <a:pt x="0" y="7"/>
                    <a:pt x="0" y="8"/>
                  </a:cubicBezTo>
                  <a:cubicBezTo>
                    <a:pt x="0" y="8"/>
                    <a:pt x="4" y="9"/>
                    <a:pt x="4" y="9"/>
                  </a:cubicBezTo>
                  <a:cubicBezTo>
                    <a:pt x="5" y="9"/>
                    <a:pt x="6" y="11"/>
                    <a:pt x="7" y="12"/>
                  </a:cubicBezTo>
                  <a:cubicBezTo>
                    <a:pt x="9" y="13"/>
                    <a:pt x="10" y="13"/>
                    <a:pt x="12" y="13"/>
                  </a:cubicBezTo>
                  <a:cubicBezTo>
                    <a:pt x="14" y="14"/>
                    <a:pt x="17" y="16"/>
                    <a:pt x="19" y="16"/>
                  </a:cubicBezTo>
                  <a:cubicBezTo>
                    <a:pt x="22" y="16"/>
                    <a:pt x="25" y="16"/>
                    <a:pt x="28" y="15"/>
                  </a:cubicBezTo>
                  <a:cubicBezTo>
                    <a:pt x="30" y="15"/>
                    <a:pt x="26" y="10"/>
                    <a:pt x="26" y="10"/>
                  </a:cubicBezTo>
                  <a:cubicBezTo>
                    <a:pt x="27" y="10"/>
                    <a:pt x="25" y="10"/>
                    <a:pt x="26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4" name="Freeform 409">
              <a:extLst>
                <a:ext uri="{FF2B5EF4-FFF2-40B4-BE49-F238E27FC236}">
                  <a16:creationId xmlns:a16="http://schemas.microsoft.com/office/drawing/2014/main" id="{6A55C7D0-4ECE-1AD6-4031-8E99222E90E7}"/>
                </a:ext>
              </a:extLst>
            </p:cNvPr>
            <p:cNvSpPr>
              <a:spLocks/>
            </p:cNvSpPr>
            <p:nvPr/>
          </p:nvSpPr>
          <p:spPr bwMode="auto">
            <a:xfrm>
              <a:off x="8196304" y="1398900"/>
              <a:ext cx="78683" cy="28387"/>
            </a:xfrm>
            <a:custGeom>
              <a:avLst/>
              <a:gdLst>
                <a:gd name="T0" fmla="*/ 9 w 15"/>
                <a:gd name="T1" fmla="*/ 1 h 5"/>
                <a:gd name="T2" fmla="*/ 4 w 15"/>
                <a:gd name="T3" fmla="*/ 1 h 5"/>
                <a:gd name="T4" fmla="*/ 0 w 15"/>
                <a:gd name="T5" fmla="*/ 1 h 5"/>
                <a:gd name="T6" fmla="*/ 1 w 15"/>
                <a:gd name="T7" fmla="*/ 3 h 5"/>
                <a:gd name="T8" fmla="*/ 6 w 15"/>
                <a:gd name="T9" fmla="*/ 5 h 5"/>
                <a:gd name="T10" fmla="*/ 9 w 15"/>
                <a:gd name="T11" fmla="*/ 1 h 5"/>
                <a:gd name="T12" fmla="*/ 9 w 15"/>
                <a:gd name="T13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5">
                  <a:moveTo>
                    <a:pt x="9" y="1"/>
                  </a:moveTo>
                  <a:cubicBezTo>
                    <a:pt x="8" y="1"/>
                    <a:pt x="6" y="1"/>
                    <a:pt x="4" y="1"/>
                  </a:cubicBezTo>
                  <a:cubicBezTo>
                    <a:pt x="3" y="1"/>
                    <a:pt x="1" y="0"/>
                    <a:pt x="0" y="1"/>
                  </a:cubicBezTo>
                  <a:cubicBezTo>
                    <a:pt x="0" y="1"/>
                    <a:pt x="0" y="3"/>
                    <a:pt x="1" y="3"/>
                  </a:cubicBezTo>
                  <a:cubicBezTo>
                    <a:pt x="3" y="4"/>
                    <a:pt x="4" y="5"/>
                    <a:pt x="6" y="5"/>
                  </a:cubicBezTo>
                  <a:cubicBezTo>
                    <a:pt x="8" y="5"/>
                    <a:pt x="15" y="2"/>
                    <a:pt x="9" y="1"/>
                  </a:cubicBezTo>
                  <a:cubicBezTo>
                    <a:pt x="8" y="1"/>
                    <a:pt x="10" y="2"/>
                    <a:pt x="9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5" name="Freeform 410">
              <a:extLst>
                <a:ext uri="{FF2B5EF4-FFF2-40B4-BE49-F238E27FC236}">
                  <a16:creationId xmlns:a16="http://schemas.microsoft.com/office/drawing/2014/main" id="{32D7A7D0-FAC0-DB78-2A90-A1D3F34C159B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0610" y="1321315"/>
              <a:ext cx="132330" cy="88941"/>
            </a:xfrm>
            <a:custGeom>
              <a:avLst/>
              <a:gdLst>
                <a:gd name="T0" fmla="*/ 7 w 25"/>
                <a:gd name="T1" fmla="*/ 15 h 16"/>
                <a:gd name="T2" fmla="*/ 3 w 25"/>
                <a:gd name="T3" fmla="*/ 13 h 16"/>
                <a:gd name="T4" fmla="*/ 4 w 25"/>
                <a:gd name="T5" fmla="*/ 12 h 16"/>
                <a:gd name="T6" fmla="*/ 0 w 25"/>
                <a:gd name="T7" fmla="*/ 12 h 16"/>
                <a:gd name="T8" fmla="*/ 3 w 25"/>
                <a:gd name="T9" fmla="*/ 11 h 16"/>
                <a:gd name="T10" fmla="*/ 2 w 25"/>
                <a:gd name="T11" fmla="*/ 10 h 16"/>
                <a:gd name="T12" fmla="*/ 6 w 25"/>
                <a:gd name="T13" fmla="*/ 6 h 16"/>
                <a:gd name="T14" fmla="*/ 5 w 25"/>
                <a:gd name="T15" fmla="*/ 6 h 16"/>
                <a:gd name="T16" fmla="*/ 11 w 25"/>
                <a:gd name="T17" fmla="*/ 3 h 16"/>
                <a:gd name="T18" fmla="*/ 18 w 25"/>
                <a:gd name="T19" fmla="*/ 0 h 16"/>
                <a:gd name="T20" fmla="*/ 20 w 25"/>
                <a:gd name="T21" fmla="*/ 4 h 16"/>
                <a:gd name="T22" fmla="*/ 25 w 25"/>
                <a:gd name="T23" fmla="*/ 7 h 16"/>
                <a:gd name="T24" fmla="*/ 21 w 25"/>
                <a:gd name="T25" fmla="*/ 9 h 16"/>
                <a:gd name="T26" fmla="*/ 23 w 25"/>
                <a:gd name="T27" fmla="*/ 12 h 16"/>
                <a:gd name="T28" fmla="*/ 19 w 25"/>
                <a:gd name="T29" fmla="*/ 13 h 16"/>
                <a:gd name="T30" fmla="*/ 7 w 25"/>
                <a:gd name="T31" fmla="*/ 15 h 16"/>
                <a:gd name="T32" fmla="*/ 7 w 25"/>
                <a:gd name="T33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5" h="16">
                  <a:moveTo>
                    <a:pt x="7" y="15"/>
                  </a:moveTo>
                  <a:cubicBezTo>
                    <a:pt x="6" y="14"/>
                    <a:pt x="4" y="14"/>
                    <a:pt x="3" y="13"/>
                  </a:cubicBezTo>
                  <a:cubicBezTo>
                    <a:pt x="2" y="12"/>
                    <a:pt x="4" y="12"/>
                    <a:pt x="4" y="12"/>
                  </a:cubicBezTo>
                  <a:cubicBezTo>
                    <a:pt x="4" y="12"/>
                    <a:pt x="0" y="13"/>
                    <a:pt x="0" y="12"/>
                  </a:cubicBezTo>
                  <a:cubicBezTo>
                    <a:pt x="0" y="10"/>
                    <a:pt x="3" y="11"/>
                    <a:pt x="3" y="11"/>
                  </a:cubicBezTo>
                  <a:cubicBezTo>
                    <a:pt x="3" y="10"/>
                    <a:pt x="2" y="10"/>
                    <a:pt x="2" y="10"/>
                  </a:cubicBezTo>
                  <a:cubicBezTo>
                    <a:pt x="2" y="10"/>
                    <a:pt x="7" y="7"/>
                    <a:pt x="6" y="6"/>
                  </a:cubicBezTo>
                  <a:cubicBezTo>
                    <a:pt x="6" y="6"/>
                    <a:pt x="5" y="6"/>
                    <a:pt x="5" y="6"/>
                  </a:cubicBezTo>
                  <a:cubicBezTo>
                    <a:pt x="6" y="4"/>
                    <a:pt x="9" y="4"/>
                    <a:pt x="11" y="3"/>
                  </a:cubicBezTo>
                  <a:cubicBezTo>
                    <a:pt x="13" y="2"/>
                    <a:pt x="16" y="1"/>
                    <a:pt x="18" y="0"/>
                  </a:cubicBezTo>
                  <a:cubicBezTo>
                    <a:pt x="18" y="0"/>
                    <a:pt x="19" y="3"/>
                    <a:pt x="20" y="4"/>
                  </a:cubicBezTo>
                  <a:cubicBezTo>
                    <a:pt x="20" y="4"/>
                    <a:pt x="25" y="6"/>
                    <a:pt x="25" y="7"/>
                  </a:cubicBezTo>
                  <a:cubicBezTo>
                    <a:pt x="25" y="8"/>
                    <a:pt x="20" y="7"/>
                    <a:pt x="21" y="9"/>
                  </a:cubicBezTo>
                  <a:cubicBezTo>
                    <a:pt x="21" y="9"/>
                    <a:pt x="23" y="10"/>
                    <a:pt x="23" y="12"/>
                  </a:cubicBezTo>
                  <a:cubicBezTo>
                    <a:pt x="22" y="12"/>
                    <a:pt x="20" y="12"/>
                    <a:pt x="19" y="13"/>
                  </a:cubicBezTo>
                  <a:cubicBezTo>
                    <a:pt x="16" y="14"/>
                    <a:pt x="10" y="16"/>
                    <a:pt x="7" y="15"/>
                  </a:cubicBezTo>
                  <a:cubicBezTo>
                    <a:pt x="6" y="14"/>
                    <a:pt x="9" y="16"/>
                    <a:pt x="7" y="1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6" name="Freeform 411">
              <a:extLst>
                <a:ext uri="{FF2B5EF4-FFF2-40B4-BE49-F238E27FC236}">
                  <a16:creationId xmlns:a16="http://schemas.microsoft.com/office/drawing/2014/main" id="{7D29AE9C-C588-5BF8-6520-957F93407216}"/>
                </a:ext>
              </a:extLst>
            </p:cNvPr>
            <p:cNvSpPr>
              <a:spLocks/>
            </p:cNvSpPr>
            <p:nvPr/>
          </p:nvSpPr>
          <p:spPr bwMode="auto">
            <a:xfrm>
              <a:off x="9605449" y="1671401"/>
              <a:ext cx="132330" cy="45416"/>
            </a:xfrm>
            <a:custGeom>
              <a:avLst/>
              <a:gdLst>
                <a:gd name="T0" fmla="*/ 5 w 25"/>
                <a:gd name="T1" fmla="*/ 3 h 8"/>
                <a:gd name="T2" fmla="*/ 3 w 25"/>
                <a:gd name="T3" fmla="*/ 1 h 8"/>
                <a:gd name="T4" fmla="*/ 1 w 25"/>
                <a:gd name="T5" fmla="*/ 2 h 8"/>
                <a:gd name="T6" fmla="*/ 2 w 25"/>
                <a:gd name="T7" fmla="*/ 4 h 8"/>
                <a:gd name="T8" fmla="*/ 5 w 25"/>
                <a:gd name="T9" fmla="*/ 6 h 8"/>
                <a:gd name="T10" fmla="*/ 16 w 25"/>
                <a:gd name="T11" fmla="*/ 8 h 8"/>
                <a:gd name="T12" fmla="*/ 24 w 25"/>
                <a:gd name="T13" fmla="*/ 5 h 8"/>
                <a:gd name="T14" fmla="*/ 23 w 25"/>
                <a:gd name="T15" fmla="*/ 6 h 8"/>
                <a:gd name="T16" fmla="*/ 20 w 25"/>
                <a:gd name="T17" fmla="*/ 4 h 8"/>
                <a:gd name="T18" fmla="*/ 15 w 25"/>
                <a:gd name="T19" fmla="*/ 4 h 8"/>
                <a:gd name="T20" fmla="*/ 10 w 25"/>
                <a:gd name="T21" fmla="*/ 2 h 8"/>
                <a:gd name="T22" fmla="*/ 5 w 25"/>
                <a:gd name="T23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" h="8">
                  <a:moveTo>
                    <a:pt x="5" y="3"/>
                  </a:moveTo>
                  <a:cubicBezTo>
                    <a:pt x="4" y="3"/>
                    <a:pt x="4" y="1"/>
                    <a:pt x="3" y="1"/>
                  </a:cubicBezTo>
                  <a:cubicBezTo>
                    <a:pt x="3" y="0"/>
                    <a:pt x="1" y="2"/>
                    <a:pt x="1" y="2"/>
                  </a:cubicBezTo>
                  <a:cubicBezTo>
                    <a:pt x="0" y="4"/>
                    <a:pt x="1" y="4"/>
                    <a:pt x="2" y="4"/>
                  </a:cubicBezTo>
                  <a:cubicBezTo>
                    <a:pt x="3" y="4"/>
                    <a:pt x="4" y="6"/>
                    <a:pt x="5" y="6"/>
                  </a:cubicBezTo>
                  <a:cubicBezTo>
                    <a:pt x="9" y="7"/>
                    <a:pt x="12" y="8"/>
                    <a:pt x="16" y="8"/>
                  </a:cubicBezTo>
                  <a:cubicBezTo>
                    <a:pt x="17" y="8"/>
                    <a:pt x="25" y="7"/>
                    <a:pt x="24" y="5"/>
                  </a:cubicBezTo>
                  <a:cubicBezTo>
                    <a:pt x="23" y="5"/>
                    <a:pt x="23" y="6"/>
                    <a:pt x="23" y="6"/>
                  </a:cubicBezTo>
                  <a:cubicBezTo>
                    <a:pt x="22" y="6"/>
                    <a:pt x="21" y="5"/>
                    <a:pt x="20" y="4"/>
                  </a:cubicBezTo>
                  <a:cubicBezTo>
                    <a:pt x="19" y="4"/>
                    <a:pt x="17" y="3"/>
                    <a:pt x="15" y="4"/>
                  </a:cubicBezTo>
                  <a:cubicBezTo>
                    <a:pt x="14" y="4"/>
                    <a:pt x="12" y="2"/>
                    <a:pt x="10" y="2"/>
                  </a:cubicBezTo>
                  <a:cubicBezTo>
                    <a:pt x="8" y="2"/>
                    <a:pt x="7" y="3"/>
                    <a:pt x="5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7" name="Freeform 412">
              <a:extLst>
                <a:ext uri="{FF2B5EF4-FFF2-40B4-BE49-F238E27FC236}">
                  <a16:creationId xmlns:a16="http://schemas.microsoft.com/office/drawing/2014/main" id="{2D1C5682-D5B7-8684-49CB-A7EA4C48911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37352" y="1760341"/>
              <a:ext cx="110872" cy="45416"/>
            </a:xfrm>
            <a:custGeom>
              <a:avLst/>
              <a:gdLst>
                <a:gd name="T0" fmla="*/ 2 w 21"/>
                <a:gd name="T1" fmla="*/ 6 h 8"/>
                <a:gd name="T2" fmla="*/ 8 w 21"/>
                <a:gd name="T3" fmla="*/ 6 h 8"/>
                <a:gd name="T4" fmla="*/ 14 w 21"/>
                <a:gd name="T5" fmla="*/ 8 h 8"/>
                <a:gd name="T6" fmla="*/ 19 w 21"/>
                <a:gd name="T7" fmla="*/ 7 h 8"/>
                <a:gd name="T8" fmla="*/ 17 w 21"/>
                <a:gd name="T9" fmla="*/ 4 h 8"/>
                <a:gd name="T10" fmla="*/ 7 w 21"/>
                <a:gd name="T11" fmla="*/ 2 h 8"/>
                <a:gd name="T12" fmla="*/ 4 w 21"/>
                <a:gd name="T13" fmla="*/ 5 h 8"/>
                <a:gd name="T14" fmla="*/ 2 w 21"/>
                <a:gd name="T15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8">
                  <a:moveTo>
                    <a:pt x="2" y="6"/>
                  </a:moveTo>
                  <a:cubicBezTo>
                    <a:pt x="5" y="6"/>
                    <a:pt x="6" y="6"/>
                    <a:pt x="8" y="6"/>
                  </a:cubicBezTo>
                  <a:cubicBezTo>
                    <a:pt x="10" y="7"/>
                    <a:pt x="12" y="7"/>
                    <a:pt x="14" y="8"/>
                  </a:cubicBezTo>
                  <a:cubicBezTo>
                    <a:pt x="16" y="8"/>
                    <a:pt x="18" y="8"/>
                    <a:pt x="19" y="7"/>
                  </a:cubicBezTo>
                  <a:cubicBezTo>
                    <a:pt x="21" y="6"/>
                    <a:pt x="18" y="5"/>
                    <a:pt x="17" y="4"/>
                  </a:cubicBezTo>
                  <a:cubicBezTo>
                    <a:pt x="14" y="2"/>
                    <a:pt x="11" y="0"/>
                    <a:pt x="7" y="2"/>
                  </a:cubicBezTo>
                  <a:cubicBezTo>
                    <a:pt x="5" y="3"/>
                    <a:pt x="5" y="4"/>
                    <a:pt x="4" y="5"/>
                  </a:cubicBezTo>
                  <a:cubicBezTo>
                    <a:pt x="3" y="5"/>
                    <a:pt x="0" y="6"/>
                    <a:pt x="2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8" name="Freeform 413">
              <a:extLst>
                <a:ext uri="{FF2B5EF4-FFF2-40B4-BE49-F238E27FC236}">
                  <a16:creationId xmlns:a16="http://schemas.microsoft.com/office/drawing/2014/main" id="{4872B22B-46E3-D914-96A1-6F821E67A726}"/>
                </a:ext>
              </a:extLst>
            </p:cNvPr>
            <p:cNvSpPr>
              <a:spLocks/>
            </p:cNvSpPr>
            <p:nvPr/>
          </p:nvSpPr>
          <p:spPr bwMode="auto">
            <a:xfrm>
              <a:off x="9442718" y="1739527"/>
              <a:ext cx="42917" cy="26493"/>
            </a:xfrm>
            <a:custGeom>
              <a:avLst/>
              <a:gdLst>
                <a:gd name="T0" fmla="*/ 3 w 8"/>
                <a:gd name="T1" fmla="*/ 5 h 5"/>
                <a:gd name="T2" fmla="*/ 4 w 8"/>
                <a:gd name="T3" fmla="*/ 1 h 5"/>
                <a:gd name="T4" fmla="*/ 3 w 8"/>
                <a:gd name="T5" fmla="*/ 5 h 5"/>
                <a:gd name="T6" fmla="*/ 3 w 8"/>
                <a:gd name="T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5">
                  <a:moveTo>
                    <a:pt x="3" y="5"/>
                  </a:moveTo>
                  <a:cubicBezTo>
                    <a:pt x="0" y="5"/>
                    <a:pt x="1" y="0"/>
                    <a:pt x="4" y="1"/>
                  </a:cubicBezTo>
                  <a:cubicBezTo>
                    <a:pt x="8" y="2"/>
                    <a:pt x="6" y="4"/>
                    <a:pt x="3" y="5"/>
                  </a:cubicBezTo>
                  <a:cubicBezTo>
                    <a:pt x="1" y="5"/>
                    <a:pt x="5" y="5"/>
                    <a:pt x="3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9" name="Freeform 414">
              <a:extLst>
                <a:ext uri="{FF2B5EF4-FFF2-40B4-BE49-F238E27FC236}">
                  <a16:creationId xmlns:a16="http://schemas.microsoft.com/office/drawing/2014/main" id="{0900A141-E93D-D260-17E4-BB78051A2DDF}"/>
                </a:ext>
              </a:extLst>
            </p:cNvPr>
            <p:cNvSpPr>
              <a:spLocks/>
            </p:cNvSpPr>
            <p:nvPr/>
          </p:nvSpPr>
          <p:spPr bwMode="auto">
            <a:xfrm>
              <a:off x="9328268" y="1660047"/>
              <a:ext cx="16094" cy="28387"/>
            </a:xfrm>
            <a:custGeom>
              <a:avLst/>
              <a:gdLst>
                <a:gd name="T0" fmla="*/ 1 w 3"/>
                <a:gd name="T1" fmla="*/ 3 h 5"/>
                <a:gd name="T2" fmla="*/ 3 w 3"/>
                <a:gd name="T3" fmla="*/ 1 h 5"/>
                <a:gd name="T4" fmla="*/ 1 w 3"/>
                <a:gd name="T5" fmla="*/ 5 h 5"/>
                <a:gd name="T6" fmla="*/ 1 w 3"/>
                <a:gd name="T7" fmla="*/ 3 h 5"/>
                <a:gd name="T8" fmla="*/ 1 w 3"/>
                <a:gd name="T9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5">
                  <a:moveTo>
                    <a:pt x="1" y="3"/>
                  </a:moveTo>
                  <a:cubicBezTo>
                    <a:pt x="0" y="2"/>
                    <a:pt x="2" y="0"/>
                    <a:pt x="3" y="1"/>
                  </a:cubicBezTo>
                  <a:cubicBezTo>
                    <a:pt x="3" y="2"/>
                    <a:pt x="2" y="5"/>
                    <a:pt x="1" y="5"/>
                  </a:cubicBezTo>
                  <a:cubicBezTo>
                    <a:pt x="1" y="5"/>
                    <a:pt x="1" y="3"/>
                    <a:pt x="1" y="3"/>
                  </a:cubicBezTo>
                  <a:cubicBezTo>
                    <a:pt x="0" y="2"/>
                    <a:pt x="1" y="3"/>
                    <a:pt x="1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12" name="Freeform 415">
              <a:extLst>
                <a:ext uri="{FF2B5EF4-FFF2-40B4-BE49-F238E27FC236}">
                  <a16:creationId xmlns:a16="http://schemas.microsoft.com/office/drawing/2014/main" id="{A9B41D69-6B88-13F1-A0BF-C2C53D60BA44}"/>
                </a:ext>
              </a:extLst>
            </p:cNvPr>
            <p:cNvSpPr>
              <a:spLocks/>
            </p:cNvSpPr>
            <p:nvPr/>
          </p:nvSpPr>
          <p:spPr bwMode="auto">
            <a:xfrm>
              <a:off x="9328268" y="1743310"/>
              <a:ext cx="21459" cy="28387"/>
            </a:xfrm>
            <a:custGeom>
              <a:avLst/>
              <a:gdLst>
                <a:gd name="T0" fmla="*/ 4 w 4"/>
                <a:gd name="T1" fmla="*/ 4 h 5"/>
                <a:gd name="T2" fmla="*/ 0 w 4"/>
                <a:gd name="T3" fmla="*/ 1 h 5"/>
                <a:gd name="T4" fmla="*/ 4 w 4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5">
                  <a:moveTo>
                    <a:pt x="4" y="4"/>
                  </a:moveTo>
                  <a:cubicBezTo>
                    <a:pt x="4" y="3"/>
                    <a:pt x="1" y="0"/>
                    <a:pt x="0" y="1"/>
                  </a:cubicBezTo>
                  <a:cubicBezTo>
                    <a:pt x="0" y="1"/>
                    <a:pt x="3" y="5"/>
                    <a:pt x="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17" name="Freeform 416">
              <a:extLst>
                <a:ext uri="{FF2B5EF4-FFF2-40B4-BE49-F238E27FC236}">
                  <a16:creationId xmlns:a16="http://schemas.microsoft.com/office/drawing/2014/main" id="{867F2BC4-7D8D-739E-DAA5-9D35639F4E75}"/>
                </a:ext>
              </a:extLst>
            </p:cNvPr>
            <p:cNvSpPr>
              <a:spLocks/>
            </p:cNvSpPr>
            <p:nvPr/>
          </p:nvSpPr>
          <p:spPr bwMode="auto">
            <a:xfrm>
              <a:off x="9364034" y="1639232"/>
              <a:ext cx="221744" cy="88941"/>
            </a:xfrm>
            <a:custGeom>
              <a:avLst/>
              <a:gdLst>
                <a:gd name="T0" fmla="*/ 34 w 42"/>
                <a:gd name="T1" fmla="*/ 4 h 16"/>
                <a:gd name="T2" fmla="*/ 29 w 42"/>
                <a:gd name="T3" fmla="*/ 3 h 16"/>
                <a:gd name="T4" fmla="*/ 23 w 42"/>
                <a:gd name="T5" fmla="*/ 0 h 16"/>
                <a:gd name="T6" fmla="*/ 22 w 42"/>
                <a:gd name="T7" fmla="*/ 2 h 16"/>
                <a:gd name="T8" fmla="*/ 20 w 42"/>
                <a:gd name="T9" fmla="*/ 6 h 16"/>
                <a:gd name="T10" fmla="*/ 11 w 42"/>
                <a:gd name="T11" fmla="*/ 1 h 16"/>
                <a:gd name="T12" fmla="*/ 4 w 42"/>
                <a:gd name="T13" fmla="*/ 3 h 16"/>
                <a:gd name="T14" fmla="*/ 2 w 42"/>
                <a:gd name="T15" fmla="*/ 6 h 16"/>
                <a:gd name="T16" fmla="*/ 1 w 42"/>
                <a:gd name="T17" fmla="*/ 10 h 16"/>
                <a:gd name="T18" fmla="*/ 9 w 42"/>
                <a:gd name="T19" fmla="*/ 14 h 16"/>
                <a:gd name="T20" fmla="*/ 13 w 42"/>
                <a:gd name="T21" fmla="*/ 15 h 16"/>
                <a:gd name="T22" fmla="*/ 15 w 42"/>
                <a:gd name="T23" fmla="*/ 13 h 16"/>
                <a:gd name="T24" fmla="*/ 16 w 42"/>
                <a:gd name="T25" fmla="*/ 14 h 16"/>
                <a:gd name="T26" fmla="*/ 18 w 42"/>
                <a:gd name="T27" fmla="*/ 14 h 16"/>
                <a:gd name="T28" fmla="*/ 25 w 42"/>
                <a:gd name="T29" fmla="*/ 12 h 16"/>
                <a:gd name="T30" fmla="*/ 28 w 42"/>
                <a:gd name="T31" fmla="*/ 14 h 16"/>
                <a:gd name="T32" fmla="*/ 34 w 42"/>
                <a:gd name="T33" fmla="*/ 13 h 16"/>
                <a:gd name="T34" fmla="*/ 33 w 42"/>
                <a:gd name="T35" fmla="*/ 12 h 16"/>
                <a:gd name="T36" fmla="*/ 37 w 42"/>
                <a:gd name="T37" fmla="*/ 12 h 16"/>
                <a:gd name="T38" fmla="*/ 39 w 42"/>
                <a:gd name="T39" fmla="*/ 11 h 16"/>
                <a:gd name="T40" fmla="*/ 40 w 42"/>
                <a:gd name="T41" fmla="*/ 9 h 16"/>
                <a:gd name="T42" fmla="*/ 39 w 42"/>
                <a:gd name="T43" fmla="*/ 9 h 16"/>
                <a:gd name="T44" fmla="*/ 42 w 42"/>
                <a:gd name="T45" fmla="*/ 6 h 16"/>
                <a:gd name="T46" fmla="*/ 34 w 42"/>
                <a:gd name="T47" fmla="*/ 4 h 16"/>
                <a:gd name="T48" fmla="*/ 34 w 42"/>
                <a:gd name="T49" fmla="*/ 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2" h="16">
                  <a:moveTo>
                    <a:pt x="34" y="4"/>
                  </a:moveTo>
                  <a:cubicBezTo>
                    <a:pt x="32" y="3"/>
                    <a:pt x="31" y="4"/>
                    <a:pt x="29" y="3"/>
                  </a:cubicBezTo>
                  <a:cubicBezTo>
                    <a:pt x="29" y="3"/>
                    <a:pt x="24" y="0"/>
                    <a:pt x="23" y="0"/>
                  </a:cubicBezTo>
                  <a:cubicBezTo>
                    <a:pt x="23" y="0"/>
                    <a:pt x="24" y="1"/>
                    <a:pt x="22" y="2"/>
                  </a:cubicBezTo>
                  <a:cubicBezTo>
                    <a:pt x="20" y="2"/>
                    <a:pt x="22" y="5"/>
                    <a:pt x="20" y="6"/>
                  </a:cubicBezTo>
                  <a:cubicBezTo>
                    <a:pt x="19" y="6"/>
                    <a:pt x="12" y="1"/>
                    <a:pt x="11" y="1"/>
                  </a:cubicBezTo>
                  <a:cubicBezTo>
                    <a:pt x="9" y="0"/>
                    <a:pt x="4" y="1"/>
                    <a:pt x="4" y="3"/>
                  </a:cubicBezTo>
                  <a:cubicBezTo>
                    <a:pt x="4" y="5"/>
                    <a:pt x="0" y="4"/>
                    <a:pt x="2" y="6"/>
                  </a:cubicBezTo>
                  <a:cubicBezTo>
                    <a:pt x="3" y="7"/>
                    <a:pt x="0" y="9"/>
                    <a:pt x="1" y="10"/>
                  </a:cubicBezTo>
                  <a:cubicBezTo>
                    <a:pt x="3" y="12"/>
                    <a:pt x="6" y="13"/>
                    <a:pt x="9" y="14"/>
                  </a:cubicBezTo>
                  <a:cubicBezTo>
                    <a:pt x="10" y="15"/>
                    <a:pt x="12" y="16"/>
                    <a:pt x="13" y="15"/>
                  </a:cubicBezTo>
                  <a:cubicBezTo>
                    <a:pt x="14" y="15"/>
                    <a:pt x="14" y="12"/>
                    <a:pt x="15" y="13"/>
                  </a:cubicBezTo>
                  <a:cubicBezTo>
                    <a:pt x="15" y="13"/>
                    <a:pt x="15" y="14"/>
                    <a:pt x="16" y="14"/>
                  </a:cubicBezTo>
                  <a:cubicBezTo>
                    <a:pt x="17" y="14"/>
                    <a:pt x="18" y="14"/>
                    <a:pt x="18" y="14"/>
                  </a:cubicBezTo>
                  <a:cubicBezTo>
                    <a:pt x="20" y="13"/>
                    <a:pt x="22" y="13"/>
                    <a:pt x="25" y="12"/>
                  </a:cubicBezTo>
                  <a:cubicBezTo>
                    <a:pt x="27" y="12"/>
                    <a:pt x="27" y="14"/>
                    <a:pt x="28" y="14"/>
                  </a:cubicBezTo>
                  <a:cubicBezTo>
                    <a:pt x="29" y="14"/>
                    <a:pt x="34" y="13"/>
                    <a:pt x="34" y="13"/>
                  </a:cubicBezTo>
                  <a:cubicBezTo>
                    <a:pt x="34" y="13"/>
                    <a:pt x="33" y="12"/>
                    <a:pt x="33" y="12"/>
                  </a:cubicBezTo>
                  <a:cubicBezTo>
                    <a:pt x="33" y="11"/>
                    <a:pt x="36" y="12"/>
                    <a:pt x="37" y="12"/>
                  </a:cubicBezTo>
                  <a:cubicBezTo>
                    <a:pt x="37" y="12"/>
                    <a:pt x="39" y="12"/>
                    <a:pt x="39" y="11"/>
                  </a:cubicBezTo>
                  <a:cubicBezTo>
                    <a:pt x="39" y="10"/>
                    <a:pt x="40" y="9"/>
                    <a:pt x="40" y="9"/>
                  </a:cubicBezTo>
                  <a:cubicBezTo>
                    <a:pt x="40" y="9"/>
                    <a:pt x="40" y="9"/>
                    <a:pt x="39" y="9"/>
                  </a:cubicBezTo>
                  <a:cubicBezTo>
                    <a:pt x="39" y="8"/>
                    <a:pt x="42" y="7"/>
                    <a:pt x="42" y="6"/>
                  </a:cubicBezTo>
                  <a:cubicBezTo>
                    <a:pt x="41" y="5"/>
                    <a:pt x="36" y="4"/>
                    <a:pt x="34" y="4"/>
                  </a:cubicBezTo>
                  <a:cubicBezTo>
                    <a:pt x="32" y="3"/>
                    <a:pt x="36" y="4"/>
                    <a:pt x="3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18" name="Freeform 417">
              <a:extLst>
                <a:ext uri="{FF2B5EF4-FFF2-40B4-BE49-F238E27FC236}">
                  <a16:creationId xmlns:a16="http://schemas.microsoft.com/office/drawing/2014/main" id="{BC3F8E50-5B64-BAF3-2E22-52075F166D1F}"/>
                </a:ext>
              </a:extLst>
            </p:cNvPr>
            <p:cNvSpPr>
              <a:spLocks/>
            </p:cNvSpPr>
            <p:nvPr/>
          </p:nvSpPr>
          <p:spPr bwMode="auto">
            <a:xfrm>
              <a:off x="9491001" y="1665725"/>
              <a:ext cx="41130" cy="45416"/>
            </a:xfrm>
            <a:custGeom>
              <a:avLst/>
              <a:gdLst>
                <a:gd name="T0" fmla="*/ 7 w 8"/>
                <a:gd name="T1" fmla="*/ 6 h 8"/>
                <a:gd name="T2" fmla="*/ 4 w 8"/>
                <a:gd name="T3" fmla="*/ 0 h 8"/>
                <a:gd name="T4" fmla="*/ 6 w 8"/>
                <a:gd name="T5" fmla="*/ 2 h 8"/>
                <a:gd name="T6" fmla="*/ 7 w 8"/>
                <a:gd name="T7" fmla="*/ 6 h 8"/>
                <a:gd name="T8" fmla="*/ 7 w 8"/>
                <a:gd name="T9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8">
                  <a:moveTo>
                    <a:pt x="7" y="6"/>
                  </a:moveTo>
                  <a:cubicBezTo>
                    <a:pt x="6" y="7"/>
                    <a:pt x="0" y="1"/>
                    <a:pt x="4" y="0"/>
                  </a:cubicBezTo>
                  <a:cubicBezTo>
                    <a:pt x="5" y="0"/>
                    <a:pt x="8" y="0"/>
                    <a:pt x="6" y="2"/>
                  </a:cubicBezTo>
                  <a:cubicBezTo>
                    <a:pt x="3" y="4"/>
                    <a:pt x="7" y="4"/>
                    <a:pt x="7" y="6"/>
                  </a:cubicBezTo>
                  <a:cubicBezTo>
                    <a:pt x="6" y="8"/>
                    <a:pt x="7" y="5"/>
                    <a:pt x="7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19" name="Freeform 418">
              <a:extLst>
                <a:ext uri="{FF2B5EF4-FFF2-40B4-BE49-F238E27FC236}">
                  <a16:creationId xmlns:a16="http://schemas.microsoft.com/office/drawing/2014/main" id="{C46A5266-C9CE-E223-6D4F-7E88D6F0B0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77690" y="1966609"/>
              <a:ext cx="57223" cy="34061"/>
            </a:xfrm>
            <a:custGeom>
              <a:avLst/>
              <a:gdLst>
                <a:gd name="T0" fmla="*/ 3 w 11"/>
                <a:gd name="T1" fmla="*/ 4 h 6"/>
                <a:gd name="T2" fmla="*/ 1 w 11"/>
                <a:gd name="T3" fmla="*/ 1 h 6"/>
                <a:gd name="T4" fmla="*/ 6 w 11"/>
                <a:gd name="T5" fmla="*/ 1 h 6"/>
                <a:gd name="T6" fmla="*/ 3 w 11"/>
                <a:gd name="T7" fmla="*/ 4 h 6"/>
                <a:gd name="T8" fmla="*/ 3 w 11"/>
                <a:gd name="T9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6">
                  <a:moveTo>
                    <a:pt x="3" y="4"/>
                  </a:moveTo>
                  <a:cubicBezTo>
                    <a:pt x="1" y="3"/>
                    <a:pt x="0" y="3"/>
                    <a:pt x="1" y="1"/>
                  </a:cubicBezTo>
                  <a:cubicBezTo>
                    <a:pt x="2" y="0"/>
                    <a:pt x="4" y="1"/>
                    <a:pt x="6" y="1"/>
                  </a:cubicBezTo>
                  <a:cubicBezTo>
                    <a:pt x="11" y="2"/>
                    <a:pt x="6" y="6"/>
                    <a:pt x="3" y="4"/>
                  </a:cubicBezTo>
                  <a:cubicBezTo>
                    <a:pt x="2" y="3"/>
                    <a:pt x="4" y="5"/>
                    <a:pt x="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20" name="Freeform 419">
              <a:extLst>
                <a:ext uri="{FF2B5EF4-FFF2-40B4-BE49-F238E27FC236}">
                  <a16:creationId xmlns:a16="http://schemas.microsoft.com/office/drawing/2014/main" id="{255B3C33-67A9-7B86-EC3A-6D5FFC66F5A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66816" y="2454840"/>
              <a:ext cx="32188" cy="28387"/>
            </a:xfrm>
            <a:custGeom>
              <a:avLst/>
              <a:gdLst>
                <a:gd name="T0" fmla="*/ 5 w 6"/>
                <a:gd name="T1" fmla="*/ 2 h 5"/>
                <a:gd name="T2" fmla="*/ 5 w 6"/>
                <a:gd name="T3" fmla="*/ 1 h 5"/>
                <a:gd name="T4" fmla="*/ 2 w 6"/>
                <a:gd name="T5" fmla="*/ 1 h 5"/>
                <a:gd name="T6" fmla="*/ 1 w 6"/>
                <a:gd name="T7" fmla="*/ 3 h 5"/>
                <a:gd name="T8" fmla="*/ 0 w 6"/>
                <a:gd name="T9" fmla="*/ 4 h 5"/>
                <a:gd name="T10" fmla="*/ 5 w 6"/>
                <a:gd name="T11" fmla="*/ 2 h 5"/>
                <a:gd name="T12" fmla="*/ 5 w 6"/>
                <a:gd name="T13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5">
                  <a:moveTo>
                    <a:pt x="5" y="2"/>
                  </a:moveTo>
                  <a:cubicBezTo>
                    <a:pt x="6" y="2"/>
                    <a:pt x="5" y="1"/>
                    <a:pt x="5" y="1"/>
                  </a:cubicBezTo>
                  <a:cubicBezTo>
                    <a:pt x="4" y="0"/>
                    <a:pt x="3" y="1"/>
                    <a:pt x="2" y="1"/>
                  </a:cubicBezTo>
                  <a:cubicBezTo>
                    <a:pt x="1" y="1"/>
                    <a:pt x="0" y="2"/>
                    <a:pt x="1" y="3"/>
                  </a:cubicBezTo>
                  <a:cubicBezTo>
                    <a:pt x="1" y="3"/>
                    <a:pt x="0" y="5"/>
                    <a:pt x="0" y="4"/>
                  </a:cubicBezTo>
                  <a:cubicBezTo>
                    <a:pt x="0" y="4"/>
                    <a:pt x="5" y="2"/>
                    <a:pt x="5" y="2"/>
                  </a:cubicBezTo>
                  <a:cubicBezTo>
                    <a:pt x="6" y="2"/>
                    <a:pt x="3" y="3"/>
                    <a:pt x="5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21" name="Freeform 420">
              <a:extLst>
                <a:ext uri="{FF2B5EF4-FFF2-40B4-BE49-F238E27FC236}">
                  <a16:creationId xmlns:a16="http://schemas.microsoft.com/office/drawing/2014/main" id="{5B42D240-8B6D-AAC5-DF9D-7961712D0502}"/>
                </a:ext>
              </a:extLst>
            </p:cNvPr>
            <p:cNvSpPr>
              <a:spLocks/>
            </p:cNvSpPr>
            <p:nvPr/>
          </p:nvSpPr>
          <p:spPr bwMode="auto">
            <a:xfrm>
              <a:off x="9369398" y="2617584"/>
              <a:ext cx="26823" cy="15139"/>
            </a:xfrm>
            <a:custGeom>
              <a:avLst/>
              <a:gdLst>
                <a:gd name="T0" fmla="*/ 3 w 5"/>
                <a:gd name="T1" fmla="*/ 3 h 3"/>
                <a:gd name="T2" fmla="*/ 3 w 5"/>
                <a:gd name="T3" fmla="*/ 0 h 3"/>
                <a:gd name="T4" fmla="*/ 3 w 5"/>
                <a:gd name="T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3">
                  <a:moveTo>
                    <a:pt x="3" y="3"/>
                  </a:moveTo>
                  <a:cubicBezTo>
                    <a:pt x="1" y="3"/>
                    <a:pt x="0" y="1"/>
                    <a:pt x="3" y="0"/>
                  </a:cubicBezTo>
                  <a:cubicBezTo>
                    <a:pt x="5" y="0"/>
                    <a:pt x="4" y="3"/>
                    <a:pt x="3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22" name="Freeform 421">
              <a:extLst>
                <a:ext uri="{FF2B5EF4-FFF2-40B4-BE49-F238E27FC236}">
                  <a16:creationId xmlns:a16="http://schemas.microsoft.com/office/drawing/2014/main" id="{C2DC2019-9103-E9F6-FF65-BB3841296F67}"/>
                </a:ext>
              </a:extLst>
            </p:cNvPr>
            <p:cNvSpPr>
              <a:spLocks/>
            </p:cNvSpPr>
            <p:nvPr/>
          </p:nvSpPr>
          <p:spPr bwMode="auto">
            <a:xfrm>
              <a:off x="9841497" y="2784111"/>
              <a:ext cx="26823" cy="26493"/>
            </a:xfrm>
            <a:custGeom>
              <a:avLst/>
              <a:gdLst>
                <a:gd name="T0" fmla="*/ 5 w 5"/>
                <a:gd name="T1" fmla="*/ 1 h 5"/>
                <a:gd name="T2" fmla="*/ 1 w 5"/>
                <a:gd name="T3" fmla="*/ 5 h 5"/>
                <a:gd name="T4" fmla="*/ 4 w 5"/>
                <a:gd name="T5" fmla="*/ 3 h 5"/>
                <a:gd name="T6" fmla="*/ 5 w 5"/>
                <a:gd name="T7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5">
                  <a:moveTo>
                    <a:pt x="5" y="1"/>
                  </a:moveTo>
                  <a:cubicBezTo>
                    <a:pt x="5" y="1"/>
                    <a:pt x="0" y="5"/>
                    <a:pt x="1" y="5"/>
                  </a:cubicBezTo>
                  <a:cubicBezTo>
                    <a:pt x="2" y="5"/>
                    <a:pt x="4" y="3"/>
                    <a:pt x="4" y="3"/>
                  </a:cubicBezTo>
                  <a:cubicBezTo>
                    <a:pt x="5" y="2"/>
                    <a:pt x="5" y="0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23" name="Freeform 422">
              <a:extLst>
                <a:ext uri="{FF2B5EF4-FFF2-40B4-BE49-F238E27FC236}">
                  <a16:creationId xmlns:a16="http://schemas.microsoft.com/office/drawing/2014/main" id="{3BDC8F0E-409B-C573-D377-645B5AC65185}"/>
                </a:ext>
              </a:extLst>
            </p:cNvPr>
            <p:cNvSpPr>
              <a:spLocks/>
            </p:cNvSpPr>
            <p:nvPr/>
          </p:nvSpPr>
          <p:spPr bwMode="auto">
            <a:xfrm>
              <a:off x="9825403" y="2827635"/>
              <a:ext cx="10730" cy="5677"/>
            </a:xfrm>
            <a:custGeom>
              <a:avLst/>
              <a:gdLst>
                <a:gd name="T0" fmla="*/ 1 w 2"/>
                <a:gd name="T1" fmla="*/ 0 h 1"/>
                <a:gd name="T2" fmla="*/ 1 w 2"/>
                <a:gd name="T3" fmla="*/ 1 h 1"/>
                <a:gd name="T4" fmla="*/ 1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1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1" y="1"/>
                    <a:pt x="2" y="0"/>
                    <a:pt x="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24" name="Freeform 423">
              <a:extLst>
                <a:ext uri="{FF2B5EF4-FFF2-40B4-BE49-F238E27FC236}">
                  <a16:creationId xmlns:a16="http://schemas.microsoft.com/office/drawing/2014/main" id="{C555D25E-1BDB-5886-76B4-C80FDEB8C52D}"/>
                </a:ext>
              </a:extLst>
            </p:cNvPr>
            <p:cNvSpPr>
              <a:spLocks/>
            </p:cNvSpPr>
            <p:nvPr/>
          </p:nvSpPr>
          <p:spPr bwMode="auto">
            <a:xfrm>
              <a:off x="9752086" y="2916576"/>
              <a:ext cx="16094" cy="5677"/>
            </a:xfrm>
            <a:custGeom>
              <a:avLst/>
              <a:gdLst>
                <a:gd name="T0" fmla="*/ 2 w 3"/>
                <a:gd name="T1" fmla="*/ 0 h 1"/>
                <a:gd name="T2" fmla="*/ 1 w 3"/>
                <a:gd name="T3" fmla="*/ 1 h 1"/>
                <a:gd name="T4" fmla="*/ 2 w 3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1">
                  <a:moveTo>
                    <a:pt x="2" y="0"/>
                  </a:moveTo>
                  <a:cubicBezTo>
                    <a:pt x="2" y="0"/>
                    <a:pt x="0" y="1"/>
                    <a:pt x="1" y="1"/>
                  </a:cubicBezTo>
                  <a:cubicBezTo>
                    <a:pt x="1" y="1"/>
                    <a:pt x="3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25" name="Freeform 424">
              <a:extLst>
                <a:ext uri="{FF2B5EF4-FFF2-40B4-BE49-F238E27FC236}">
                  <a16:creationId xmlns:a16="http://schemas.microsoft.com/office/drawing/2014/main" id="{B525738A-D5E1-FB25-D640-BA40213E05EA}"/>
                </a:ext>
              </a:extLst>
            </p:cNvPr>
            <p:cNvSpPr>
              <a:spLocks/>
            </p:cNvSpPr>
            <p:nvPr/>
          </p:nvSpPr>
          <p:spPr bwMode="auto">
            <a:xfrm>
              <a:off x="9689496" y="2944962"/>
              <a:ext cx="37553" cy="22709"/>
            </a:xfrm>
            <a:custGeom>
              <a:avLst/>
              <a:gdLst>
                <a:gd name="T0" fmla="*/ 6 w 7"/>
                <a:gd name="T1" fmla="*/ 0 h 4"/>
                <a:gd name="T2" fmla="*/ 1 w 7"/>
                <a:gd name="T3" fmla="*/ 3 h 4"/>
                <a:gd name="T4" fmla="*/ 6 w 7"/>
                <a:gd name="T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5" y="0"/>
                    <a:pt x="0" y="2"/>
                    <a:pt x="1" y="3"/>
                  </a:cubicBezTo>
                  <a:cubicBezTo>
                    <a:pt x="2" y="4"/>
                    <a:pt x="7" y="0"/>
                    <a:pt x="6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26" name="Freeform 425">
              <a:extLst>
                <a:ext uri="{FF2B5EF4-FFF2-40B4-BE49-F238E27FC236}">
                  <a16:creationId xmlns:a16="http://schemas.microsoft.com/office/drawing/2014/main" id="{F796E3E6-B3E6-6FEF-3BC7-7F711BE05A4F}"/>
                </a:ext>
              </a:extLst>
            </p:cNvPr>
            <p:cNvSpPr>
              <a:spLocks/>
            </p:cNvSpPr>
            <p:nvPr/>
          </p:nvSpPr>
          <p:spPr bwMode="auto">
            <a:xfrm>
              <a:off x="9648366" y="2967670"/>
              <a:ext cx="30400" cy="20817"/>
            </a:xfrm>
            <a:custGeom>
              <a:avLst/>
              <a:gdLst>
                <a:gd name="T0" fmla="*/ 5 w 6"/>
                <a:gd name="T1" fmla="*/ 0 h 4"/>
                <a:gd name="T2" fmla="*/ 1 w 6"/>
                <a:gd name="T3" fmla="*/ 3 h 4"/>
                <a:gd name="T4" fmla="*/ 5 w 6"/>
                <a:gd name="T5" fmla="*/ 0 h 4"/>
                <a:gd name="T6" fmla="*/ 5 w 6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5" y="0"/>
                  </a:moveTo>
                  <a:cubicBezTo>
                    <a:pt x="5" y="0"/>
                    <a:pt x="0" y="2"/>
                    <a:pt x="1" y="3"/>
                  </a:cubicBezTo>
                  <a:cubicBezTo>
                    <a:pt x="2" y="4"/>
                    <a:pt x="5" y="0"/>
                    <a:pt x="5" y="0"/>
                  </a:cubicBezTo>
                  <a:cubicBezTo>
                    <a:pt x="5" y="0"/>
                    <a:pt x="6" y="0"/>
                    <a:pt x="5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27" name="Freeform 426">
              <a:extLst>
                <a:ext uri="{FF2B5EF4-FFF2-40B4-BE49-F238E27FC236}">
                  <a16:creationId xmlns:a16="http://schemas.microsoft.com/office/drawing/2014/main" id="{874A56C5-FCC5-2DB2-CCCC-EAF1146879F2}"/>
                </a:ext>
              </a:extLst>
            </p:cNvPr>
            <p:cNvSpPr>
              <a:spLocks/>
            </p:cNvSpPr>
            <p:nvPr/>
          </p:nvSpPr>
          <p:spPr bwMode="auto">
            <a:xfrm>
              <a:off x="9621543" y="2984701"/>
              <a:ext cx="26823" cy="26493"/>
            </a:xfrm>
            <a:custGeom>
              <a:avLst/>
              <a:gdLst>
                <a:gd name="T0" fmla="*/ 4 w 5"/>
                <a:gd name="T1" fmla="*/ 0 h 5"/>
                <a:gd name="T2" fmla="*/ 0 w 5"/>
                <a:gd name="T3" fmla="*/ 4 h 5"/>
                <a:gd name="T4" fmla="*/ 4 w 5"/>
                <a:gd name="T5" fmla="*/ 0 h 5"/>
                <a:gd name="T6" fmla="*/ 4 w 5"/>
                <a:gd name="T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5">
                  <a:moveTo>
                    <a:pt x="4" y="0"/>
                  </a:moveTo>
                  <a:cubicBezTo>
                    <a:pt x="4" y="0"/>
                    <a:pt x="0" y="4"/>
                    <a:pt x="0" y="4"/>
                  </a:cubicBezTo>
                  <a:cubicBezTo>
                    <a:pt x="2" y="5"/>
                    <a:pt x="4" y="0"/>
                    <a:pt x="4" y="0"/>
                  </a:cubicBezTo>
                  <a:cubicBezTo>
                    <a:pt x="4" y="0"/>
                    <a:pt x="5" y="0"/>
                    <a:pt x="4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28" name="Freeform 427">
              <a:extLst>
                <a:ext uri="{FF2B5EF4-FFF2-40B4-BE49-F238E27FC236}">
                  <a16:creationId xmlns:a16="http://schemas.microsoft.com/office/drawing/2014/main" id="{0A99246C-469F-4754-8541-189615EFA403}"/>
                </a:ext>
              </a:extLst>
            </p:cNvPr>
            <p:cNvSpPr>
              <a:spLocks/>
            </p:cNvSpPr>
            <p:nvPr/>
          </p:nvSpPr>
          <p:spPr bwMode="auto">
            <a:xfrm>
              <a:off x="9616177" y="3022548"/>
              <a:ext cx="5364" cy="5677"/>
            </a:xfrm>
            <a:custGeom>
              <a:avLst/>
              <a:gdLst>
                <a:gd name="T0" fmla="*/ 1 w 1"/>
                <a:gd name="T1" fmla="*/ 0 h 1"/>
                <a:gd name="T2" fmla="*/ 1 w 1"/>
                <a:gd name="T3" fmla="*/ 1 h 1"/>
                <a:gd name="T4" fmla="*/ 1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0" y="0"/>
                    <a:pt x="0" y="1"/>
                    <a:pt x="1" y="1"/>
                  </a:cubicBezTo>
                  <a:cubicBezTo>
                    <a:pt x="1" y="1"/>
                    <a:pt x="1" y="0"/>
                    <a:pt x="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29" name="Freeform 428">
              <a:extLst>
                <a:ext uri="{FF2B5EF4-FFF2-40B4-BE49-F238E27FC236}">
                  <a16:creationId xmlns:a16="http://schemas.microsoft.com/office/drawing/2014/main" id="{4CB1AEE7-C149-701B-75FD-CF5354EA92F1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9353" y="2999840"/>
              <a:ext cx="26823" cy="22709"/>
            </a:xfrm>
            <a:custGeom>
              <a:avLst/>
              <a:gdLst>
                <a:gd name="T0" fmla="*/ 4 w 5"/>
                <a:gd name="T1" fmla="*/ 1 h 4"/>
                <a:gd name="T2" fmla="*/ 0 w 5"/>
                <a:gd name="T3" fmla="*/ 4 h 4"/>
                <a:gd name="T4" fmla="*/ 4 w 5"/>
                <a:gd name="T5" fmla="*/ 1 h 4"/>
                <a:gd name="T6" fmla="*/ 4 w 5"/>
                <a:gd name="T7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4">
                  <a:moveTo>
                    <a:pt x="4" y="1"/>
                  </a:moveTo>
                  <a:cubicBezTo>
                    <a:pt x="2" y="2"/>
                    <a:pt x="0" y="3"/>
                    <a:pt x="0" y="4"/>
                  </a:cubicBezTo>
                  <a:cubicBezTo>
                    <a:pt x="0" y="4"/>
                    <a:pt x="4" y="1"/>
                    <a:pt x="4" y="1"/>
                  </a:cubicBezTo>
                  <a:cubicBezTo>
                    <a:pt x="3" y="1"/>
                    <a:pt x="5" y="0"/>
                    <a:pt x="4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30" name="Freeform 429">
              <a:extLst>
                <a:ext uri="{FF2B5EF4-FFF2-40B4-BE49-F238E27FC236}">
                  <a16:creationId xmlns:a16="http://schemas.microsoft.com/office/drawing/2014/main" id="{1062EB52-7648-0F34-B504-C372D6B90626}"/>
                </a:ext>
              </a:extLst>
            </p:cNvPr>
            <p:cNvSpPr>
              <a:spLocks/>
            </p:cNvSpPr>
            <p:nvPr/>
          </p:nvSpPr>
          <p:spPr bwMode="auto">
            <a:xfrm>
              <a:off x="9396221" y="3206108"/>
              <a:ext cx="10730" cy="17031"/>
            </a:xfrm>
            <a:custGeom>
              <a:avLst/>
              <a:gdLst>
                <a:gd name="T0" fmla="*/ 1 w 2"/>
                <a:gd name="T1" fmla="*/ 0 h 3"/>
                <a:gd name="T2" fmla="*/ 1 w 2"/>
                <a:gd name="T3" fmla="*/ 3 h 3"/>
                <a:gd name="T4" fmla="*/ 1 w 2"/>
                <a:gd name="T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3">
                  <a:moveTo>
                    <a:pt x="1" y="0"/>
                  </a:moveTo>
                  <a:cubicBezTo>
                    <a:pt x="1" y="0"/>
                    <a:pt x="0" y="3"/>
                    <a:pt x="1" y="3"/>
                  </a:cubicBezTo>
                  <a:cubicBezTo>
                    <a:pt x="2" y="3"/>
                    <a:pt x="2" y="0"/>
                    <a:pt x="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grpSp>
          <p:nvGrpSpPr>
            <p:cNvPr id="431" name="Group 430">
              <a:extLst>
                <a:ext uri="{FF2B5EF4-FFF2-40B4-BE49-F238E27FC236}">
                  <a16:creationId xmlns:a16="http://schemas.microsoft.com/office/drawing/2014/main" id="{0F9DE53C-07B6-D043-5040-E7239E31AAF9}"/>
                </a:ext>
              </a:extLst>
            </p:cNvPr>
            <p:cNvGrpSpPr/>
            <p:nvPr/>
          </p:nvGrpSpPr>
          <p:grpSpPr>
            <a:xfrm>
              <a:off x="9203092" y="2967670"/>
              <a:ext cx="391625" cy="393611"/>
              <a:chOff x="5961121" y="2686387"/>
              <a:chExt cx="288233" cy="273757"/>
            </a:xfrm>
            <a:grpFill/>
          </p:grpSpPr>
          <p:sp>
            <p:nvSpPr>
              <p:cNvPr id="520" name="Freeform 430">
                <a:extLst>
                  <a:ext uri="{FF2B5EF4-FFF2-40B4-BE49-F238E27FC236}">
                    <a16:creationId xmlns:a16="http://schemas.microsoft.com/office/drawing/2014/main" id="{E930E849-1AFF-9BD0-B805-00DAA8F612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0902" y="2686387"/>
                <a:ext cx="118452" cy="100026"/>
              </a:xfrm>
              <a:custGeom>
                <a:avLst/>
                <a:gdLst>
                  <a:gd name="T0" fmla="*/ 28 w 31"/>
                  <a:gd name="T1" fmla="*/ 10 h 26"/>
                  <a:gd name="T2" fmla="*/ 29 w 31"/>
                  <a:gd name="T3" fmla="*/ 7 h 26"/>
                  <a:gd name="T4" fmla="*/ 27 w 31"/>
                  <a:gd name="T5" fmla="*/ 10 h 26"/>
                  <a:gd name="T6" fmla="*/ 20 w 31"/>
                  <a:gd name="T7" fmla="*/ 8 h 26"/>
                  <a:gd name="T8" fmla="*/ 11 w 31"/>
                  <a:gd name="T9" fmla="*/ 1 h 26"/>
                  <a:gd name="T10" fmla="*/ 11 w 31"/>
                  <a:gd name="T11" fmla="*/ 5 h 26"/>
                  <a:gd name="T12" fmla="*/ 9 w 31"/>
                  <a:gd name="T13" fmla="*/ 11 h 26"/>
                  <a:gd name="T14" fmla="*/ 7 w 31"/>
                  <a:gd name="T15" fmla="*/ 14 h 26"/>
                  <a:gd name="T16" fmla="*/ 4 w 31"/>
                  <a:gd name="T17" fmla="*/ 14 h 26"/>
                  <a:gd name="T18" fmla="*/ 5 w 31"/>
                  <a:gd name="T19" fmla="*/ 16 h 26"/>
                  <a:gd name="T20" fmla="*/ 1 w 31"/>
                  <a:gd name="T21" fmla="*/ 18 h 26"/>
                  <a:gd name="T22" fmla="*/ 2 w 31"/>
                  <a:gd name="T23" fmla="*/ 23 h 26"/>
                  <a:gd name="T24" fmla="*/ 4 w 31"/>
                  <a:gd name="T25" fmla="*/ 25 h 26"/>
                  <a:gd name="T26" fmla="*/ 6 w 31"/>
                  <a:gd name="T27" fmla="*/ 23 h 26"/>
                  <a:gd name="T28" fmla="*/ 7 w 31"/>
                  <a:gd name="T29" fmla="*/ 23 h 26"/>
                  <a:gd name="T30" fmla="*/ 4 w 31"/>
                  <a:gd name="T31" fmla="*/ 20 h 26"/>
                  <a:gd name="T32" fmla="*/ 7 w 31"/>
                  <a:gd name="T33" fmla="*/ 19 h 26"/>
                  <a:gd name="T34" fmla="*/ 12 w 31"/>
                  <a:gd name="T35" fmla="*/ 18 h 26"/>
                  <a:gd name="T36" fmla="*/ 17 w 31"/>
                  <a:gd name="T37" fmla="*/ 21 h 26"/>
                  <a:gd name="T38" fmla="*/ 21 w 31"/>
                  <a:gd name="T39" fmla="*/ 16 h 26"/>
                  <a:gd name="T40" fmla="*/ 31 w 31"/>
                  <a:gd name="T41" fmla="*/ 14 h 26"/>
                  <a:gd name="T42" fmla="*/ 29 w 31"/>
                  <a:gd name="T43" fmla="*/ 12 h 26"/>
                  <a:gd name="T44" fmla="*/ 28 w 31"/>
                  <a:gd name="T45" fmla="*/ 10 h 26"/>
                  <a:gd name="T46" fmla="*/ 28 w 31"/>
                  <a:gd name="T47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1" h="26">
                    <a:moveTo>
                      <a:pt x="28" y="10"/>
                    </a:moveTo>
                    <a:cubicBezTo>
                      <a:pt x="28" y="10"/>
                      <a:pt x="29" y="8"/>
                      <a:pt x="29" y="7"/>
                    </a:cubicBezTo>
                    <a:cubicBezTo>
                      <a:pt x="29" y="8"/>
                      <a:pt x="27" y="10"/>
                      <a:pt x="27" y="10"/>
                    </a:cubicBezTo>
                    <a:cubicBezTo>
                      <a:pt x="25" y="10"/>
                      <a:pt x="21" y="9"/>
                      <a:pt x="20" y="8"/>
                    </a:cubicBezTo>
                    <a:cubicBezTo>
                      <a:pt x="17" y="7"/>
                      <a:pt x="15" y="2"/>
                      <a:pt x="11" y="1"/>
                    </a:cubicBezTo>
                    <a:cubicBezTo>
                      <a:pt x="9" y="0"/>
                      <a:pt x="10" y="4"/>
                      <a:pt x="11" y="5"/>
                    </a:cubicBezTo>
                    <a:cubicBezTo>
                      <a:pt x="11" y="7"/>
                      <a:pt x="10" y="9"/>
                      <a:pt x="9" y="11"/>
                    </a:cubicBezTo>
                    <a:cubicBezTo>
                      <a:pt x="8" y="12"/>
                      <a:pt x="10" y="15"/>
                      <a:pt x="7" y="14"/>
                    </a:cubicBezTo>
                    <a:cubicBezTo>
                      <a:pt x="7" y="14"/>
                      <a:pt x="5" y="13"/>
                      <a:pt x="4" y="14"/>
                    </a:cubicBezTo>
                    <a:cubicBezTo>
                      <a:pt x="4" y="15"/>
                      <a:pt x="5" y="16"/>
                      <a:pt x="5" y="16"/>
                    </a:cubicBezTo>
                    <a:cubicBezTo>
                      <a:pt x="5" y="16"/>
                      <a:pt x="2" y="18"/>
                      <a:pt x="1" y="18"/>
                    </a:cubicBezTo>
                    <a:cubicBezTo>
                      <a:pt x="0" y="20"/>
                      <a:pt x="3" y="21"/>
                      <a:pt x="2" y="23"/>
                    </a:cubicBezTo>
                    <a:cubicBezTo>
                      <a:pt x="1" y="24"/>
                      <a:pt x="3" y="26"/>
                      <a:pt x="4" y="25"/>
                    </a:cubicBezTo>
                    <a:cubicBezTo>
                      <a:pt x="5" y="24"/>
                      <a:pt x="5" y="23"/>
                      <a:pt x="6" y="23"/>
                    </a:cubicBezTo>
                    <a:cubicBezTo>
                      <a:pt x="6" y="23"/>
                      <a:pt x="7" y="24"/>
                      <a:pt x="7" y="23"/>
                    </a:cubicBezTo>
                    <a:cubicBezTo>
                      <a:pt x="7" y="22"/>
                      <a:pt x="5" y="21"/>
                      <a:pt x="4" y="20"/>
                    </a:cubicBezTo>
                    <a:cubicBezTo>
                      <a:pt x="3" y="18"/>
                      <a:pt x="7" y="19"/>
                      <a:pt x="7" y="19"/>
                    </a:cubicBezTo>
                    <a:cubicBezTo>
                      <a:pt x="9" y="19"/>
                      <a:pt x="10" y="17"/>
                      <a:pt x="12" y="18"/>
                    </a:cubicBezTo>
                    <a:cubicBezTo>
                      <a:pt x="14" y="19"/>
                      <a:pt x="15" y="20"/>
                      <a:pt x="17" y="21"/>
                    </a:cubicBezTo>
                    <a:cubicBezTo>
                      <a:pt x="20" y="23"/>
                      <a:pt x="19" y="17"/>
                      <a:pt x="21" y="16"/>
                    </a:cubicBezTo>
                    <a:cubicBezTo>
                      <a:pt x="21" y="16"/>
                      <a:pt x="31" y="16"/>
                      <a:pt x="31" y="14"/>
                    </a:cubicBezTo>
                    <a:cubicBezTo>
                      <a:pt x="30" y="13"/>
                      <a:pt x="27" y="15"/>
                      <a:pt x="29" y="12"/>
                    </a:cubicBezTo>
                    <a:cubicBezTo>
                      <a:pt x="30" y="11"/>
                      <a:pt x="27" y="12"/>
                      <a:pt x="28" y="10"/>
                    </a:cubicBezTo>
                    <a:cubicBezTo>
                      <a:pt x="29" y="7"/>
                      <a:pt x="28" y="11"/>
                      <a:pt x="28" y="10"/>
                    </a:cubicBezTo>
                    <a:close/>
                  </a:path>
                </a:pathLst>
              </a:custGeom>
              <a:grpFill/>
              <a:ln w="3175" cap="flat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 b="1">
                  <a:latin typeface="Calibri" panose="020F0502020204030204" pitchFamily="34" charset="0"/>
                </a:endParaRPr>
              </a:p>
            </p:txBody>
          </p:sp>
          <p:sp>
            <p:nvSpPr>
              <p:cNvPr id="521" name="Freeform 431">
                <a:extLst>
                  <a:ext uri="{FF2B5EF4-FFF2-40B4-BE49-F238E27FC236}">
                    <a16:creationId xmlns:a16="http://schemas.microsoft.com/office/drawing/2014/main" id="{E43A9898-29F5-7A0A-818C-E39CF54812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61121" y="2778517"/>
                <a:ext cx="215847" cy="181627"/>
              </a:xfrm>
              <a:custGeom>
                <a:avLst/>
                <a:gdLst>
                  <a:gd name="T0" fmla="*/ 52 w 56"/>
                  <a:gd name="T1" fmla="*/ 1 h 47"/>
                  <a:gd name="T2" fmla="*/ 51 w 56"/>
                  <a:gd name="T3" fmla="*/ 1 h 47"/>
                  <a:gd name="T4" fmla="*/ 52 w 56"/>
                  <a:gd name="T5" fmla="*/ 3 h 47"/>
                  <a:gd name="T6" fmla="*/ 49 w 56"/>
                  <a:gd name="T7" fmla="*/ 3 h 47"/>
                  <a:gd name="T8" fmla="*/ 47 w 56"/>
                  <a:gd name="T9" fmla="*/ 5 h 47"/>
                  <a:gd name="T10" fmla="*/ 45 w 56"/>
                  <a:gd name="T11" fmla="*/ 6 h 47"/>
                  <a:gd name="T12" fmla="*/ 46 w 56"/>
                  <a:gd name="T13" fmla="*/ 7 h 47"/>
                  <a:gd name="T14" fmla="*/ 46 w 56"/>
                  <a:gd name="T15" fmla="*/ 10 h 47"/>
                  <a:gd name="T16" fmla="*/ 46 w 56"/>
                  <a:gd name="T17" fmla="*/ 13 h 47"/>
                  <a:gd name="T18" fmla="*/ 41 w 56"/>
                  <a:gd name="T19" fmla="*/ 22 h 47"/>
                  <a:gd name="T20" fmla="*/ 36 w 56"/>
                  <a:gd name="T21" fmla="*/ 27 h 47"/>
                  <a:gd name="T22" fmla="*/ 31 w 56"/>
                  <a:gd name="T23" fmla="*/ 27 h 47"/>
                  <a:gd name="T24" fmla="*/ 32 w 56"/>
                  <a:gd name="T25" fmla="*/ 24 h 47"/>
                  <a:gd name="T26" fmla="*/ 30 w 56"/>
                  <a:gd name="T27" fmla="*/ 25 h 47"/>
                  <a:gd name="T28" fmla="*/ 29 w 56"/>
                  <a:gd name="T29" fmla="*/ 27 h 47"/>
                  <a:gd name="T30" fmla="*/ 25 w 56"/>
                  <a:gd name="T31" fmla="*/ 33 h 47"/>
                  <a:gd name="T32" fmla="*/ 25 w 56"/>
                  <a:gd name="T33" fmla="*/ 34 h 47"/>
                  <a:gd name="T34" fmla="*/ 23 w 56"/>
                  <a:gd name="T35" fmla="*/ 36 h 47"/>
                  <a:gd name="T36" fmla="*/ 21 w 56"/>
                  <a:gd name="T37" fmla="*/ 35 h 47"/>
                  <a:gd name="T38" fmla="*/ 17 w 56"/>
                  <a:gd name="T39" fmla="*/ 35 h 47"/>
                  <a:gd name="T40" fmla="*/ 9 w 56"/>
                  <a:gd name="T41" fmla="*/ 36 h 47"/>
                  <a:gd name="T42" fmla="*/ 2 w 56"/>
                  <a:gd name="T43" fmla="*/ 42 h 47"/>
                  <a:gd name="T44" fmla="*/ 1 w 56"/>
                  <a:gd name="T45" fmla="*/ 44 h 47"/>
                  <a:gd name="T46" fmla="*/ 3 w 56"/>
                  <a:gd name="T47" fmla="*/ 43 h 47"/>
                  <a:gd name="T48" fmla="*/ 5 w 56"/>
                  <a:gd name="T49" fmla="*/ 44 h 47"/>
                  <a:gd name="T50" fmla="*/ 22 w 56"/>
                  <a:gd name="T51" fmla="*/ 40 h 47"/>
                  <a:gd name="T52" fmla="*/ 21 w 56"/>
                  <a:gd name="T53" fmla="*/ 43 h 47"/>
                  <a:gd name="T54" fmla="*/ 24 w 56"/>
                  <a:gd name="T55" fmla="*/ 47 h 47"/>
                  <a:gd name="T56" fmla="*/ 27 w 56"/>
                  <a:gd name="T57" fmla="*/ 44 h 47"/>
                  <a:gd name="T58" fmla="*/ 30 w 56"/>
                  <a:gd name="T59" fmla="*/ 43 h 47"/>
                  <a:gd name="T60" fmla="*/ 31 w 56"/>
                  <a:gd name="T61" fmla="*/ 40 h 47"/>
                  <a:gd name="T62" fmla="*/ 38 w 56"/>
                  <a:gd name="T63" fmla="*/ 39 h 47"/>
                  <a:gd name="T64" fmla="*/ 41 w 56"/>
                  <a:gd name="T65" fmla="*/ 40 h 47"/>
                  <a:gd name="T66" fmla="*/ 43 w 56"/>
                  <a:gd name="T67" fmla="*/ 37 h 47"/>
                  <a:gd name="T68" fmla="*/ 45 w 56"/>
                  <a:gd name="T69" fmla="*/ 35 h 47"/>
                  <a:gd name="T70" fmla="*/ 46 w 56"/>
                  <a:gd name="T71" fmla="*/ 38 h 47"/>
                  <a:gd name="T72" fmla="*/ 48 w 56"/>
                  <a:gd name="T73" fmla="*/ 37 h 47"/>
                  <a:gd name="T74" fmla="*/ 49 w 56"/>
                  <a:gd name="T75" fmla="*/ 35 h 47"/>
                  <a:gd name="T76" fmla="*/ 49 w 56"/>
                  <a:gd name="T77" fmla="*/ 32 h 47"/>
                  <a:gd name="T78" fmla="*/ 51 w 56"/>
                  <a:gd name="T79" fmla="*/ 26 h 47"/>
                  <a:gd name="T80" fmla="*/ 51 w 56"/>
                  <a:gd name="T81" fmla="*/ 19 h 47"/>
                  <a:gd name="T82" fmla="*/ 53 w 56"/>
                  <a:gd name="T83" fmla="*/ 19 h 47"/>
                  <a:gd name="T84" fmla="*/ 55 w 56"/>
                  <a:gd name="T85" fmla="*/ 17 h 47"/>
                  <a:gd name="T86" fmla="*/ 55 w 56"/>
                  <a:gd name="T87" fmla="*/ 9 h 47"/>
                  <a:gd name="T88" fmla="*/ 52 w 56"/>
                  <a:gd name="T89" fmla="*/ 1 h 47"/>
                  <a:gd name="T90" fmla="*/ 52 w 56"/>
                  <a:gd name="T91" fmla="*/ 1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56" h="47">
                    <a:moveTo>
                      <a:pt x="52" y="1"/>
                    </a:moveTo>
                    <a:cubicBezTo>
                      <a:pt x="51" y="1"/>
                      <a:pt x="51" y="0"/>
                      <a:pt x="51" y="1"/>
                    </a:cubicBezTo>
                    <a:cubicBezTo>
                      <a:pt x="49" y="2"/>
                      <a:pt x="51" y="2"/>
                      <a:pt x="52" y="3"/>
                    </a:cubicBezTo>
                    <a:cubicBezTo>
                      <a:pt x="53" y="4"/>
                      <a:pt x="50" y="5"/>
                      <a:pt x="49" y="3"/>
                    </a:cubicBezTo>
                    <a:cubicBezTo>
                      <a:pt x="48" y="1"/>
                      <a:pt x="47" y="4"/>
                      <a:pt x="47" y="5"/>
                    </a:cubicBezTo>
                    <a:cubicBezTo>
                      <a:pt x="46" y="5"/>
                      <a:pt x="45" y="6"/>
                      <a:pt x="45" y="6"/>
                    </a:cubicBezTo>
                    <a:cubicBezTo>
                      <a:pt x="45" y="8"/>
                      <a:pt x="46" y="7"/>
                      <a:pt x="46" y="7"/>
                    </a:cubicBezTo>
                    <a:cubicBezTo>
                      <a:pt x="46" y="8"/>
                      <a:pt x="46" y="9"/>
                      <a:pt x="46" y="10"/>
                    </a:cubicBezTo>
                    <a:cubicBezTo>
                      <a:pt x="46" y="11"/>
                      <a:pt x="47" y="11"/>
                      <a:pt x="46" y="13"/>
                    </a:cubicBezTo>
                    <a:cubicBezTo>
                      <a:pt x="44" y="16"/>
                      <a:pt x="43" y="19"/>
                      <a:pt x="41" y="22"/>
                    </a:cubicBezTo>
                    <a:cubicBezTo>
                      <a:pt x="40" y="23"/>
                      <a:pt x="37" y="27"/>
                      <a:pt x="36" y="27"/>
                    </a:cubicBezTo>
                    <a:cubicBezTo>
                      <a:pt x="34" y="27"/>
                      <a:pt x="32" y="28"/>
                      <a:pt x="31" y="27"/>
                    </a:cubicBezTo>
                    <a:cubicBezTo>
                      <a:pt x="30" y="26"/>
                      <a:pt x="32" y="25"/>
                      <a:pt x="32" y="24"/>
                    </a:cubicBezTo>
                    <a:cubicBezTo>
                      <a:pt x="33" y="23"/>
                      <a:pt x="30" y="25"/>
                      <a:pt x="30" y="25"/>
                    </a:cubicBezTo>
                    <a:cubicBezTo>
                      <a:pt x="29" y="26"/>
                      <a:pt x="29" y="26"/>
                      <a:pt x="29" y="27"/>
                    </a:cubicBezTo>
                    <a:cubicBezTo>
                      <a:pt x="29" y="30"/>
                      <a:pt x="26" y="31"/>
                      <a:pt x="25" y="33"/>
                    </a:cubicBezTo>
                    <a:cubicBezTo>
                      <a:pt x="25" y="33"/>
                      <a:pt x="25" y="34"/>
                      <a:pt x="25" y="34"/>
                    </a:cubicBezTo>
                    <a:cubicBezTo>
                      <a:pt x="25" y="35"/>
                      <a:pt x="23" y="36"/>
                      <a:pt x="23" y="36"/>
                    </a:cubicBezTo>
                    <a:cubicBezTo>
                      <a:pt x="22" y="36"/>
                      <a:pt x="23" y="35"/>
                      <a:pt x="21" y="35"/>
                    </a:cubicBezTo>
                    <a:cubicBezTo>
                      <a:pt x="20" y="35"/>
                      <a:pt x="19" y="35"/>
                      <a:pt x="17" y="35"/>
                    </a:cubicBezTo>
                    <a:cubicBezTo>
                      <a:pt x="14" y="36"/>
                      <a:pt x="12" y="35"/>
                      <a:pt x="9" y="36"/>
                    </a:cubicBezTo>
                    <a:cubicBezTo>
                      <a:pt x="7" y="38"/>
                      <a:pt x="4" y="40"/>
                      <a:pt x="2" y="42"/>
                    </a:cubicBezTo>
                    <a:cubicBezTo>
                      <a:pt x="0" y="42"/>
                      <a:pt x="0" y="45"/>
                      <a:pt x="1" y="44"/>
                    </a:cubicBezTo>
                    <a:cubicBezTo>
                      <a:pt x="2" y="44"/>
                      <a:pt x="2" y="43"/>
                      <a:pt x="3" y="43"/>
                    </a:cubicBezTo>
                    <a:cubicBezTo>
                      <a:pt x="4" y="44"/>
                      <a:pt x="5" y="45"/>
                      <a:pt x="5" y="44"/>
                    </a:cubicBezTo>
                    <a:cubicBezTo>
                      <a:pt x="10" y="43"/>
                      <a:pt x="17" y="39"/>
                      <a:pt x="22" y="40"/>
                    </a:cubicBezTo>
                    <a:cubicBezTo>
                      <a:pt x="23" y="41"/>
                      <a:pt x="21" y="43"/>
                      <a:pt x="21" y="43"/>
                    </a:cubicBezTo>
                    <a:cubicBezTo>
                      <a:pt x="22" y="44"/>
                      <a:pt x="23" y="47"/>
                      <a:pt x="24" y="47"/>
                    </a:cubicBezTo>
                    <a:cubicBezTo>
                      <a:pt x="25" y="46"/>
                      <a:pt x="26" y="45"/>
                      <a:pt x="27" y="44"/>
                    </a:cubicBezTo>
                    <a:cubicBezTo>
                      <a:pt x="28" y="42"/>
                      <a:pt x="28" y="43"/>
                      <a:pt x="30" y="43"/>
                    </a:cubicBezTo>
                    <a:cubicBezTo>
                      <a:pt x="29" y="43"/>
                      <a:pt x="28" y="35"/>
                      <a:pt x="31" y="40"/>
                    </a:cubicBezTo>
                    <a:cubicBezTo>
                      <a:pt x="32" y="42"/>
                      <a:pt x="37" y="40"/>
                      <a:pt x="38" y="39"/>
                    </a:cubicBezTo>
                    <a:cubicBezTo>
                      <a:pt x="40" y="36"/>
                      <a:pt x="40" y="42"/>
                      <a:pt x="41" y="40"/>
                    </a:cubicBezTo>
                    <a:cubicBezTo>
                      <a:pt x="41" y="39"/>
                      <a:pt x="42" y="37"/>
                      <a:pt x="43" y="37"/>
                    </a:cubicBezTo>
                    <a:cubicBezTo>
                      <a:pt x="44" y="36"/>
                      <a:pt x="44" y="37"/>
                      <a:pt x="45" y="35"/>
                    </a:cubicBezTo>
                    <a:cubicBezTo>
                      <a:pt x="45" y="35"/>
                      <a:pt x="45" y="39"/>
                      <a:pt x="46" y="38"/>
                    </a:cubicBezTo>
                    <a:cubicBezTo>
                      <a:pt x="46" y="38"/>
                      <a:pt x="47" y="38"/>
                      <a:pt x="48" y="37"/>
                    </a:cubicBezTo>
                    <a:cubicBezTo>
                      <a:pt x="49" y="37"/>
                      <a:pt x="48" y="36"/>
                      <a:pt x="49" y="35"/>
                    </a:cubicBezTo>
                    <a:cubicBezTo>
                      <a:pt x="51" y="34"/>
                      <a:pt x="51" y="34"/>
                      <a:pt x="49" y="32"/>
                    </a:cubicBezTo>
                    <a:cubicBezTo>
                      <a:pt x="48" y="31"/>
                      <a:pt x="51" y="28"/>
                      <a:pt x="51" y="26"/>
                    </a:cubicBezTo>
                    <a:cubicBezTo>
                      <a:pt x="52" y="24"/>
                      <a:pt x="50" y="21"/>
                      <a:pt x="51" y="19"/>
                    </a:cubicBezTo>
                    <a:cubicBezTo>
                      <a:pt x="52" y="18"/>
                      <a:pt x="52" y="19"/>
                      <a:pt x="53" y="19"/>
                    </a:cubicBezTo>
                    <a:cubicBezTo>
                      <a:pt x="54" y="19"/>
                      <a:pt x="55" y="17"/>
                      <a:pt x="55" y="17"/>
                    </a:cubicBezTo>
                    <a:cubicBezTo>
                      <a:pt x="56" y="14"/>
                      <a:pt x="56" y="11"/>
                      <a:pt x="55" y="9"/>
                    </a:cubicBezTo>
                    <a:cubicBezTo>
                      <a:pt x="55" y="8"/>
                      <a:pt x="52" y="1"/>
                      <a:pt x="52" y="1"/>
                    </a:cubicBezTo>
                    <a:cubicBezTo>
                      <a:pt x="52" y="1"/>
                      <a:pt x="52" y="1"/>
                      <a:pt x="52" y="1"/>
                    </a:cubicBezTo>
                    <a:close/>
                  </a:path>
                </a:pathLst>
              </a:custGeom>
              <a:grpFill/>
              <a:ln w="3175" cap="flat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 b="1">
                  <a:latin typeface="Calibri" panose="020F0502020204030204" pitchFamily="34" charset="0"/>
                </a:endParaRPr>
              </a:p>
            </p:txBody>
          </p:sp>
        </p:grpSp>
        <p:sp>
          <p:nvSpPr>
            <p:cNvPr id="432" name="Freeform 432">
              <a:extLst>
                <a:ext uri="{FF2B5EF4-FFF2-40B4-BE49-F238E27FC236}">
                  <a16:creationId xmlns:a16="http://schemas.microsoft.com/office/drawing/2014/main" id="{9C964642-A021-A05A-1F00-B2975FFE6B95}"/>
                </a:ext>
              </a:extLst>
            </p:cNvPr>
            <p:cNvSpPr>
              <a:spLocks/>
            </p:cNvSpPr>
            <p:nvPr/>
          </p:nvSpPr>
          <p:spPr bwMode="auto">
            <a:xfrm>
              <a:off x="9301444" y="3329111"/>
              <a:ext cx="10730" cy="15139"/>
            </a:xfrm>
            <a:custGeom>
              <a:avLst/>
              <a:gdLst>
                <a:gd name="T0" fmla="*/ 2 w 2"/>
                <a:gd name="T1" fmla="*/ 0 h 3"/>
                <a:gd name="T2" fmla="*/ 0 w 2"/>
                <a:gd name="T3" fmla="*/ 1 h 3"/>
                <a:gd name="T4" fmla="*/ 2 w 2"/>
                <a:gd name="T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cubicBezTo>
                    <a:pt x="2" y="0"/>
                    <a:pt x="0" y="1"/>
                    <a:pt x="0" y="1"/>
                  </a:cubicBezTo>
                  <a:cubicBezTo>
                    <a:pt x="1" y="3"/>
                    <a:pt x="2" y="1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33" name="Freeform 433">
              <a:extLst>
                <a:ext uri="{FF2B5EF4-FFF2-40B4-BE49-F238E27FC236}">
                  <a16:creationId xmlns:a16="http://schemas.microsoft.com/office/drawing/2014/main" id="{AE2710E4-BB99-F5B3-3699-AAFE49DDCF6B}"/>
                </a:ext>
              </a:extLst>
            </p:cNvPr>
            <p:cNvSpPr>
              <a:spLocks/>
            </p:cNvSpPr>
            <p:nvPr/>
          </p:nvSpPr>
          <p:spPr bwMode="auto">
            <a:xfrm>
              <a:off x="9238855" y="3329111"/>
              <a:ext cx="67953" cy="54878"/>
            </a:xfrm>
            <a:custGeom>
              <a:avLst/>
              <a:gdLst>
                <a:gd name="T0" fmla="*/ 11 w 13"/>
                <a:gd name="T1" fmla="*/ 2 h 10"/>
                <a:gd name="T2" fmla="*/ 7 w 13"/>
                <a:gd name="T3" fmla="*/ 2 h 10"/>
                <a:gd name="T4" fmla="*/ 5 w 13"/>
                <a:gd name="T5" fmla="*/ 3 h 10"/>
                <a:gd name="T6" fmla="*/ 3 w 13"/>
                <a:gd name="T7" fmla="*/ 4 h 10"/>
                <a:gd name="T8" fmla="*/ 0 w 13"/>
                <a:gd name="T9" fmla="*/ 6 h 10"/>
                <a:gd name="T10" fmla="*/ 3 w 13"/>
                <a:gd name="T11" fmla="*/ 9 h 10"/>
                <a:gd name="T12" fmla="*/ 6 w 13"/>
                <a:gd name="T13" fmla="*/ 6 h 10"/>
                <a:gd name="T14" fmla="*/ 10 w 13"/>
                <a:gd name="T15" fmla="*/ 6 h 10"/>
                <a:gd name="T16" fmla="*/ 11 w 13"/>
                <a:gd name="T17" fmla="*/ 2 h 10"/>
                <a:gd name="T18" fmla="*/ 11 w 13"/>
                <a:gd name="T19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10">
                  <a:moveTo>
                    <a:pt x="11" y="2"/>
                  </a:moveTo>
                  <a:cubicBezTo>
                    <a:pt x="9" y="2"/>
                    <a:pt x="9" y="0"/>
                    <a:pt x="7" y="2"/>
                  </a:cubicBezTo>
                  <a:cubicBezTo>
                    <a:pt x="6" y="2"/>
                    <a:pt x="5" y="4"/>
                    <a:pt x="5" y="3"/>
                  </a:cubicBezTo>
                  <a:cubicBezTo>
                    <a:pt x="4" y="2"/>
                    <a:pt x="3" y="4"/>
                    <a:pt x="3" y="4"/>
                  </a:cubicBezTo>
                  <a:cubicBezTo>
                    <a:pt x="2" y="6"/>
                    <a:pt x="1" y="5"/>
                    <a:pt x="0" y="6"/>
                  </a:cubicBezTo>
                  <a:cubicBezTo>
                    <a:pt x="0" y="5"/>
                    <a:pt x="2" y="9"/>
                    <a:pt x="3" y="9"/>
                  </a:cubicBezTo>
                  <a:cubicBezTo>
                    <a:pt x="3" y="10"/>
                    <a:pt x="5" y="6"/>
                    <a:pt x="6" y="6"/>
                  </a:cubicBezTo>
                  <a:cubicBezTo>
                    <a:pt x="7" y="6"/>
                    <a:pt x="9" y="7"/>
                    <a:pt x="10" y="6"/>
                  </a:cubicBezTo>
                  <a:cubicBezTo>
                    <a:pt x="11" y="6"/>
                    <a:pt x="13" y="3"/>
                    <a:pt x="11" y="2"/>
                  </a:cubicBezTo>
                  <a:cubicBezTo>
                    <a:pt x="10" y="2"/>
                    <a:pt x="11" y="2"/>
                    <a:pt x="11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34" name="Freeform 434">
              <a:extLst>
                <a:ext uri="{FF2B5EF4-FFF2-40B4-BE49-F238E27FC236}">
                  <a16:creationId xmlns:a16="http://schemas.microsoft.com/office/drawing/2014/main" id="{2EEF7087-92A3-A138-D78F-B3A261EF077D}"/>
                </a:ext>
              </a:extLst>
            </p:cNvPr>
            <p:cNvSpPr>
              <a:spLocks/>
            </p:cNvSpPr>
            <p:nvPr/>
          </p:nvSpPr>
          <p:spPr bwMode="auto">
            <a:xfrm>
              <a:off x="9170901" y="3349928"/>
              <a:ext cx="57223" cy="88941"/>
            </a:xfrm>
            <a:custGeom>
              <a:avLst/>
              <a:gdLst>
                <a:gd name="T0" fmla="*/ 7 w 11"/>
                <a:gd name="T1" fmla="*/ 0 h 16"/>
                <a:gd name="T2" fmla="*/ 2 w 11"/>
                <a:gd name="T3" fmla="*/ 2 h 16"/>
                <a:gd name="T4" fmla="*/ 0 w 11"/>
                <a:gd name="T5" fmla="*/ 6 h 16"/>
                <a:gd name="T6" fmla="*/ 2 w 11"/>
                <a:gd name="T7" fmla="*/ 6 h 16"/>
                <a:gd name="T8" fmla="*/ 3 w 11"/>
                <a:gd name="T9" fmla="*/ 4 h 16"/>
                <a:gd name="T10" fmla="*/ 4 w 11"/>
                <a:gd name="T11" fmla="*/ 5 h 16"/>
                <a:gd name="T12" fmla="*/ 3 w 11"/>
                <a:gd name="T13" fmla="*/ 10 h 16"/>
                <a:gd name="T14" fmla="*/ 3 w 11"/>
                <a:gd name="T15" fmla="*/ 11 h 16"/>
                <a:gd name="T16" fmla="*/ 3 w 11"/>
                <a:gd name="T17" fmla="*/ 13 h 16"/>
                <a:gd name="T18" fmla="*/ 5 w 11"/>
                <a:gd name="T19" fmla="*/ 12 h 16"/>
                <a:gd name="T20" fmla="*/ 6 w 11"/>
                <a:gd name="T21" fmla="*/ 15 h 16"/>
                <a:gd name="T22" fmla="*/ 8 w 11"/>
                <a:gd name="T23" fmla="*/ 12 h 16"/>
                <a:gd name="T24" fmla="*/ 11 w 11"/>
                <a:gd name="T25" fmla="*/ 7 h 16"/>
                <a:gd name="T26" fmla="*/ 10 w 11"/>
                <a:gd name="T27" fmla="*/ 2 h 16"/>
                <a:gd name="T28" fmla="*/ 7 w 11"/>
                <a:gd name="T2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" h="16">
                  <a:moveTo>
                    <a:pt x="7" y="0"/>
                  </a:moveTo>
                  <a:cubicBezTo>
                    <a:pt x="5" y="0"/>
                    <a:pt x="3" y="1"/>
                    <a:pt x="2" y="2"/>
                  </a:cubicBezTo>
                  <a:cubicBezTo>
                    <a:pt x="0" y="3"/>
                    <a:pt x="0" y="4"/>
                    <a:pt x="0" y="6"/>
                  </a:cubicBezTo>
                  <a:cubicBezTo>
                    <a:pt x="0" y="5"/>
                    <a:pt x="3" y="5"/>
                    <a:pt x="2" y="6"/>
                  </a:cubicBezTo>
                  <a:cubicBezTo>
                    <a:pt x="3" y="5"/>
                    <a:pt x="2" y="4"/>
                    <a:pt x="3" y="4"/>
                  </a:cubicBezTo>
                  <a:cubicBezTo>
                    <a:pt x="3" y="4"/>
                    <a:pt x="4" y="4"/>
                    <a:pt x="4" y="5"/>
                  </a:cubicBezTo>
                  <a:cubicBezTo>
                    <a:pt x="4" y="7"/>
                    <a:pt x="4" y="8"/>
                    <a:pt x="3" y="10"/>
                  </a:cubicBezTo>
                  <a:cubicBezTo>
                    <a:pt x="2" y="11"/>
                    <a:pt x="3" y="11"/>
                    <a:pt x="3" y="11"/>
                  </a:cubicBezTo>
                  <a:cubicBezTo>
                    <a:pt x="3" y="12"/>
                    <a:pt x="3" y="13"/>
                    <a:pt x="3" y="13"/>
                  </a:cubicBezTo>
                  <a:cubicBezTo>
                    <a:pt x="3" y="16"/>
                    <a:pt x="5" y="12"/>
                    <a:pt x="5" y="12"/>
                  </a:cubicBezTo>
                  <a:cubicBezTo>
                    <a:pt x="5" y="12"/>
                    <a:pt x="5" y="15"/>
                    <a:pt x="6" y="15"/>
                  </a:cubicBezTo>
                  <a:cubicBezTo>
                    <a:pt x="6" y="16"/>
                    <a:pt x="8" y="13"/>
                    <a:pt x="8" y="12"/>
                  </a:cubicBezTo>
                  <a:cubicBezTo>
                    <a:pt x="10" y="10"/>
                    <a:pt x="10" y="8"/>
                    <a:pt x="11" y="7"/>
                  </a:cubicBezTo>
                  <a:cubicBezTo>
                    <a:pt x="11" y="5"/>
                    <a:pt x="10" y="4"/>
                    <a:pt x="10" y="2"/>
                  </a:cubicBezTo>
                  <a:cubicBezTo>
                    <a:pt x="10" y="0"/>
                    <a:pt x="7" y="2"/>
                    <a:pt x="7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35" name="Freeform 435">
              <a:extLst>
                <a:ext uri="{FF2B5EF4-FFF2-40B4-BE49-F238E27FC236}">
                  <a16:creationId xmlns:a16="http://schemas.microsoft.com/office/drawing/2014/main" id="{704184A4-66EB-F470-AFBB-1C4D90F25560}"/>
                </a:ext>
              </a:extLst>
            </p:cNvPr>
            <p:cNvSpPr>
              <a:spLocks/>
            </p:cNvSpPr>
            <p:nvPr/>
          </p:nvSpPr>
          <p:spPr bwMode="auto">
            <a:xfrm>
              <a:off x="9113678" y="3567551"/>
              <a:ext cx="19671" cy="17031"/>
            </a:xfrm>
            <a:custGeom>
              <a:avLst/>
              <a:gdLst>
                <a:gd name="T0" fmla="*/ 4 w 4"/>
                <a:gd name="T1" fmla="*/ 0 h 3"/>
                <a:gd name="T2" fmla="*/ 1 w 4"/>
                <a:gd name="T3" fmla="*/ 3 h 3"/>
                <a:gd name="T4" fmla="*/ 4 w 4"/>
                <a:gd name="T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3">
                  <a:moveTo>
                    <a:pt x="4" y="0"/>
                  </a:moveTo>
                  <a:cubicBezTo>
                    <a:pt x="3" y="0"/>
                    <a:pt x="0" y="1"/>
                    <a:pt x="1" y="3"/>
                  </a:cubicBezTo>
                  <a:cubicBezTo>
                    <a:pt x="1" y="3"/>
                    <a:pt x="4" y="0"/>
                    <a:pt x="4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36" name="Freeform 436">
              <a:extLst>
                <a:ext uri="{FF2B5EF4-FFF2-40B4-BE49-F238E27FC236}">
                  <a16:creationId xmlns:a16="http://schemas.microsoft.com/office/drawing/2014/main" id="{C0A99834-16EE-0DB8-214A-D70D6F38B1FC}"/>
                </a:ext>
              </a:extLst>
            </p:cNvPr>
            <p:cNvSpPr>
              <a:spLocks/>
            </p:cNvSpPr>
            <p:nvPr/>
          </p:nvSpPr>
          <p:spPr bwMode="auto">
            <a:xfrm>
              <a:off x="9160172" y="3512671"/>
              <a:ext cx="10730" cy="9462"/>
            </a:xfrm>
            <a:custGeom>
              <a:avLst/>
              <a:gdLst>
                <a:gd name="T0" fmla="*/ 2 w 2"/>
                <a:gd name="T1" fmla="*/ 0 h 2"/>
                <a:gd name="T2" fmla="*/ 0 w 2"/>
                <a:gd name="T3" fmla="*/ 1 h 2"/>
                <a:gd name="T4" fmla="*/ 2 w 2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cubicBezTo>
                    <a:pt x="1" y="0"/>
                    <a:pt x="0" y="1"/>
                    <a:pt x="0" y="1"/>
                  </a:cubicBezTo>
                  <a:cubicBezTo>
                    <a:pt x="0" y="2"/>
                    <a:pt x="2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37" name="Freeform 437">
              <a:extLst>
                <a:ext uri="{FF2B5EF4-FFF2-40B4-BE49-F238E27FC236}">
                  <a16:creationId xmlns:a16="http://schemas.microsoft.com/office/drawing/2014/main" id="{9130D567-376F-EAE1-C487-D42DD6E3237D}"/>
                </a:ext>
              </a:extLst>
            </p:cNvPr>
            <p:cNvSpPr>
              <a:spLocks/>
            </p:cNvSpPr>
            <p:nvPr/>
          </p:nvSpPr>
          <p:spPr bwMode="auto">
            <a:xfrm>
              <a:off x="9018900" y="3628106"/>
              <a:ext cx="10730" cy="5677"/>
            </a:xfrm>
            <a:custGeom>
              <a:avLst/>
              <a:gdLst>
                <a:gd name="T0" fmla="*/ 2 w 2"/>
                <a:gd name="T1" fmla="*/ 0 h 1"/>
                <a:gd name="T2" fmla="*/ 1 w 2"/>
                <a:gd name="T3" fmla="*/ 1 h 1"/>
                <a:gd name="T4" fmla="*/ 2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2" y="1"/>
                    <a:pt x="2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38" name="Freeform 438">
              <a:extLst>
                <a:ext uri="{FF2B5EF4-FFF2-40B4-BE49-F238E27FC236}">
                  <a16:creationId xmlns:a16="http://schemas.microsoft.com/office/drawing/2014/main" id="{CE2ADF6A-5D33-1D0E-3DD5-220F0E62742A}"/>
                </a:ext>
              </a:extLst>
            </p:cNvPr>
            <p:cNvSpPr>
              <a:spLocks/>
            </p:cNvSpPr>
            <p:nvPr/>
          </p:nvSpPr>
          <p:spPr bwMode="auto">
            <a:xfrm>
              <a:off x="8918760" y="3607289"/>
              <a:ext cx="62589" cy="92726"/>
            </a:xfrm>
            <a:custGeom>
              <a:avLst/>
              <a:gdLst>
                <a:gd name="T0" fmla="*/ 8 w 12"/>
                <a:gd name="T1" fmla="*/ 1 h 17"/>
                <a:gd name="T2" fmla="*/ 0 w 12"/>
                <a:gd name="T3" fmla="*/ 8 h 17"/>
                <a:gd name="T4" fmla="*/ 1 w 12"/>
                <a:gd name="T5" fmla="*/ 14 h 17"/>
                <a:gd name="T6" fmla="*/ 3 w 12"/>
                <a:gd name="T7" fmla="*/ 17 h 17"/>
                <a:gd name="T8" fmla="*/ 8 w 12"/>
                <a:gd name="T9" fmla="*/ 1 h 17"/>
                <a:gd name="T10" fmla="*/ 8 w 12"/>
                <a:gd name="T11" fmla="*/ 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7">
                  <a:moveTo>
                    <a:pt x="8" y="1"/>
                  </a:moveTo>
                  <a:cubicBezTo>
                    <a:pt x="5" y="0"/>
                    <a:pt x="1" y="6"/>
                    <a:pt x="0" y="8"/>
                  </a:cubicBezTo>
                  <a:cubicBezTo>
                    <a:pt x="0" y="10"/>
                    <a:pt x="0" y="12"/>
                    <a:pt x="1" y="14"/>
                  </a:cubicBezTo>
                  <a:cubicBezTo>
                    <a:pt x="1" y="14"/>
                    <a:pt x="3" y="17"/>
                    <a:pt x="3" y="17"/>
                  </a:cubicBezTo>
                  <a:cubicBezTo>
                    <a:pt x="4" y="15"/>
                    <a:pt x="12" y="2"/>
                    <a:pt x="8" y="1"/>
                  </a:cubicBezTo>
                  <a:cubicBezTo>
                    <a:pt x="7" y="1"/>
                    <a:pt x="9" y="1"/>
                    <a:pt x="8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39" name="Freeform 439">
              <a:extLst>
                <a:ext uri="{FF2B5EF4-FFF2-40B4-BE49-F238E27FC236}">
                  <a16:creationId xmlns:a16="http://schemas.microsoft.com/office/drawing/2014/main" id="{8F30026A-75C0-5549-180E-AA74E31DE11E}"/>
                </a:ext>
              </a:extLst>
            </p:cNvPr>
            <p:cNvSpPr>
              <a:spLocks/>
            </p:cNvSpPr>
            <p:nvPr/>
          </p:nvSpPr>
          <p:spPr bwMode="auto">
            <a:xfrm>
              <a:off x="8609391" y="3762463"/>
              <a:ext cx="73319" cy="54878"/>
            </a:xfrm>
            <a:custGeom>
              <a:avLst/>
              <a:gdLst>
                <a:gd name="T0" fmla="*/ 13 w 14"/>
                <a:gd name="T1" fmla="*/ 1 h 10"/>
                <a:gd name="T2" fmla="*/ 9 w 14"/>
                <a:gd name="T3" fmla="*/ 0 h 10"/>
                <a:gd name="T4" fmla="*/ 4 w 14"/>
                <a:gd name="T5" fmla="*/ 2 h 10"/>
                <a:gd name="T6" fmla="*/ 4 w 14"/>
                <a:gd name="T7" fmla="*/ 9 h 10"/>
                <a:gd name="T8" fmla="*/ 11 w 14"/>
                <a:gd name="T9" fmla="*/ 6 h 10"/>
                <a:gd name="T10" fmla="*/ 13 w 14"/>
                <a:gd name="T11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10">
                  <a:moveTo>
                    <a:pt x="13" y="1"/>
                  </a:moveTo>
                  <a:cubicBezTo>
                    <a:pt x="12" y="1"/>
                    <a:pt x="11" y="0"/>
                    <a:pt x="9" y="0"/>
                  </a:cubicBezTo>
                  <a:cubicBezTo>
                    <a:pt x="7" y="0"/>
                    <a:pt x="6" y="1"/>
                    <a:pt x="4" y="2"/>
                  </a:cubicBezTo>
                  <a:cubicBezTo>
                    <a:pt x="2" y="4"/>
                    <a:pt x="0" y="7"/>
                    <a:pt x="4" y="9"/>
                  </a:cubicBezTo>
                  <a:cubicBezTo>
                    <a:pt x="6" y="10"/>
                    <a:pt x="10" y="8"/>
                    <a:pt x="11" y="6"/>
                  </a:cubicBezTo>
                  <a:cubicBezTo>
                    <a:pt x="11" y="5"/>
                    <a:pt x="14" y="1"/>
                    <a:pt x="13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40" name="Freeform 440">
              <a:extLst>
                <a:ext uri="{FF2B5EF4-FFF2-40B4-BE49-F238E27FC236}">
                  <a16:creationId xmlns:a16="http://schemas.microsoft.com/office/drawing/2014/main" id="{33FD0963-C64E-2776-472F-3D0BEC820260}"/>
                </a:ext>
              </a:extLst>
            </p:cNvPr>
            <p:cNvSpPr>
              <a:spLocks/>
            </p:cNvSpPr>
            <p:nvPr/>
          </p:nvSpPr>
          <p:spPr bwMode="auto">
            <a:xfrm>
              <a:off x="8908030" y="3800311"/>
              <a:ext cx="105506" cy="157066"/>
            </a:xfrm>
            <a:custGeom>
              <a:avLst/>
              <a:gdLst>
                <a:gd name="T0" fmla="*/ 12 w 20"/>
                <a:gd name="T1" fmla="*/ 2 h 28"/>
                <a:gd name="T2" fmla="*/ 9 w 20"/>
                <a:gd name="T3" fmla="*/ 2 h 28"/>
                <a:gd name="T4" fmla="*/ 4 w 20"/>
                <a:gd name="T5" fmla="*/ 3 h 28"/>
                <a:gd name="T6" fmla="*/ 3 w 20"/>
                <a:gd name="T7" fmla="*/ 11 h 28"/>
                <a:gd name="T8" fmla="*/ 3 w 20"/>
                <a:gd name="T9" fmla="*/ 13 h 28"/>
                <a:gd name="T10" fmla="*/ 0 w 20"/>
                <a:gd name="T11" fmla="*/ 13 h 28"/>
                <a:gd name="T12" fmla="*/ 3 w 20"/>
                <a:gd name="T13" fmla="*/ 22 h 28"/>
                <a:gd name="T14" fmla="*/ 5 w 20"/>
                <a:gd name="T15" fmla="*/ 20 h 28"/>
                <a:gd name="T16" fmla="*/ 7 w 20"/>
                <a:gd name="T17" fmla="*/ 22 h 28"/>
                <a:gd name="T18" fmla="*/ 4 w 20"/>
                <a:gd name="T19" fmla="*/ 23 h 28"/>
                <a:gd name="T20" fmla="*/ 8 w 20"/>
                <a:gd name="T21" fmla="*/ 26 h 28"/>
                <a:gd name="T22" fmla="*/ 11 w 20"/>
                <a:gd name="T23" fmla="*/ 25 h 28"/>
                <a:gd name="T24" fmla="*/ 15 w 20"/>
                <a:gd name="T25" fmla="*/ 28 h 28"/>
                <a:gd name="T26" fmla="*/ 14 w 20"/>
                <a:gd name="T27" fmla="*/ 25 h 28"/>
                <a:gd name="T28" fmla="*/ 17 w 20"/>
                <a:gd name="T29" fmla="*/ 24 h 28"/>
                <a:gd name="T30" fmla="*/ 10 w 20"/>
                <a:gd name="T31" fmla="*/ 22 h 28"/>
                <a:gd name="T32" fmla="*/ 9 w 20"/>
                <a:gd name="T33" fmla="*/ 16 h 28"/>
                <a:gd name="T34" fmla="*/ 12 w 20"/>
                <a:gd name="T35" fmla="*/ 12 h 28"/>
                <a:gd name="T36" fmla="*/ 13 w 20"/>
                <a:gd name="T37" fmla="*/ 7 h 28"/>
                <a:gd name="T38" fmla="*/ 12 w 20"/>
                <a:gd name="T39" fmla="*/ 2 h 28"/>
                <a:gd name="T40" fmla="*/ 12 w 20"/>
                <a:gd name="T41" fmla="*/ 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0" h="28">
                  <a:moveTo>
                    <a:pt x="12" y="2"/>
                  </a:moveTo>
                  <a:cubicBezTo>
                    <a:pt x="10" y="1"/>
                    <a:pt x="11" y="5"/>
                    <a:pt x="9" y="2"/>
                  </a:cubicBezTo>
                  <a:cubicBezTo>
                    <a:pt x="8" y="0"/>
                    <a:pt x="4" y="1"/>
                    <a:pt x="4" y="3"/>
                  </a:cubicBezTo>
                  <a:cubicBezTo>
                    <a:pt x="3" y="6"/>
                    <a:pt x="4" y="8"/>
                    <a:pt x="3" y="11"/>
                  </a:cubicBezTo>
                  <a:cubicBezTo>
                    <a:pt x="3" y="12"/>
                    <a:pt x="3" y="13"/>
                    <a:pt x="3" y="13"/>
                  </a:cubicBezTo>
                  <a:cubicBezTo>
                    <a:pt x="2" y="14"/>
                    <a:pt x="0" y="13"/>
                    <a:pt x="0" y="13"/>
                  </a:cubicBezTo>
                  <a:cubicBezTo>
                    <a:pt x="0" y="13"/>
                    <a:pt x="2" y="22"/>
                    <a:pt x="3" y="22"/>
                  </a:cubicBezTo>
                  <a:cubicBezTo>
                    <a:pt x="3" y="22"/>
                    <a:pt x="4" y="19"/>
                    <a:pt x="5" y="20"/>
                  </a:cubicBezTo>
                  <a:cubicBezTo>
                    <a:pt x="5" y="20"/>
                    <a:pt x="7" y="21"/>
                    <a:pt x="7" y="22"/>
                  </a:cubicBezTo>
                  <a:cubicBezTo>
                    <a:pt x="7" y="23"/>
                    <a:pt x="4" y="21"/>
                    <a:pt x="4" y="23"/>
                  </a:cubicBezTo>
                  <a:cubicBezTo>
                    <a:pt x="4" y="25"/>
                    <a:pt x="6" y="27"/>
                    <a:pt x="8" y="26"/>
                  </a:cubicBezTo>
                  <a:cubicBezTo>
                    <a:pt x="9" y="26"/>
                    <a:pt x="10" y="24"/>
                    <a:pt x="11" y="25"/>
                  </a:cubicBezTo>
                  <a:cubicBezTo>
                    <a:pt x="11" y="25"/>
                    <a:pt x="15" y="28"/>
                    <a:pt x="15" y="28"/>
                  </a:cubicBezTo>
                  <a:cubicBezTo>
                    <a:pt x="16" y="27"/>
                    <a:pt x="13" y="26"/>
                    <a:pt x="14" y="25"/>
                  </a:cubicBezTo>
                  <a:cubicBezTo>
                    <a:pt x="13" y="26"/>
                    <a:pt x="20" y="28"/>
                    <a:pt x="17" y="24"/>
                  </a:cubicBezTo>
                  <a:cubicBezTo>
                    <a:pt x="15" y="22"/>
                    <a:pt x="11" y="25"/>
                    <a:pt x="10" y="22"/>
                  </a:cubicBezTo>
                  <a:cubicBezTo>
                    <a:pt x="9" y="20"/>
                    <a:pt x="9" y="19"/>
                    <a:pt x="9" y="16"/>
                  </a:cubicBezTo>
                  <a:cubicBezTo>
                    <a:pt x="9" y="14"/>
                    <a:pt x="11" y="14"/>
                    <a:pt x="12" y="12"/>
                  </a:cubicBezTo>
                  <a:cubicBezTo>
                    <a:pt x="14" y="10"/>
                    <a:pt x="14" y="9"/>
                    <a:pt x="13" y="7"/>
                  </a:cubicBezTo>
                  <a:cubicBezTo>
                    <a:pt x="13" y="7"/>
                    <a:pt x="13" y="2"/>
                    <a:pt x="12" y="2"/>
                  </a:cubicBezTo>
                  <a:cubicBezTo>
                    <a:pt x="11" y="2"/>
                    <a:pt x="13" y="2"/>
                    <a:pt x="12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41" name="Freeform 441">
              <a:extLst>
                <a:ext uri="{FF2B5EF4-FFF2-40B4-BE49-F238E27FC236}">
                  <a16:creationId xmlns:a16="http://schemas.microsoft.com/office/drawing/2014/main" id="{51A3CF49-59A8-1FFA-33FB-AFC01D0B4BBB}"/>
                </a:ext>
              </a:extLst>
            </p:cNvPr>
            <p:cNvSpPr>
              <a:spLocks/>
            </p:cNvSpPr>
            <p:nvPr/>
          </p:nvSpPr>
          <p:spPr bwMode="auto">
            <a:xfrm>
              <a:off x="8997442" y="3934668"/>
              <a:ext cx="32188" cy="43525"/>
            </a:xfrm>
            <a:custGeom>
              <a:avLst/>
              <a:gdLst>
                <a:gd name="T0" fmla="*/ 3 w 6"/>
                <a:gd name="T1" fmla="*/ 1 h 8"/>
                <a:gd name="T2" fmla="*/ 1 w 6"/>
                <a:gd name="T3" fmla="*/ 1 h 8"/>
                <a:gd name="T4" fmla="*/ 0 w 6"/>
                <a:gd name="T5" fmla="*/ 3 h 8"/>
                <a:gd name="T6" fmla="*/ 2 w 6"/>
                <a:gd name="T7" fmla="*/ 6 h 8"/>
                <a:gd name="T8" fmla="*/ 5 w 6"/>
                <a:gd name="T9" fmla="*/ 7 h 8"/>
                <a:gd name="T10" fmla="*/ 4 w 6"/>
                <a:gd name="T11" fmla="*/ 4 h 8"/>
                <a:gd name="T12" fmla="*/ 3 w 6"/>
                <a:gd name="T13" fmla="*/ 1 h 8"/>
                <a:gd name="T14" fmla="*/ 3 w 6"/>
                <a:gd name="T15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8">
                  <a:moveTo>
                    <a:pt x="3" y="1"/>
                  </a:moveTo>
                  <a:cubicBezTo>
                    <a:pt x="3" y="1"/>
                    <a:pt x="2" y="0"/>
                    <a:pt x="1" y="1"/>
                  </a:cubicBezTo>
                  <a:cubicBezTo>
                    <a:pt x="1" y="2"/>
                    <a:pt x="0" y="2"/>
                    <a:pt x="0" y="3"/>
                  </a:cubicBezTo>
                  <a:cubicBezTo>
                    <a:pt x="1" y="4"/>
                    <a:pt x="0" y="5"/>
                    <a:pt x="2" y="6"/>
                  </a:cubicBezTo>
                  <a:cubicBezTo>
                    <a:pt x="2" y="6"/>
                    <a:pt x="6" y="8"/>
                    <a:pt x="5" y="7"/>
                  </a:cubicBezTo>
                  <a:cubicBezTo>
                    <a:pt x="5" y="6"/>
                    <a:pt x="5" y="5"/>
                    <a:pt x="4" y="4"/>
                  </a:cubicBezTo>
                  <a:cubicBezTo>
                    <a:pt x="2" y="4"/>
                    <a:pt x="2" y="1"/>
                    <a:pt x="3" y="1"/>
                  </a:cubicBezTo>
                  <a:cubicBezTo>
                    <a:pt x="2" y="1"/>
                    <a:pt x="4" y="1"/>
                    <a:pt x="3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42" name="Freeform 442">
              <a:extLst>
                <a:ext uri="{FF2B5EF4-FFF2-40B4-BE49-F238E27FC236}">
                  <a16:creationId xmlns:a16="http://schemas.microsoft.com/office/drawing/2014/main" id="{3CAC5F99-7282-274E-F087-B2962A97BB66}"/>
                </a:ext>
              </a:extLst>
            </p:cNvPr>
            <p:cNvSpPr>
              <a:spLocks/>
            </p:cNvSpPr>
            <p:nvPr/>
          </p:nvSpPr>
          <p:spPr bwMode="auto">
            <a:xfrm>
              <a:off x="9018900" y="3972515"/>
              <a:ext cx="51859" cy="73803"/>
            </a:xfrm>
            <a:custGeom>
              <a:avLst/>
              <a:gdLst>
                <a:gd name="T0" fmla="*/ 4 w 10"/>
                <a:gd name="T1" fmla="*/ 0 h 13"/>
                <a:gd name="T2" fmla="*/ 2 w 10"/>
                <a:gd name="T3" fmla="*/ 1 h 13"/>
                <a:gd name="T4" fmla="*/ 4 w 10"/>
                <a:gd name="T5" fmla="*/ 4 h 13"/>
                <a:gd name="T6" fmla="*/ 4 w 10"/>
                <a:gd name="T7" fmla="*/ 9 h 13"/>
                <a:gd name="T8" fmla="*/ 5 w 10"/>
                <a:gd name="T9" fmla="*/ 13 h 13"/>
                <a:gd name="T10" fmla="*/ 5 w 10"/>
                <a:gd name="T11" fmla="*/ 11 h 13"/>
                <a:gd name="T12" fmla="*/ 9 w 10"/>
                <a:gd name="T13" fmla="*/ 8 h 13"/>
                <a:gd name="T14" fmla="*/ 8 w 10"/>
                <a:gd name="T15" fmla="*/ 6 h 13"/>
                <a:gd name="T16" fmla="*/ 9 w 10"/>
                <a:gd name="T17" fmla="*/ 5 h 13"/>
                <a:gd name="T18" fmla="*/ 7 w 10"/>
                <a:gd name="T19" fmla="*/ 1 h 13"/>
                <a:gd name="T20" fmla="*/ 4 w 10"/>
                <a:gd name="T21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13">
                  <a:moveTo>
                    <a:pt x="4" y="0"/>
                  </a:moveTo>
                  <a:cubicBezTo>
                    <a:pt x="3" y="0"/>
                    <a:pt x="4" y="0"/>
                    <a:pt x="2" y="1"/>
                  </a:cubicBezTo>
                  <a:cubicBezTo>
                    <a:pt x="1" y="2"/>
                    <a:pt x="3" y="3"/>
                    <a:pt x="4" y="4"/>
                  </a:cubicBezTo>
                  <a:cubicBezTo>
                    <a:pt x="5" y="6"/>
                    <a:pt x="0" y="7"/>
                    <a:pt x="4" y="9"/>
                  </a:cubicBezTo>
                  <a:cubicBezTo>
                    <a:pt x="5" y="10"/>
                    <a:pt x="3" y="12"/>
                    <a:pt x="5" y="13"/>
                  </a:cubicBezTo>
                  <a:cubicBezTo>
                    <a:pt x="6" y="13"/>
                    <a:pt x="6" y="12"/>
                    <a:pt x="5" y="11"/>
                  </a:cubicBezTo>
                  <a:cubicBezTo>
                    <a:pt x="3" y="5"/>
                    <a:pt x="9" y="10"/>
                    <a:pt x="9" y="8"/>
                  </a:cubicBezTo>
                  <a:cubicBezTo>
                    <a:pt x="9" y="7"/>
                    <a:pt x="7" y="6"/>
                    <a:pt x="8" y="6"/>
                  </a:cubicBezTo>
                  <a:cubicBezTo>
                    <a:pt x="8" y="5"/>
                    <a:pt x="10" y="6"/>
                    <a:pt x="9" y="5"/>
                  </a:cubicBezTo>
                  <a:cubicBezTo>
                    <a:pt x="8" y="4"/>
                    <a:pt x="6" y="3"/>
                    <a:pt x="7" y="1"/>
                  </a:cubicBezTo>
                  <a:cubicBezTo>
                    <a:pt x="7" y="0"/>
                    <a:pt x="5" y="0"/>
                    <a:pt x="4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43" name="Freeform 443">
              <a:extLst>
                <a:ext uri="{FF2B5EF4-FFF2-40B4-BE49-F238E27FC236}">
                  <a16:creationId xmlns:a16="http://schemas.microsoft.com/office/drawing/2014/main" id="{C17C889D-26A4-F3A3-57A2-A786AD1D32F4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4122" y="3940346"/>
              <a:ext cx="32188" cy="43525"/>
            </a:xfrm>
            <a:custGeom>
              <a:avLst/>
              <a:gdLst>
                <a:gd name="T0" fmla="*/ 6 w 6"/>
                <a:gd name="T1" fmla="*/ 5 h 8"/>
                <a:gd name="T2" fmla="*/ 0 w 6"/>
                <a:gd name="T3" fmla="*/ 2 h 8"/>
                <a:gd name="T4" fmla="*/ 3 w 6"/>
                <a:gd name="T5" fmla="*/ 6 h 8"/>
                <a:gd name="T6" fmla="*/ 6 w 6"/>
                <a:gd name="T7" fmla="*/ 5 h 8"/>
                <a:gd name="T8" fmla="*/ 6 w 6"/>
                <a:gd name="T9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">
                  <a:moveTo>
                    <a:pt x="6" y="5"/>
                  </a:moveTo>
                  <a:cubicBezTo>
                    <a:pt x="5" y="4"/>
                    <a:pt x="3" y="0"/>
                    <a:pt x="0" y="2"/>
                  </a:cubicBezTo>
                  <a:cubicBezTo>
                    <a:pt x="0" y="2"/>
                    <a:pt x="3" y="5"/>
                    <a:pt x="3" y="6"/>
                  </a:cubicBezTo>
                  <a:cubicBezTo>
                    <a:pt x="3" y="8"/>
                    <a:pt x="6" y="8"/>
                    <a:pt x="6" y="5"/>
                  </a:cubicBezTo>
                  <a:cubicBezTo>
                    <a:pt x="6" y="5"/>
                    <a:pt x="6" y="6"/>
                    <a:pt x="6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44" name="Freeform 444">
              <a:extLst>
                <a:ext uri="{FF2B5EF4-FFF2-40B4-BE49-F238E27FC236}">
                  <a16:creationId xmlns:a16="http://schemas.microsoft.com/office/drawing/2014/main" id="{199E6E14-86BF-B934-0B8D-9DDD1A31A5C3}"/>
                </a:ext>
              </a:extLst>
            </p:cNvPr>
            <p:cNvSpPr>
              <a:spLocks/>
            </p:cNvSpPr>
            <p:nvPr/>
          </p:nvSpPr>
          <p:spPr bwMode="auto">
            <a:xfrm>
              <a:off x="8961677" y="3983870"/>
              <a:ext cx="46495" cy="56771"/>
            </a:xfrm>
            <a:custGeom>
              <a:avLst/>
              <a:gdLst>
                <a:gd name="T0" fmla="*/ 3 w 9"/>
                <a:gd name="T1" fmla="*/ 2 h 10"/>
                <a:gd name="T2" fmla="*/ 0 w 9"/>
                <a:gd name="T3" fmla="*/ 2 h 10"/>
                <a:gd name="T4" fmla="*/ 2 w 9"/>
                <a:gd name="T5" fmla="*/ 4 h 10"/>
                <a:gd name="T6" fmla="*/ 1 w 9"/>
                <a:gd name="T7" fmla="*/ 9 h 10"/>
                <a:gd name="T8" fmla="*/ 6 w 9"/>
                <a:gd name="T9" fmla="*/ 6 h 10"/>
                <a:gd name="T10" fmla="*/ 3 w 9"/>
                <a:gd name="T11" fmla="*/ 2 h 10"/>
                <a:gd name="T12" fmla="*/ 3 w 9"/>
                <a:gd name="T13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0">
                  <a:moveTo>
                    <a:pt x="3" y="2"/>
                  </a:moveTo>
                  <a:cubicBezTo>
                    <a:pt x="2" y="1"/>
                    <a:pt x="1" y="1"/>
                    <a:pt x="0" y="2"/>
                  </a:cubicBezTo>
                  <a:cubicBezTo>
                    <a:pt x="0" y="3"/>
                    <a:pt x="2" y="3"/>
                    <a:pt x="2" y="4"/>
                  </a:cubicBezTo>
                  <a:cubicBezTo>
                    <a:pt x="3" y="5"/>
                    <a:pt x="0" y="8"/>
                    <a:pt x="1" y="9"/>
                  </a:cubicBezTo>
                  <a:cubicBezTo>
                    <a:pt x="1" y="10"/>
                    <a:pt x="5" y="6"/>
                    <a:pt x="6" y="6"/>
                  </a:cubicBezTo>
                  <a:cubicBezTo>
                    <a:pt x="9" y="6"/>
                    <a:pt x="3" y="2"/>
                    <a:pt x="3" y="2"/>
                  </a:cubicBezTo>
                  <a:cubicBezTo>
                    <a:pt x="1" y="0"/>
                    <a:pt x="3" y="2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45" name="Freeform 445">
              <a:extLst>
                <a:ext uri="{FF2B5EF4-FFF2-40B4-BE49-F238E27FC236}">
                  <a16:creationId xmlns:a16="http://schemas.microsoft.com/office/drawing/2014/main" id="{ED54F55E-60F3-7F02-9B8B-0352391AB35C}"/>
                </a:ext>
              </a:extLst>
            </p:cNvPr>
            <p:cNvSpPr>
              <a:spLocks/>
            </p:cNvSpPr>
            <p:nvPr/>
          </p:nvSpPr>
          <p:spPr bwMode="auto">
            <a:xfrm>
              <a:off x="8972407" y="4017932"/>
              <a:ext cx="35765" cy="60555"/>
            </a:xfrm>
            <a:custGeom>
              <a:avLst/>
              <a:gdLst>
                <a:gd name="T0" fmla="*/ 6 w 7"/>
                <a:gd name="T1" fmla="*/ 1 h 11"/>
                <a:gd name="T2" fmla="*/ 3 w 7"/>
                <a:gd name="T3" fmla="*/ 5 h 11"/>
                <a:gd name="T4" fmla="*/ 3 w 7"/>
                <a:gd name="T5" fmla="*/ 9 h 11"/>
                <a:gd name="T6" fmla="*/ 5 w 7"/>
                <a:gd name="T7" fmla="*/ 6 h 11"/>
                <a:gd name="T8" fmla="*/ 6 w 7"/>
                <a:gd name="T9" fmla="*/ 1 h 11"/>
                <a:gd name="T10" fmla="*/ 6 w 7"/>
                <a:gd name="T11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11">
                  <a:moveTo>
                    <a:pt x="6" y="1"/>
                  </a:moveTo>
                  <a:cubicBezTo>
                    <a:pt x="3" y="1"/>
                    <a:pt x="4" y="4"/>
                    <a:pt x="3" y="5"/>
                  </a:cubicBezTo>
                  <a:cubicBezTo>
                    <a:pt x="0" y="7"/>
                    <a:pt x="1" y="7"/>
                    <a:pt x="3" y="9"/>
                  </a:cubicBezTo>
                  <a:cubicBezTo>
                    <a:pt x="6" y="11"/>
                    <a:pt x="4" y="8"/>
                    <a:pt x="5" y="6"/>
                  </a:cubicBezTo>
                  <a:cubicBezTo>
                    <a:pt x="5" y="6"/>
                    <a:pt x="7" y="0"/>
                    <a:pt x="6" y="1"/>
                  </a:cubicBezTo>
                  <a:cubicBezTo>
                    <a:pt x="5" y="1"/>
                    <a:pt x="6" y="0"/>
                    <a:pt x="6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46" name="Freeform 446">
              <a:extLst>
                <a:ext uri="{FF2B5EF4-FFF2-40B4-BE49-F238E27FC236}">
                  <a16:creationId xmlns:a16="http://schemas.microsoft.com/office/drawing/2014/main" id="{40397FBD-4969-4840-6C0B-543E44F759A7}"/>
                </a:ext>
              </a:extLst>
            </p:cNvPr>
            <p:cNvSpPr>
              <a:spLocks/>
            </p:cNvSpPr>
            <p:nvPr/>
          </p:nvSpPr>
          <p:spPr bwMode="auto">
            <a:xfrm>
              <a:off x="9002805" y="4012255"/>
              <a:ext cx="21459" cy="43525"/>
            </a:xfrm>
            <a:custGeom>
              <a:avLst/>
              <a:gdLst>
                <a:gd name="T0" fmla="*/ 3 w 4"/>
                <a:gd name="T1" fmla="*/ 1 h 8"/>
                <a:gd name="T2" fmla="*/ 0 w 4"/>
                <a:gd name="T3" fmla="*/ 8 h 8"/>
                <a:gd name="T4" fmla="*/ 3 w 4"/>
                <a:gd name="T5" fmla="*/ 5 h 8"/>
                <a:gd name="T6" fmla="*/ 3 w 4"/>
                <a:gd name="T7" fmla="*/ 1 h 8"/>
                <a:gd name="T8" fmla="*/ 3 w 4"/>
                <a:gd name="T9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8">
                  <a:moveTo>
                    <a:pt x="3" y="1"/>
                  </a:moveTo>
                  <a:cubicBezTo>
                    <a:pt x="2" y="1"/>
                    <a:pt x="0" y="7"/>
                    <a:pt x="0" y="8"/>
                  </a:cubicBezTo>
                  <a:cubicBezTo>
                    <a:pt x="0" y="8"/>
                    <a:pt x="2" y="6"/>
                    <a:pt x="3" y="5"/>
                  </a:cubicBezTo>
                  <a:cubicBezTo>
                    <a:pt x="3" y="5"/>
                    <a:pt x="4" y="0"/>
                    <a:pt x="3" y="1"/>
                  </a:cubicBezTo>
                  <a:cubicBezTo>
                    <a:pt x="2" y="1"/>
                    <a:pt x="3" y="1"/>
                    <a:pt x="3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47" name="Freeform 447">
              <a:extLst>
                <a:ext uri="{FF2B5EF4-FFF2-40B4-BE49-F238E27FC236}">
                  <a16:creationId xmlns:a16="http://schemas.microsoft.com/office/drawing/2014/main" id="{B62FB94D-42C6-1587-939F-6EFB44143DE0}"/>
                </a:ext>
              </a:extLst>
            </p:cNvPr>
            <p:cNvSpPr>
              <a:spLocks/>
            </p:cNvSpPr>
            <p:nvPr/>
          </p:nvSpPr>
          <p:spPr bwMode="auto">
            <a:xfrm>
              <a:off x="9013536" y="4040641"/>
              <a:ext cx="32188" cy="20817"/>
            </a:xfrm>
            <a:custGeom>
              <a:avLst/>
              <a:gdLst>
                <a:gd name="T0" fmla="*/ 1 w 6"/>
                <a:gd name="T1" fmla="*/ 1 h 4"/>
                <a:gd name="T2" fmla="*/ 3 w 6"/>
                <a:gd name="T3" fmla="*/ 3 h 4"/>
                <a:gd name="T4" fmla="*/ 1 w 6"/>
                <a:gd name="T5" fmla="*/ 1 h 4"/>
                <a:gd name="T6" fmla="*/ 1 w 6"/>
                <a:gd name="T7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1" y="1"/>
                  </a:moveTo>
                  <a:cubicBezTo>
                    <a:pt x="0" y="3"/>
                    <a:pt x="1" y="4"/>
                    <a:pt x="3" y="3"/>
                  </a:cubicBezTo>
                  <a:cubicBezTo>
                    <a:pt x="6" y="3"/>
                    <a:pt x="2" y="0"/>
                    <a:pt x="1" y="1"/>
                  </a:cubicBezTo>
                  <a:cubicBezTo>
                    <a:pt x="1" y="2"/>
                    <a:pt x="2" y="1"/>
                    <a:pt x="1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48" name="Freeform 448">
              <a:extLst>
                <a:ext uri="{FF2B5EF4-FFF2-40B4-BE49-F238E27FC236}">
                  <a16:creationId xmlns:a16="http://schemas.microsoft.com/office/drawing/2014/main" id="{A02A230D-BD91-1512-71FB-AF774BA0E469}"/>
                </a:ext>
              </a:extLst>
            </p:cNvPr>
            <p:cNvSpPr>
              <a:spLocks/>
            </p:cNvSpPr>
            <p:nvPr/>
          </p:nvSpPr>
          <p:spPr bwMode="auto">
            <a:xfrm>
              <a:off x="9013536" y="4055781"/>
              <a:ext cx="73319" cy="117328"/>
            </a:xfrm>
            <a:custGeom>
              <a:avLst/>
              <a:gdLst>
                <a:gd name="T0" fmla="*/ 10 w 14"/>
                <a:gd name="T1" fmla="*/ 0 h 21"/>
                <a:gd name="T2" fmla="*/ 9 w 14"/>
                <a:gd name="T3" fmla="*/ 2 h 21"/>
                <a:gd name="T4" fmla="*/ 7 w 14"/>
                <a:gd name="T5" fmla="*/ 4 h 21"/>
                <a:gd name="T6" fmla="*/ 3 w 14"/>
                <a:gd name="T7" fmla="*/ 6 h 21"/>
                <a:gd name="T8" fmla="*/ 2 w 14"/>
                <a:gd name="T9" fmla="*/ 11 h 21"/>
                <a:gd name="T10" fmla="*/ 2 w 14"/>
                <a:gd name="T11" fmla="*/ 14 h 21"/>
                <a:gd name="T12" fmla="*/ 3 w 14"/>
                <a:gd name="T13" fmla="*/ 18 h 21"/>
                <a:gd name="T14" fmla="*/ 8 w 14"/>
                <a:gd name="T15" fmla="*/ 19 h 21"/>
                <a:gd name="T16" fmla="*/ 8 w 14"/>
                <a:gd name="T17" fmla="*/ 16 h 21"/>
                <a:gd name="T18" fmla="*/ 10 w 14"/>
                <a:gd name="T19" fmla="*/ 12 h 21"/>
                <a:gd name="T20" fmla="*/ 12 w 14"/>
                <a:gd name="T21" fmla="*/ 17 h 21"/>
                <a:gd name="T22" fmla="*/ 13 w 14"/>
                <a:gd name="T23" fmla="*/ 14 h 21"/>
                <a:gd name="T24" fmla="*/ 13 w 14"/>
                <a:gd name="T25" fmla="*/ 10 h 21"/>
                <a:gd name="T26" fmla="*/ 10 w 14"/>
                <a:gd name="T27" fmla="*/ 0 h 21"/>
                <a:gd name="T28" fmla="*/ 10 w 14"/>
                <a:gd name="T2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" h="21">
                  <a:moveTo>
                    <a:pt x="10" y="0"/>
                  </a:moveTo>
                  <a:cubicBezTo>
                    <a:pt x="9" y="0"/>
                    <a:pt x="9" y="1"/>
                    <a:pt x="9" y="2"/>
                  </a:cubicBezTo>
                  <a:cubicBezTo>
                    <a:pt x="9" y="3"/>
                    <a:pt x="9" y="3"/>
                    <a:pt x="7" y="4"/>
                  </a:cubicBezTo>
                  <a:cubicBezTo>
                    <a:pt x="6" y="4"/>
                    <a:pt x="4" y="6"/>
                    <a:pt x="3" y="6"/>
                  </a:cubicBezTo>
                  <a:cubicBezTo>
                    <a:pt x="1" y="9"/>
                    <a:pt x="0" y="9"/>
                    <a:pt x="2" y="11"/>
                  </a:cubicBezTo>
                  <a:cubicBezTo>
                    <a:pt x="3" y="12"/>
                    <a:pt x="2" y="13"/>
                    <a:pt x="2" y="14"/>
                  </a:cubicBezTo>
                  <a:cubicBezTo>
                    <a:pt x="1" y="16"/>
                    <a:pt x="2" y="17"/>
                    <a:pt x="3" y="18"/>
                  </a:cubicBezTo>
                  <a:cubicBezTo>
                    <a:pt x="5" y="19"/>
                    <a:pt x="7" y="19"/>
                    <a:pt x="8" y="19"/>
                  </a:cubicBezTo>
                  <a:cubicBezTo>
                    <a:pt x="11" y="21"/>
                    <a:pt x="9" y="18"/>
                    <a:pt x="8" y="16"/>
                  </a:cubicBezTo>
                  <a:cubicBezTo>
                    <a:pt x="8" y="16"/>
                    <a:pt x="8" y="12"/>
                    <a:pt x="10" y="12"/>
                  </a:cubicBezTo>
                  <a:cubicBezTo>
                    <a:pt x="11" y="12"/>
                    <a:pt x="11" y="17"/>
                    <a:pt x="12" y="17"/>
                  </a:cubicBezTo>
                  <a:cubicBezTo>
                    <a:pt x="12" y="17"/>
                    <a:pt x="13" y="14"/>
                    <a:pt x="13" y="14"/>
                  </a:cubicBezTo>
                  <a:cubicBezTo>
                    <a:pt x="14" y="12"/>
                    <a:pt x="14" y="11"/>
                    <a:pt x="13" y="10"/>
                  </a:cubicBezTo>
                  <a:cubicBezTo>
                    <a:pt x="13" y="7"/>
                    <a:pt x="13" y="1"/>
                    <a:pt x="10" y="0"/>
                  </a:cubicBezTo>
                  <a:cubicBezTo>
                    <a:pt x="9" y="0"/>
                    <a:pt x="10" y="1"/>
                    <a:pt x="10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49" name="Freeform 449">
              <a:extLst>
                <a:ext uri="{FF2B5EF4-FFF2-40B4-BE49-F238E27FC236}">
                  <a16:creationId xmlns:a16="http://schemas.microsoft.com/office/drawing/2014/main" id="{78110658-7E9B-79A0-8E27-E22429AE60F3}"/>
                </a:ext>
              </a:extLst>
            </p:cNvPr>
            <p:cNvSpPr>
              <a:spLocks/>
            </p:cNvSpPr>
            <p:nvPr/>
          </p:nvSpPr>
          <p:spPr bwMode="auto">
            <a:xfrm>
              <a:off x="8967041" y="4078488"/>
              <a:ext cx="62589" cy="56771"/>
            </a:xfrm>
            <a:custGeom>
              <a:avLst/>
              <a:gdLst>
                <a:gd name="T0" fmla="*/ 8 w 12"/>
                <a:gd name="T1" fmla="*/ 1 h 10"/>
                <a:gd name="T2" fmla="*/ 2 w 12"/>
                <a:gd name="T3" fmla="*/ 4 h 10"/>
                <a:gd name="T4" fmla="*/ 0 w 12"/>
                <a:gd name="T5" fmla="*/ 10 h 10"/>
                <a:gd name="T6" fmla="*/ 2 w 12"/>
                <a:gd name="T7" fmla="*/ 6 h 10"/>
                <a:gd name="T8" fmla="*/ 4 w 12"/>
                <a:gd name="T9" fmla="*/ 6 h 10"/>
                <a:gd name="T10" fmla="*/ 6 w 12"/>
                <a:gd name="T11" fmla="*/ 7 h 10"/>
                <a:gd name="T12" fmla="*/ 8 w 12"/>
                <a:gd name="T13" fmla="*/ 7 h 10"/>
                <a:gd name="T14" fmla="*/ 8 w 12"/>
                <a:gd name="T15" fmla="*/ 5 h 10"/>
                <a:gd name="T16" fmla="*/ 8 w 12"/>
                <a:gd name="T17" fmla="*/ 1 h 10"/>
                <a:gd name="T18" fmla="*/ 8 w 12"/>
                <a:gd name="T19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0">
                  <a:moveTo>
                    <a:pt x="8" y="1"/>
                  </a:moveTo>
                  <a:cubicBezTo>
                    <a:pt x="6" y="0"/>
                    <a:pt x="5" y="4"/>
                    <a:pt x="2" y="4"/>
                  </a:cubicBezTo>
                  <a:cubicBezTo>
                    <a:pt x="0" y="5"/>
                    <a:pt x="0" y="9"/>
                    <a:pt x="0" y="10"/>
                  </a:cubicBezTo>
                  <a:cubicBezTo>
                    <a:pt x="1" y="9"/>
                    <a:pt x="1" y="7"/>
                    <a:pt x="2" y="6"/>
                  </a:cubicBezTo>
                  <a:cubicBezTo>
                    <a:pt x="2" y="6"/>
                    <a:pt x="4" y="5"/>
                    <a:pt x="4" y="6"/>
                  </a:cubicBezTo>
                  <a:cubicBezTo>
                    <a:pt x="4" y="7"/>
                    <a:pt x="6" y="7"/>
                    <a:pt x="6" y="7"/>
                  </a:cubicBezTo>
                  <a:cubicBezTo>
                    <a:pt x="7" y="7"/>
                    <a:pt x="7" y="8"/>
                    <a:pt x="8" y="7"/>
                  </a:cubicBezTo>
                  <a:cubicBezTo>
                    <a:pt x="8" y="7"/>
                    <a:pt x="8" y="5"/>
                    <a:pt x="8" y="5"/>
                  </a:cubicBezTo>
                  <a:cubicBezTo>
                    <a:pt x="9" y="3"/>
                    <a:pt x="11" y="2"/>
                    <a:pt x="8" y="1"/>
                  </a:cubicBezTo>
                  <a:cubicBezTo>
                    <a:pt x="7" y="1"/>
                    <a:pt x="12" y="3"/>
                    <a:pt x="8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50" name="Freeform 450">
              <a:extLst>
                <a:ext uri="{FF2B5EF4-FFF2-40B4-BE49-F238E27FC236}">
                  <a16:creationId xmlns:a16="http://schemas.microsoft.com/office/drawing/2014/main" id="{372AAA5A-E3B2-A327-EEA8-2B6397AAA682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0075" y="4023609"/>
              <a:ext cx="62589" cy="66233"/>
            </a:xfrm>
            <a:custGeom>
              <a:avLst/>
              <a:gdLst>
                <a:gd name="T0" fmla="*/ 11 w 12"/>
                <a:gd name="T1" fmla="*/ 0 h 12"/>
                <a:gd name="T2" fmla="*/ 6 w 12"/>
                <a:gd name="T3" fmla="*/ 6 h 12"/>
                <a:gd name="T4" fmla="*/ 0 w 12"/>
                <a:gd name="T5" fmla="*/ 12 h 12"/>
                <a:gd name="T6" fmla="*/ 4 w 12"/>
                <a:gd name="T7" fmla="*/ 10 h 12"/>
                <a:gd name="T8" fmla="*/ 8 w 12"/>
                <a:gd name="T9" fmla="*/ 7 h 12"/>
                <a:gd name="T10" fmla="*/ 10 w 12"/>
                <a:gd name="T11" fmla="*/ 3 h 12"/>
                <a:gd name="T12" fmla="*/ 11 w 12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2">
                  <a:moveTo>
                    <a:pt x="11" y="0"/>
                  </a:moveTo>
                  <a:cubicBezTo>
                    <a:pt x="9" y="1"/>
                    <a:pt x="7" y="4"/>
                    <a:pt x="6" y="6"/>
                  </a:cubicBezTo>
                  <a:cubicBezTo>
                    <a:pt x="5" y="7"/>
                    <a:pt x="0" y="10"/>
                    <a:pt x="0" y="12"/>
                  </a:cubicBezTo>
                  <a:cubicBezTo>
                    <a:pt x="0" y="12"/>
                    <a:pt x="3" y="11"/>
                    <a:pt x="4" y="10"/>
                  </a:cubicBezTo>
                  <a:cubicBezTo>
                    <a:pt x="5" y="10"/>
                    <a:pt x="7" y="8"/>
                    <a:pt x="8" y="7"/>
                  </a:cubicBezTo>
                  <a:cubicBezTo>
                    <a:pt x="8" y="5"/>
                    <a:pt x="9" y="4"/>
                    <a:pt x="10" y="3"/>
                  </a:cubicBezTo>
                  <a:cubicBezTo>
                    <a:pt x="11" y="3"/>
                    <a:pt x="12" y="0"/>
                    <a:pt x="1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51" name="Freeform 451">
              <a:extLst>
                <a:ext uri="{FF2B5EF4-FFF2-40B4-BE49-F238E27FC236}">
                  <a16:creationId xmlns:a16="http://schemas.microsoft.com/office/drawing/2014/main" id="{65853677-4D85-C16E-3AA4-D3F6C4628FFD}"/>
                </a:ext>
              </a:extLst>
            </p:cNvPr>
            <p:cNvSpPr>
              <a:spLocks/>
            </p:cNvSpPr>
            <p:nvPr/>
          </p:nvSpPr>
          <p:spPr bwMode="auto">
            <a:xfrm>
              <a:off x="9024266" y="3940346"/>
              <a:ext cx="10730" cy="5677"/>
            </a:xfrm>
            <a:custGeom>
              <a:avLst/>
              <a:gdLst>
                <a:gd name="T0" fmla="*/ 0 w 2"/>
                <a:gd name="T1" fmla="*/ 1 h 1"/>
                <a:gd name="T2" fmla="*/ 1 w 2"/>
                <a:gd name="T3" fmla="*/ 0 h 1"/>
                <a:gd name="T4" fmla="*/ 0 w 2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cubicBezTo>
                    <a:pt x="1" y="1"/>
                    <a:pt x="2" y="0"/>
                    <a:pt x="1" y="0"/>
                  </a:cubicBezTo>
                  <a:cubicBezTo>
                    <a:pt x="0" y="0"/>
                    <a:pt x="0" y="1"/>
                    <a:pt x="0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52" name="Freeform 452">
              <a:extLst>
                <a:ext uri="{FF2B5EF4-FFF2-40B4-BE49-F238E27FC236}">
                  <a16:creationId xmlns:a16="http://schemas.microsoft.com/office/drawing/2014/main" id="{035D9AB5-E14D-5202-AEB8-C189E39A4AE0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4257" y="4167429"/>
              <a:ext cx="293274" cy="323595"/>
            </a:xfrm>
            <a:custGeom>
              <a:avLst/>
              <a:gdLst>
                <a:gd name="T0" fmla="*/ 12 w 56"/>
                <a:gd name="T1" fmla="*/ 3 h 58"/>
                <a:gd name="T2" fmla="*/ 4 w 56"/>
                <a:gd name="T3" fmla="*/ 2 h 58"/>
                <a:gd name="T4" fmla="*/ 2 w 56"/>
                <a:gd name="T5" fmla="*/ 3 h 58"/>
                <a:gd name="T6" fmla="*/ 6 w 56"/>
                <a:gd name="T7" fmla="*/ 9 h 58"/>
                <a:gd name="T8" fmla="*/ 11 w 56"/>
                <a:gd name="T9" fmla="*/ 13 h 58"/>
                <a:gd name="T10" fmla="*/ 13 w 56"/>
                <a:gd name="T11" fmla="*/ 17 h 58"/>
                <a:gd name="T12" fmla="*/ 17 w 56"/>
                <a:gd name="T13" fmla="*/ 19 h 58"/>
                <a:gd name="T14" fmla="*/ 20 w 56"/>
                <a:gd name="T15" fmla="*/ 26 h 58"/>
                <a:gd name="T16" fmla="*/ 22 w 56"/>
                <a:gd name="T17" fmla="*/ 28 h 58"/>
                <a:gd name="T18" fmla="*/ 26 w 56"/>
                <a:gd name="T19" fmla="*/ 33 h 58"/>
                <a:gd name="T20" fmla="*/ 30 w 56"/>
                <a:gd name="T21" fmla="*/ 42 h 58"/>
                <a:gd name="T22" fmla="*/ 41 w 56"/>
                <a:gd name="T23" fmla="*/ 52 h 58"/>
                <a:gd name="T24" fmla="*/ 46 w 56"/>
                <a:gd name="T25" fmla="*/ 57 h 58"/>
                <a:gd name="T26" fmla="*/ 54 w 56"/>
                <a:gd name="T27" fmla="*/ 57 h 58"/>
                <a:gd name="T28" fmla="*/ 54 w 56"/>
                <a:gd name="T29" fmla="*/ 46 h 58"/>
                <a:gd name="T30" fmla="*/ 55 w 56"/>
                <a:gd name="T31" fmla="*/ 44 h 58"/>
                <a:gd name="T32" fmla="*/ 52 w 56"/>
                <a:gd name="T33" fmla="*/ 41 h 58"/>
                <a:gd name="T34" fmla="*/ 50 w 56"/>
                <a:gd name="T35" fmla="*/ 40 h 58"/>
                <a:gd name="T36" fmla="*/ 48 w 56"/>
                <a:gd name="T37" fmla="*/ 42 h 58"/>
                <a:gd name="T38" fmla="*/ 48 w 56"/>
                <a:gd name="T39" fmla="*/ 38 h 58"/>
                <a:gd name="T40" fmla="*/ 47 w 56"/>
                <a:gd name="T41" fmla="*/ 36 h 58"/>
                <a:gd name="T42" fmla="*/ 44 w 56"/>
                <a:gd name="T43" fmla="*/ 34 h 58"/>
                <a:gd name="T44" fmla="*/ 42 w 56"/>
                <a:gd name="T45" fmla="*/ 30 h 58"/>
                <a:gd name="T46" fmla="*/ 42 w 56"/>
                <a:gd name="T47" fmla="*/ 29 h 58"/>
                <a:gd name="T48" fmla="*/ 43 w 56"/>
                <a:gd name="T49" fmla="*/ 28 h 58"/>
                <a:gd name="T50" fmla="*/ 38 w 56"/>
                <a:gd name="T51" fmla="*/ 27 h 58"/>
                <a:gd name="T52" fmla="*/ 38 w 56"/>
                <a:gd name="T53" fmla="*/ 25 h 58"/>
                <a:gd name="T54" fmla="*/ 36 w 56"/>
                <a:gd name="T55" fmla="*/ 24 h 58"/>
                <a:gd name="T56" fmla="*/ 37 w 56"/>
                <a:gd name="T57" fmla="*/ 23 h 58"/>
                <a:gd name="T58" fmla="*/ 35 w 56"/>
                <a:gd name="T59" fmla="*/ 22 h 58"/>
                <a:gd name="T60" fmla="*/ 34 w 56"/>
                <a:gd name="T61" fmla="*/ 21 h 58"/>
                <a:gd name="T62" fmla="*/ 31 w 56"/>
                <a:gd name="T63" fmla="*/ 19 h 58"/>
                <a:gd name="T64" fmla="*/ 30 w 56"/>
                <a:gd name="T65" fmla="*/ 19 h 58"/>
                <a:gd name="T66" fmla="*/ 25 w 56"/>
                <a:gd name="T67" fmla="*/ 16 h 58"/>
                <a:gd name="T68" fmla="*/ 21 w 56"/>
                <a:gd name="T69" fmla="*/ 11 h 58"/>
                <a:gd name="T70" fmla="*/ 16 w 56"/>
                <a:gd name="T71" fmla="*/ 7 h 58"/>
                <a:gd name="T72" fmla="*/ 12 w 56"/>
                <a:gd name="T73" fmla="*/ 3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6" h="58">
                  <a:moveTo>
                    <a:pt x="12" y="3"/>
                  </a:moveTo>
                  <a:cubicBezTo>
                    <a:pt x="9" y="3"/>
                    <a:pt x="7" y="3"/>
                    <a:pt x="4" y="2"/>
                  </a:cubicBezTo>
                  <a:cubicBezTo>
                    <a:pt x="2" y="1"/>
                    <a:pt x="0" y="0"/>
                    <a:pt x="2" y="3"/>
                  </a:cubicBezTo>
                  <a:cubicBezTo>
                    <a:pt x="3" y="5"/>
                    <a:pt x="4" y="8"/>
                    <a:pt x="6" y="9"/>
                  </a:cubicBezTo>
                  <a:cubicBezTo>
                    <a:pt x="8" y="10"/>
                    <a:pt x="10" y="11"/>
                    <a:pt x="11" y="13"/>
                  </a:cubicBezTo>
                  <a:cubicBezTo>
                    <a:pt x="12" y="14"/>
                    <a:pt x="12" y="16"/>
                    <a:pt x="13" y="17"/>
                  </a:cubicBezTo>
                  <a:cubicBezTo>
                    <a:pt x="15" y="18"/>
                    <a:pt x="16" y="18"/>
                    <a:pt x="17" y="19"/>
                  </a:cubicBezTo>
                  <a:cubicBezTo>
                    <a:pt x="19" y="21"/>
                    <a:pt x="19" y="24"/>
                    <a:pt x="20" y="26"/>
                  </a:cubicBezTo>
                  <a:cubicBezTo>
                    <a:pt x="21" y="27"/>
                    <a:pt x="22" y="28"/>
                    <a:pt x="22" y="28"/>
                  </a:cubicBezTo>
                  <a:cubicBezTo>
                    <a:pt x="24" y="30"/>
                    <a:pt x="25" y="31"/>
                    <a:pt x="26" y="33"/>
                  </a:cubicBezTo>
                  <a:cubicBezTo>
                    <a:pt x="28" y="36"/>
                    <a:pt x="28" y="39"/>
                    <a:pt x="30" y="42"/>
                  </a:cubicBezTo>
                  <a:cubicBezTo>
                    <a:pt x="34" y="45"/>
                    <a:pt x="37" y="49"/>
                    <a:pt x="41" y="52"/>
                  </a:cubicBezTo>
                  <a:cubicBezTo>
                    <a:pt x="43" y="54"/>
                    <a:pt x="44" y="55"/>
                    <a:pt x="46" y="57"/>
                  </a:cubicBezTo>
                  <a:cubicBezTo>
                    <a:pt x="47" y="57"/>
                    <a:pt x="53" y="58"/>
                    <a:pt x="54" y="57"/>
                  </a:cubicBezTo>
                  <a:cubicBezTo>
                    <a:pt x="55" y="56"/>
                    <a:pt x="53" y="48"/>
                    <a:pt x="54" y="46"/>
                  </a:cubicBezTo>
                  <a:cubicBezTo>
                    <a:pt x="54" y="45"/>
                    <a:pt x="56" y="45"/>
                    <a:pt x="55" y="44"/>
                  </a:cubicBezTo>
                  <a:cubicBezTo>
                    <a:pt x="54" y="43"/>
                    <a:pt x="53" y="42"/>
                    <a:pt x="52" y="41"/>
                  </a:cubicBezTo>
                  <a:cubicBezTo>
                    <a:pt x="52" y="41"/>
                    <a:pt x="51" y="40"/>
                    <a:pt x="50" y="40"/>
                  </a:cubicBezTo>
                  <a:cubicBezTo>
                    <a:pt x="49" y="40"/>
                    <a:pt x="49" y="42"/>
                    <a:pt x="48" y="42"/>
                  </a:cubicBezTo>
                  <a:cubicBezTo>
                    <a:pt x="49" y="42"/>
                    <a:pt x="48" y="38"/>
                    <a:pt x="48" y="38"/>
                  </a:cubicBezTo>
                  <a:cubicBezTo>
                    <a:pt x="47" y="37"/>
                    <a:pt x="47" y="37"/>
                    <a:pt x="47" y="36"/>
                  </a:cubicBezTo>
                  <a:cubicBezTo>
                    <a:pt x="47" y="35"/>
                    <a:pt x="45" y="34"/>
                    <a:pt x="44" y="34"/>
                  </a:cubicBezTo>
                  <a:cubicBezTo>
                    <a:pt x="43" y="33"/>
                    <a:pt x="41" y="32"/>
                    <a:pt x="42" y="30"/>
                  </a:cubicBezTo>
                  <a:cubicBezTo>
                    <a:pt x="42" y="30"/>
                    <a:pt x="41" y="29"/>
                    <a:pt x="42" y="29"/>
                  </a:cubicBezTo>
                  <a:cubicBezTo>
                    <a:pt x="42" y="28"/>
                    <a:pt x="43" y="29"/>
                    <a:pt x="43" y="28"/>
                  </a:cubicBezTo>
                  <a:cubicBezTo>
                    <a:pt x="44" y="26"/>
                    <a:pt x="38" y="26"/>
                    <a:pt x="38" y="27"/>
                  </a:cubicBezTo>
                  <a:cubicBezTo>
                    <a:pt x="38" y="26"/>
                    <a:pt x="42" y="25"/>
                    <a:pt x="38" y="25"/>
                  </a:cubicBezTo>
                  <a:cubicBezTo>
                    <a:pt x="37" y="25"/>
                    <a:pt x="36" y="24"/>
                    <a:pt x="36" y="24"/>
                  </a:cubicBezTo>
                  <a:cubicBezTo>
                    <a:pt x="36" y="23"/>
                    <a:pt x="37" y="23"/>
                    <a:pt x="37" y="23"/>
                  </a:cubicBezTo>
                  <a:cubicBezTo>
                    <a:pt x="37" y="22"/>
                    <a:pt x="35" y="22"/>
                    <a:pt x="35" y="22"/>
                  </a:cubicBezTo>
                  <a:cubicBezTo>
                    <a:pt x="35" y="22"/>
                    <a:pt x="36" y="21"/>
                    <a:pt x="34" y="21"/>
                  </a:cubicBezTo>
                  <a:cubicBezTo>
                    <a:pt x="33" y="20"/>
                    <a:pt x="32" y="20"/>
                    <a:pt x="31" y="19"/>
                  </a:cubicBezTo>
                  <a:cubicBezTo>
                    <a:pt x="28" y="15"/>
                    <a:pt x="30" y="19"/>
                    <a:pt x="30" y="19"/>
                  </a:cubicBezTo>
                  <a:cubicBezTo>
                    <a:pt x="29" y="19"/>
                    <a:pt x="26" y="16"/>
                    <a:pt x="25" y="16"/>
                  </a:cubicBezTo>
                  <a:cubicBezTo>
                    <a:pt x="24" y="14"/>
                    <a:pt x="23" y="12"/>
                    <a:pt x="21" y="11"/>
                  </a:cubicBezTo>
                  <a:cubicBezTo>
                    <a:pt x="19" y="10"/>
                    <a:pt x="18" y="9"/>
                    <a:pt x="16" y="7"/>
                  </a:cubicBezTo>
                  <a:cubicBezTo>
                    <a:pt x="15" y="6"/>
                    <a:pt x="14" y="3"/>
                    <a:pt x="12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53" name="Freeform 453">
              <a:extLst>
                <a:ext uri="{FF2B5EF4-FFF2-40B4-BE49-F238E27FC236}">
                  <a16:creationId xmlns:a16="http://schemas.microsoft.com/office/drawing/2014/main" id="{14AB1DB6-A5F9-9E52-F3FA-60EB08ED6C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316116" y="4284757"/>
              <a:ext cx="26823" cy="28387"/>
            </a:xfrm>
            <a:custGeom>
              <a:avLst/>
              <a:gdLst>
                <a:gd name="T0" fmla="*/ 4 w 5"/>
                <a:gd name="T1" fmla="*/ 4 h 5"/>
                <a:gd name="T2" fmla="*/ 1 w 5"/>
                <a:gd name="T3" fmla="*/ 0 h 5"/>
                <a:gd name="T4" fmla="*/ 4 w 5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5">
                  <a:moveTo>
                    <a:pt x="4" y="4"/>
                  </a:moveTo>
                  <a:cubicBezTo>
                    <a:pt x="5" y="3"/>
                    <a:pt x="2" y="0"/>
                    <a:pt x="1" y="0"/>
                  </a:cubicBezTo>
                  <a:cubicBezTo>
                    <a:pt x="0" y="1"/>
                    <a:pt x="3" y="5"/>
                    <a:pt x="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54" name="Freeform 454">
              <a:extLst>
                <a:ext uri="{FF2B5EF4-FFF2-40B4-BE49-F238E27FC236}">
                  <a16:creationId xmlns:a16="http://schemas.microsoft.com/office/drawing/2014/main" id="{32F5461E-B725-1C37-4BE0-F8DE60D1DF3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53671" y="4350990"/>
              <a:ext cx="25036" cy="28387"/>
            </a:xfrm>
            <a:custGeom>
              <a:avLst/>
              <a:gdLst>
                <a:gd name="T0" fmla="*/ 4 w 5"/>
                <a:gd name="T1" fmla="*/ 4 h 5"/>
                <a:gd name="T2" fmla="*/ 1 w 5"/>
                <a:gd name="T3" fmla="*/ 0 h 5"/>
                <a:gd name="T4" fmla="*/ 4 w 5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5">
                  <a:moveTo>
                    <a:pt x="4" y="4"/>
                  </a:moveTo>
                  <a:cubicBezTo>
                    <a:pt x="5" y="3"/>
                    <a:pt x="2" y="0"/>
                    <a:pt x="1" y="0"/>
                  </a:cubicBezTo>
                  <a:cubicBezTo>
                    <a:pt x="0" y="1"/>
                    <a:pt x="3" y="5"/>
                    <a:pt x="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55" name="Freeform 455">
              <a:extLst>
                <a:ext uri="{FF2B5EF4-FFF2-40B4-BE49-F238E27FC236}">
                  <a16:creationId xmlns:a16="http://schemas.microsoft.com/office/drawing/2014/main" id="{A9BB01E2-5339-1C99-2A46-D6C65B9E066A}"/>
                </a:ext>
              </a:extLst>
            </p:cNvPr>
            <p:cNvSpPr>
              <a:spLocks/>
            </p:cNvSpPr>
            <p:nvPr/>
          </p:nvSpPr>
          <p:spPr bwMode="auto">
            <a:xfrm>
              <a:off x="8530707" y="4368019"/>
              <a:ext cx="37553" cy="39739"/>
            </a:xfrm>
            <a:custGeom>
              <a:avLst/>
              <a:gdLst>
                <a:gd name="T0" fmla="*/ 7 w 7"/>
                <a:gd name="T1" fmla="*/ 7 h 7"/>
                <a:gd name="T2" fmla="*/ 5 w 7"/>
                <a:gd name="T3" fmla="*/ 3 h 7"/>
                <a:gd name="T4" fmla="*/ 0 w 7"/>
                <a:gd name="T5" fmla="*/ 1 h 7"/>
                <a:gd name="T6" fmla="*/ 1 w 7"/>
                <a:gd name="T7" fmla="*/ 3 h 7"/>
                <a:gd name="T8" fmla="*/ 3 w 7"/>
                <a:gd name="T9" fmla="*/ 5 h 7"/>
                <a:gd name="T10" fmla="*/ 7 w 7"/>
                <a:gd name="T11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7">
                  <a:moveTo>
                    <a:pt x="7" y="7"/>
                  </a:moveTo>
                  <a:cubicBezTo>
                    <a:pt x="7" y="5"/>
                    <a:pt x="5" y="5"/>
                    <a:pt x="5" y="3"/>
                  </a:cubicBezTo>
                  <a:cubicBezTo>
                    <a:pt x="5" y="1"/>
                    <a:pt x="2" y="0"/>
                    <a:pt x="0" y="1"/>
                  </a:cubicBezTo>
                  <a:cubicBezTo>
                    <a:pt x="0" y="2"/>
                    <a:pt x="0" y="3"/>
                    <a:pt x="1" y="3"/>
                  </a:cubicBezTo>
                  <a:cubicBezTo>
                    <a:pt x="3" y="3"/>
                    <a:pt x="2" y="4"/>
                    <a:pt x="3" y="5"/>
                  </a:cubicBezTo>
                  <a:cubicBezTo>
                    <a:pt x="3" y="6"/>
                    <a:pt x="7" y="7"/>
                    <a:pt x="7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56" name="Freeform 456">
              <a:extLst>
                <a:ext uri="{FF2B5EF4-FFF2-40B4-BE49-F238E27FC236}">
                  <a16:creationId xmlns:a16="http://schemas.microsoft.com/office/drawing/2014/main" id="{DBDF2883-7142-A40D-04F7-B73514EC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8589720" y="4396406"/>
              <a:ext cx="19671" cy="20817"/>
            </a:xfrm>
            <a:custGeom>
              <a:avLst/>
              <a:gdLst>
                <a:gd name="T0" fmla="*/ 2 w 4"/>
                <a:gd name="T1" fmla="*/ 3 h 4"/>
                <a:gd name="T2" fmla="*/ 2 w 4"/>
                <a:gd name="T3" fmla="*/ 0 h 4"/>
                <a:gd name="T4" fmla="*/ 2 w 4"/>
                <a:gd name="T5" fmla="*/ 3 h 4"/>
                <a:gd name="T6" fmla="*/ 2 w 4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2" y="3"/>
                  </a:moveTo>
                  <a:cubicBezTo>
                    <a:pt x="0" y="4"/>
                    <a:pt x="0" y="1"/>
                    <a:pt x="2" y="0"/>
                  </a:cubicBezTo>
                  <a:cubicBezTo>
                    <a:pt x="4" y="0"/>
                    <a:pt x="4" y="3"/>
                    <a:pt x="2" y="3"/>
                  </a:cubicBezTo>
                  <a:cubicBezTo>
                    <a:pt x="1" y="4"/>
                    <a:pt x="3" y="3"/>
                    <a:pt x="2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57" name="Freeform 457">
              <a:extLst>
                <a:ext uri="{FF2B5EF4-FFF2-40B4-BE49-F238E27FC236}">
                  <a16:creationId xmlns:a16="http://schemas.microsoft.com/office/drawing/2014/main" id="{E33165B6-9CD4-4430-4923-326D4379DB78}"/>
                </a:ext>
              </a:extLst>
            </p:cNvPr>
            <p:cNvSpPr>
              <a:spLocks/>
            </p:cNvSpPr>
            <p:nvPr/>
          </p:nvSpPr>
          <p:spPr bwMode="auto">
            <a:xfrm>
              <a:off x="8536071" y="4491024"/>
              <a:ext cx="241415" cy="83263"/>
            </a:xfrm>
            <a:custGeom>
              <a:avLst/>
              <a:gdLst>
                <a:gd name="T0" fmla="*/ 9 w 46"/>
                <a:gd name="T1" fmla="*/ 0 h 15"/>
                <a:gd name="T2" fmla="*/ 3 w 46"/>
                <a:gd name="T3" fmla="*/ 0 h 15"/>
                <a:gd name="T4" fmla="*/ 0 w 46"/>
                <a:gd name="T5" fmla="*/ 4 h 15"/>
                <a:gd name="T6" fmla="*/ 5 w 46"/>
                <a:gd name="T7" fmla="*/ 6 h 15"/>
                <a:gd name="T8" fmla="*/ 11 w 46"/>
                <a:gd name="T9" fmla="*/ 9 h 15"/>
                <a:gd name="T10" fmla="*/ 15 w 46"/>
                <a:gd name="T11" fmla="*/ 9 h 15"/>
                <a:gd name="T12" fmla="*/ 24 w 46"/>
                <a:gd name="T13" fmla="*/ 11 h 15"/>
                <a:gd name="T14" fmla="*/ 40 w 46"/>
                <a:gd name="T15" fmla="*/ 13 h 15"/>
                <a:gd name="T16" fmla="*/ 45 w 46"/>
                <a:gd name="T17" fmla="*/ 13 h 15"/>
                <a:gd name="T18" fmla="*/ 43 w 46"/>
                <a:gd name="T19" fmla="*/ 9 h 15"/>
                <a:gd name="T20" fmla="*/ 41 w 46"/>
                <a:gd name="T21" fmla="*/ 9 h 15"/>
                <a:gd name="T22" fmla="*/ 37 w 46"/>
                <a:gd name="T23" fmla="*/ 9 h 15"/>
                <a:gd name="T24" fmla="*/ 35 w 46"/>
                <a:gd name="T25" fmla="*/ 6 h 15"/>
                <a:gd name="T26" fmla="*/ 32 w 46"/>
                <a:gd name="T27" fmla="*/ 4 h 15"/>
                <a:gd name="T28" fmla="*/ 27 w 46"/>
                <a:gd name="T29" fmla="*/ 3 h 15"/>
                <a:gd name="T30" fmla="*/ 25 w 46"/>
                <a:gd name="T31" fmla="*/ 4 h 15"/>
                <a:gd name="T32" fmla="*/ 21 w 46"/>
                <a:gd name="T33" fmla="*/ 5 h 15"/>
                <a:gd name="T34" fmla="*/ 15 w 46"/>
                <a:gd name="T35" fmla="*/ 3 h 15"/>
                <a:gd name="T36" fmla="*/ 11 w 46"/>
                <a:gd name="T37" fmla="*/ 2 h 15"/>
                <a:gd name="T38" fmla="*/ 9 w 46"/>
                <a:gd name="T39" fmla="*/ 0 h 15"/>
                <a:gd name="T40" fmla="*/ 9 w 46"/>
                <a:gd name="T41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6" h="15">
                  <a:moveTo>
                    <a:pt x="9" y="0"/>
                  </a:moveTo>
                  <a:cubicBezTo>
                    <a:pt x="7" y="1"/>
                    <a:pt x="6" y="0"/>
                    <a:pt x="3" y="0"/>
                  </a:cubicBezTo>
                  <a:cubicBezTo>
                    <a:pt x="3" y="0"/>
                    <a:pt x="0" y="3"/>
                    <a:pt x="0" y="4"/>
                  </a:cubicBezTo>
                  <a:cubicBezTo>
                    <a:pt x="0" y="5"/>
                    <a:pt x="4" y="4"/>
                    <a:pt x="5" y="6"/>
                  </a:cubicBezTo>
                  <a:cubicBezTo>
                    <a:pt x="6" y="8"/>
                    <a:pt x="9" y="8"/>
                    <a:pt x="11" y="9"/>
                  </a:cubicBezTo>
                  <a:cubicBezTo>
                    <a:pt x="13" y="9"/>
                    <a:pt x="14" y="9"/>
                    <a:pt x="15" y="9"/>
                  </a:cubicBezTo>
                  <a:cubicBezTo>
                    <a:pt x="18" y="9"/>
                    <a:pt x="21" y="10"/>
                    <a:pt x="24" y="11"/>
                  </a:cubicBezTo>
                  <a:cubicBezTo>
                    <a:pt x="29" y="12"/>
                    <a:pt x="35" y="11"/>
                    <a:pt x="40" y="13"/>
                  </a:cubicBezTo>
                  <a:cubicBezTo>
                    <a:pt x="41" y="13"/>
                    <a:pt x="44" y="15"/>
                    <a:pt x="45" y="13"/>
                  </a:cubicBezTo>
                  <a:cubicBezTo>
                    <a:pt x="46" y="13"/>
                    <a:pt x="44" y="9"/>
                    <a:pt x="43" y="9"/>
                  </a:cubicBezTo>
                  <a:cubicBezTo>
                    <a:pt x="42" y="8"/>
                    <a:pt x="42" y="9"/>
                    <a:pt x="41" y="9"/>
                  </a:cubicBezTo>
                  <a:cubicBezTo>
                    <a:pt x="39" y="10"/>
                    <a:pt x="38" y="9"/>
                    <a:pt x="37" y="9"/>
                  </a:cubicBezTo>
                  <a:cubicBezTo>
                    <a:pt x="36" y="8"/>
                    <a:pt x="36" y="7"/>
                    <a:pt x="35" y="6"/>
                  </a:cubicBezTo>
                  <a:cubicBezTo>
                    <a:pt x="35" y="5"/>
                    <a:pt x="33" y="5"/>
                    <a:pt x="32" y="4"/>
                  </a:cubicBezTo>
                  <a:cubicBezTo>
                    <a:pt x="31" y="4"/>
                    <a:pt x="28" y="3"/>
                    <a:pt x="27" y="3"/>
                  </a:cubicBezTo>
                  <a:cubicBezTo>
                    <a:pt x="26" y="3"/>
                    <a:pt x="25" y="4"/>
                    <a:pt x="25" y="4"/>
                  </a:cubicBezTo>
                  <a:cubicBezTo>
                    <a:pt x="24" y="5"/>
                    <a:pt x="23" y="5"/>
                    <a:pt x="21" y="5"/>
                  </a:cubicBezTo>
                  <a:cubicBezTo>
                    <a:pt x="19" y="5"/>
                    <a:pt x="17" y="4"/>
                    <a:pt x="15" y="3"/>
                  </a:cubicBezTo>
                  <a:cubicBezTo>
                    <a:pt x="14" y="2"/>
                    <a:pt x="12" y="2"/>
                    <a:pt x="11" y="2"/>
                  </a:cubicBezTo>
                  <a:cubicBezTo>
                    <a:pt x="11" y="2"/>
                    <a:pt x="10" y="0"/>
                    <a:pt x="9" y="0"/>
                  </a:cubicBezTo>
                  <a:cubicBezTo>
                    <a:pt x="8" y="1"/>
                    <a:pt x="10" y="0"/>
                    <a:pt x="9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58" name="Freeform 458">
              <a:extLst>
                <a:ext uri="{FF2B5EF4-FFF2-40B4-BE49-F238E27FC236}">
                  <a16:creationId xmlns:a16="http://schemas.microsoft.com/office/drawing/2014/main" id="{CC287FFE-58C7-2A56-D4FF-E925E52E5750}"/>
                </a:ext>
              </a:extLst>
            </p:cNvPr>
            <p:cNvSpPr>
              <a:spLocks/>
            </p:cNvSpPr>
            <p:nvPr/>
          </p:nvSpPr>
          <p:spPr bwMode="auto">
            <a:xfrm>
              <a:off x="8714898" y="4511839"/>
              <a:ext cx="41130" cy="17031"/>
            </a:xfrm>
            <a:custGeom>
              <a:avLst/>
              <a:gdLst>
                <a:gd name="T0" fmla="*/ 3 w 8"/>
                <a:gd name="T1" fmla="*/ 3 h 3"/>
                <a:gd name="T2" fmla="*/ 8 w 8"/>
                <a:gd name="T3" fmla="*/ 1 h 3"/>
                <a:gd name="T4" fmla="*/ 3 w 8"/>
                <a:gd name="T5" fmla="*/ 3 h 3"/>
                <a:gd name="T6" fmla="*/ 3 w 8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3">
                  <a:moveTo>
                    <a:pt x="3" y="3"/>
                  </a:moveTo>
                  <a:cubicBezTo>
                    <a:pt x="0" y="2"/>
                    <a:pt x="7" y="0"/>
                    <a:pt x="8" y="1"/>
                  </a:cubicBezTo>
                  <a:cubicBezTo>
                    <a:pt x="8" y="2"/>
                    <a:pt x="4" y="3"/>
                    <a:pt x="3" y="3"/>
                  </a:cubicBezTo>
                  <a:cubicBezTo>
                    <a:pt x="2" y="3"/>
                    <a:pt x="4" y="3"/>
                    <a:pt x="3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59" name="Freeform 459">
              <a:extLst>
                <a:ext uri="{FF2B5EF4-FFF2-40B4-BE49-F238E27FC236}">
                  <a16:creationId xmlns:a16="http://schemas.microsoft.com/office/drawing/2014/main" id="{48A36A47-75DB-0E54-6740-D245DFCE70AA}"/>
                </a:ext>
              </a:extLst>
            </p:cNvPr>
            <p:cNvSpPr>
              <a:spLocks/>
            </p:cNvSpPr>
            <p:nvPr/>
          </p:nvSpPr>
          <p:spPr bwMode="auto">
            <a:xfrm>
              <a:off x="8772121" y="4551579"/>
              <a:ext cx="32188" cy="22709"/>
            </a:xfrm>
            <a:custGeom>
              <a:avLst/>
              <a:gdLst>
                <a:gd name="T0" fmla="*/ 3 w 6"/>
                <a:gd name="T1" fmla="*/ 0 h 4"/>
                <a:gd name="T2" fmla="*/ 1 w 6"/>
                <a:gd name="T3" fmla="*/ 1 h 4"/>
                <a:gd name="T4" fmla="*/ 3 w 6"/>
                <a:gd name="T5" fmla="*/ 4 h 4"/>
                <a:gd name="T6" fmla="*/ 3 w 6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3" y="0"/>
                  </a:moveTo>
                  <a:cubicBezTo>
                    <a:pt x="2" y="0"/>
                    <a:pt x="0" y="0"/>
                    <a:pt x="1" y="1"/>
                  </a:cubicBezTo>
                  <a:cubicBezTo>
                    <a:pt x="1" y="1"/>
                    <a:pt x="3" y="4"/>
                    <a:pt x="3" y="4"/>
                  </a:cubicBezTo>
                  <a:cubicBezTo>
                    <a:pt x="5" y="4"/>
                    <a:pt x="6" y="0"/>
                    <a:pt x="3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60" name="Freeform 460">
              <a:extLst>
                <a:ext uri="{FF2B5EF4-FFF2-40B4-BE49-F238E27FC236}">
                  <a16:creationId xmlns:a16="http://schemas.microsoft.com/office/drawing/2014/main" id="{1727B549-A43B-3DB0-EDC9-776CE91466F4}"/>
                </a:ext>
              </a:extLst>
            </p:cNvPr>
            <p:cNvSpPr>
              <a:spLocks/>
            </p:cNvSpPr>
            <p:nvPr/>
          </p:nvSpPr>
          <p:spPr bwMode="auto">
            <a:xfrm>
              <a:off x="8804310" y="4557255"/>
              <a:ext cx="25036" cy="17031"/>
            </a:xfrm>
            <a:custGeom>
              <a:avLst/>
              <a:gdLst>
                <a:gd name="T0" fmla="*/ 4 w 5"/>
                <a:gd name="T1" fmla="*/ 1 h 3"/>
                <a:gd name="T2" fmla="*/ 2 w 5"/>
                <a:gd name="T3" fmla="*/ 0 h 3"/>
                <a:gd name="T4" fmla="*/ 1 w 5"/>
                <a:gd name="T5" fmla="*/ 2 h 3"/>
                <a:gd name="T6" fmla="*/ 2 w 5"/>
                <a:gd name="T7" fmla="*/ 2 h 3"/>
                <a:gd name="T8" fmla="*/ 4 w 5"/>
                <a:gd name="T9" fmla="*/ 1 h 3"/>
                <a:gd name="T10" fmla="*/ 4 w 5"/>
                <a:gd name="T11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">
                  <a:moveTo>
                    <a:pt x="4" y="1"/>
                  </a:moveTo>
                  <a:cubicBezTo>
                    <a:pt x="4" y="1"/>
                    <a:pt x="3" y="0"/>
                    <a:pt x="2" y="0"/>
                  </a:cubicBezTo>
                  <a:cubicBezTo>
                    <a:pt x="2" y="1"/>
                    <a:pt x="0" y="2"/>
                    <a:pt x="1" y="2"/>
                  </a:cubicBezTo>
                  <a:cubicBezTo>
                    <a:pt x="1" y="2"/>
                    <a:pt x="2" y="3"/>
                    <a:pt x="2" y="2"/>
                  </a:cubicBezTo>
                  <a:cubicBezTo>
                    <a:pt x="3" y="2"/>
                    <a:pt x="5" y="2"/>
                    <a:pt x="4" y="1"/>
                  </a:cubicBezTo>
                  <a:cubicBezTo>
                    <a:pt x="4" y="1"/>
                    <a:pt x="5" y="2"/>
                    <a:pt x="4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61" name="Freeform 461">
              <a:extLst>
                <a:ext uri="{FF2B5EF4-FFF2-40B4-BE49-F238E27FC236}">
                  <a16:creationId xmlns:a16="http://schemas.microsoft.com/office/drawing/2014/main" id="{41CBB5E4-481D-F0DC-DB55-C4C5B932C2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23980" y="4557255"/>
              <a:ext cx="37553" cy="22709"/>
            </a:xfrm>
            <a:custGeom>
              <a:avLst/>
              <a:gdLst>
                <a:gd name="T0" fmla="*/ 2 w 7"/>
                <a:gd name="T1" fmla="*/ 1 h 4"/>
                <a:gd name="T2" fmla="*/ 2 w 7"/>
                <a:gd name="T3" fmla="*/ 4 h 4"/>
                <a:gd name="T4" fmla="*/ 6 w 7"/>
                <a:gd name="T5" fmla="*/ 3 h 4"/>
                <a:gd name="T6" fmla="*/ 5 w 7"/>
                <a:gd name="T7" fmla="*/ 1 h 4"/>
                <a:gd name="T8" fmla="*/ 2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2" y="1"/>
                  </a:moveTo>
                  <a:cubicBezTo>
                    <a:pt x="1" y="2"/>
                    <a:pt x="0" y="4"/>
                    <a:pt x="2" y="4"/>
                  </a:cubicBezTo>
                  <a:cubicBezTo>
                    <a:pt x="4" y="4"/>
                    <a:pt x="5" y="4"/>
                    <a:pt x="6" y="3"/>
                  </a:cubicBezTo>
                  <a:cubicBezTo>
                    <a:pt x="7" y="3"/>
                    <a:pt x="5" y="2"/>
                    <a:pt x="5" y="1"/>
                  </a:cubicBezTo>
                  <a:cubicBezTo>
                    <a:pt x="4" y="0"/>
                    <a:pt x="3" y="0"/>
                    <a:pt x="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62" name="Freeform 462">
              <a:extLst>
                <a:ext uri="{FF2B5EF4-FFF2-40B4-BE49-F238E27FC236}">
                  <a16:creationId xmlns:a16="http://schemas.microsoft.com/office/drawing/2014/main" id="{7745F7D4-23D9-6C3D-25C6-ABC4F1A9E943}"/>
                </a:ext>
              </a:extLst>
            </p:cNvPr>
            <p:cNvSpPr>
              <a:spLocks/>
            </p:cNvSpPr>
            <p:nvPr/>
          </p:nvSpPr>
          <p:spPr bwMode="auto">
            <a:xfrm>
              <a:off x="8850804" y="4551579"/>
              <a:ext cx="42917" cy="28387"/>
            </a:xfrm>
            <a:custGeom>
              <a:avLst/>
              <a:gdLst>
                <a:gd name="T0" fmla="*/ 1 w 8"/>
                <a:gd name="T1" fmla="*/ 0 h 5"/>
                <a:gd name="T2" fmla="*/ 0 w 8"/>
                <a:gd name="T3" fmla="*/ 1 h 5"/>
                <a:gd name="T4" fmla="*/ 2 w 8"/>
                <a:gd name="T5" fmla="*/ 2 h 5"/>
                <a:gd name="T6" fmla="*/ 2 w 8"/>
                <a:gd name="T7" fmla="*/ 3 h 5"/>
                <a:gd name="T8" fmla="*/ 7 w 8"/>
                <a:gd name="T9" fmla="*/ 4 h 5"/>
                <a:gd name="T10" fmla="*/ 7 w 8"/>
                <a:gd name="T11" fmla="*/ 1 h 5"/>
                <a:gd name="T12" fmla="*/ 1 w 8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5">
                  <a:moveTo>
                    <a:pt x="1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0" y="1"/>
                    <a:pt x="2" y="1"/>
                    <a:pt x="2" y="2"/>
                  </a:cubicBezTo>
                  <a:cubicBezTo>
                    <a:pt x="2" y="2"/>
                    <a:pt x="2" y="3"/>
                    <a:pt x="2" y="3"/>
                  </a:cubicBezTo>
                  <a:cubicBezTo>
                    <a:pt x="2" y="4"/>
                    <a:pt x="6" y="5"/>
                    <a:pt x="7" y="4"/>
                  </a:cubicBezTo>
                  <a:cubicBezTo>
                    <a:pt x="8" y="3"/>
                    <a:pt x="8" y="2"/>
                    <a:pt x="7" y="1"/>
                  </a:cubicBezTo>
                  <a:cubicBezTo>
                    <a:pt x="5" y="1"/>
                    <a:pt x="3" y="1"/>
                    <a:pt x="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63" name="Freeform 463">
              <a:extLst>
                <a:ext uri="{FF2B5EF4-FFF2-40B4-BE49-F238E27FC236}">
                  <a16:creationId xmlns:a16="http://schemas.microsoft.com/office/drawing/2014/main" id="{6CA5CB04-5C92-4549-854E-C1DE833C897C}"/>
                </a:ext>
              </a:extLst>
            </p:cNvPr>
            <p:cNvSpPr>
              <a:spLocks/>
            </p:cNvSpPr>
            <p:nvPr/>
          </p:nvSpPr>
          <p:spPr bwMode="auto">
            <a:xfrm>
              <a:off x="8908030" y="4557255"/>
              <a:ext cx="64377" cy="22709"/>
            </a:xfrm>
            <a:custGeom>
              <a:avLst/>
              <a:gdLst>
                <a:gd name="T0" fmla="*/ 2 w 12"/>
                <a:gd name="T1" fmla="*/ 0 h 4"/>
                <a:gd name="T2" fmla="*/ 0 w 12"/>
                <a:gd name="T3" fmla="*/ 2 h 4"/>
                <a:gd name="T4" fmla="*/ 12 w 12"/>
                <a:gd name="T5" fmla="*/ 2 h 4"/>
                <a:gd name="T6" fmla="*/ 9 w 12"/>
                <a:gd name="T7" fmla="*/ 2 h 4"/>
                <a:gd name="T8" fmla="*/ 2 w 12"/>
                <a:gd name="T9" fmla="*/ 0 h 4"/>
                <a:gd name="T10" fmla="*/ 2 w 12"/>
                <a:gd name="T1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4">
                  <a:moveTo>
                    <a:pt x="2" y="0"/>
                  </a:moveTo>
                  <a:cubicBezTo>
                    <a:pt x="2" y="0"/>
                    <a:pt x="0" y="1"/>
                    <a:pt x="0" y="2"/>
                  </a:cubicBezTo>
                  <a:cubicBezTo>
                    <a:pt x="0" y="2"/>
                    <a:pt x="11" y="4"/>
                    <a:pt x="12" y="2"/>
                  </a:cubicBezTo>
                  <a:cubicBezTo>
                    <a:pt x="12" y="1"/>
                    <a:pt x="9" y="2"/>
                    <a:pt x="9" y="2"/>
                  </a:cubicBezTo>
                  <a:cubicBezTo>
                    <a:pt x="7" y="2"/>
                    <a:pt x="4" y="1"/>
                    <a:pt x="2" y="0"/>
                  </a:cubicBezTo>
                  <a:cubicBezTo>
                    <a:pt x="2" y="0"/>
                    <a:pt x="3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64" name="Freeform 464">
              <a:extLst>
                <a:ext uri="{FF2B5EF4-FFF2-40B4-BE49-F238E27FC236}">
                  <a16:creationId xmlns:a16="http://schemas.microsoft.com/office/drawing/2014/main" id="{5502FAAC-213B-4044-E223-1591C886F7CB}"/>
                </a:ext>
              </a:extLst>
            </p:cNvPr>
            <p:cNvSpPr>
              <a:spLocks/>
            </p:cNvSpPr>
            <p:nvPr/>
          </p:nvSpPr>
          <p:spPr bwMode="auto">
            <a:xfrm>
              <a:off x="8888358" y="4589426"/>
              <a:ext cx="57223" cy="34061"/>
            </a:xfrm>
            <a:custGeom>
              <a:avLst/>
              <a:gdLst>
                <a:gd name="T0" fmla="*/ 0 w 11"/>
                <a:gd name="T1" fmla="*/ 0 h 6"/>
                <a:gd name="T2" fmla="*/ 8 w 11"/>
                <a:gd name="T3" fmla="*/ 4 h 6"/>
                <a:gd name="T4" fmla="*/ 0 w 11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6">
                  <a:moveTo>
                    <a:pt x="0" y="0"/>
                  </a:moveTo>
                  <a:cubicBezTo>
                    <a:pt x="1" y="0"/>
                    <a:pt x="7" y="6"/>
                    <a:pt x="8" y="4"/>
                  </a:cubicBezTo>
                  <a:cubicBezTo>
                    <a:pt x="11" y="1"/>
                    <a:pt x="1" y="0"/>
                    <a:pt x="0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65" name="Freeform 465">
              <a:extLst>
                <a:ext uri="{FF2B5EF4-FFF2-40B4-BE49-F238E27FC236}">
                  <a16:creationId xmlns:a16="http://schemas.microsoft.com/office/drawing/2014/main" id="{72AB5AAE-0C2C-D95C-4754-41D48C4ECF43}"/>
                </a:ext>
              </a:extLst>
            </p:cNvPr>
            <p:cNvSpPr>
              <a:spLocks/>
            </p:cNvSpPr>
            <p:nvPr/>
          </p:nvSpPr>
          <p:spPr bwMode="auto">
            <a:xfrm>
              <a:off x="9070759" y="4411545"/>
              <a:ext cx="32188" cy="22709"/>
            </a:xfrm>
            <a:custGeom>
              <a:avLst/>
              <a:gdLst>
                <a:gd name="T0" fmla="*/ 3 w 6"/>
                <a:gd name="T1" fmla="*/ 3 h 4"/>
                <a:gd name="T2" fmla="*/ 4 w 6"/>
                <a:gd name="T3" fmla="*/ 0 h 4"/>
                <a:gd name="T4" fmla="*/ 3 w 6"/>
                <a:gd name="T5" fmla="*/ 3 h 4"/>
                <a:gd name="T6" fmla="*/ 3 w 6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3" y="3"/>
                  </a:moveTo>
                  <a:cubicBezTo>
                    <a:pt x="0" y="4"/>
                    <a:pt x="1" y="0"/>
                    <a:pt x="4" y="0"/>
                  </a:cubicBezTo>
                  <a:cubicBezTo>
                    <a:pt x="6" y="0"/>
                    <a:pt x="5" y="3"/>
                    <a:pt x="3" y="3"/>
                  </a:cubicBezTo>
                  <a:cubicBezTo>
                    <a:pt x="2" y="4"/>
                    <a:pt x="5" y="3"/>
                    <a:pt x="3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66" name="Freeform 466">
              <a:extLst>
                <a:ext uri="{FF2B5EF4-FFF2-40B4-BE49-F238E27FC236}">
                  <a16:creationId xmlns:a16="http://schemas.microsoft.com/office/drawing/2014/main" id="{47DCCD38-E2C6-7D40-96FA-E2977EF28E63}"/>
                </a:ext>
              </a:extLst>
            </p:cNvPr>
            <p:cNvSpPr>
              <a:spLocks/>
            </p:cNvSpPr>
            <p:nvPr/>
          </p:nvSpPr>
          <p:spPr bwMode="auto">
            <a:xfrm>
              <a:off x="9124408" y="4407761"/>
              <a:ext cx="78683" cy="26493"/>
            </a:xfrm>
            <a:custGeom>
              <a:avLst/>
              <a:gdLst>
                <a:gd name="T0" fmla="*/ 2 w 15"/>
                <a:gd name="T1" fmla="*/ 3 h 5"/>
                <a:gd name="T2" fmla="*/ 1 w 15"/>
                <a:gd name="T3" fmla="*/ 1 h 5"/>
                <a:gd name="T4" fmla="*/ 5 w 15"/>
                <a:gd name="T5" fmla="*/ 0 h 5"/>
                <a:gd name="T6" fmla="*/ 13 w 15"/>
                <a:gd name="T7" fmla="*/ 2 h 5"/>
                <a:gd name="T8" fmla="*/ 15 w 15"/>
                <a:gd name="T9" fmla="*/ 5 h 5"/>
                <a:gd name="T10" fmla="*/ 11 w 15"/>
                <a:gd name="T11" fmla="*/ 3 h 5"/>
                <a:gd name="T12" fmla="*/ 2 w 15"/>
                <a:gd name="T13" fmla="*/ 3 h 5"/>
                <a:gd name="T14" fmla="*/ 2 w 15"/>
                <a:gd name="T1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5">
                  <a:moveTo>
                    <a:pt x="2" y="3"/>
                  </a:moveTo>
                  <a:cubicBezTo>
                    <a:pt x="1" y="3"/>
                    <a:pt x="0" y="2"/>
                    <a:pt x="1" y="1"/>
                  </a:cubicBezTo>
                  <a:cubicBezTo>
                    <a:pt x="2" y="0"/>
                    <a:pt x="3" y="0"/>
                    <a:pt x="5" y="0"/>
                  </a:cubicBezTo>
                  <a:cubicBezTo>
                    <a:pt x="8" y="0"/>
                    <a:pt x="10" y="0"/>
                    <a:pt x="13" y="2"/>
                  </a:cubicBezTo>
                  <a:cubicBezTo>
                    <a:pt x="14" y="3"/>
                    <a:pt x="15" y="4"/>
                    <a:pt x="15" y="5"/>
                  </a:cubicBezTo>
                  <a:cubicBezTo>
                    <a:pt x="14" y="5"/>
                    <a:pt x="11" y="3"/>
                    <a:pt x="11" y="3"/>
                  </a:cubicBezTo>
                  <a:cubicBezTo>
                    <a:pt x="8" y="2"/>
                    <a:pt x="5" y="3"/>
                    <a:pt x="2" y="3"/>
                  </a:cubicBezTo>
                  <a:cubicBezTo>
                    <a:pt x="1" y="3"/>
                    <a:pt x="3" y="3"/>
                    <a:pt x="2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67" name="Freeform 467">
              <a:extLst>
                <a:ext uri="{FF2B5EF4-FFF2-40B4-BE49-F238E27FC236}">
                  <a16:creationId xmlns:a16="http://schemas.microsoft.com/office/drawing/2014/main" id="{AE8949D7-F651-07ED-45A4-6EA61261B9BC}"/>
                </a:ext>
              </a:extLst>
            </p:cNvPr>
            <p:cNvSpPr>
              <a:spLocks/>
            </p:cNvSpPr>
            <p:nvPr/>
          </p:nvSpPr>
          <p:spPr bwMode="auto">
            <a:xfrm>
              <a:off x="8882993" y="4279078"/>
              <a:ext cx="168096" cy="200590"/>
            </a:xfrm>
            <a:custGeom>
              <a:avLst/>
              <a:gdLst>
                <a:gd name="T0" fmla="*/ 13 w 32"/>
                <a:gd name="T1" fmla="*/ 32 h 36"/>
                <a:gd name="T2" fmla="*/ 14 w 32"/>
                <a:gd name="T3" fmla="*/ 30 h 36"/>
                <a:gd name="T4" fmla="*/ 11 w 32"/>
                <a:gd name="T5" fmla="*/ 28 h 36"/>
                <a:gd name="T6" fmla="*/ 12 w 32"/>
                <a:gd name="T7" fmla="*/ 23 h 36"/>
                <a:gd name="T8" fmla="*/ 8 w 32"/>
                <a:gd name="T9" fmla="*/ 23 h 36"/>
                <a:gd name="T10" fmla="*/ 8 w 32"/>
                <a:gd name="T11" fmla="*/ 29 h 36"/>
                <a:gd name="T12" fmla="*/ 8 w 32"/>
                <a:gd name="T13" fmla="*/ 30 h 36"/>
                <a:gd name="T14" fmla="*/ 7 w 32"/>
                <a:gd name="T15" fmla="*/ 34 h 36"/>
                <a:gd name="T16" fmla="*/ 4 w 32"/>
                <a:gd name="T17" fmla="*/ 36 h 36"/>
                <a:gd name="T18" fmla="*/ 4 w 32"/>
                <a:gd name="T19" fmla="*/ 31 h 36"/>
                <a:gd name="T20" fmla="*/ 2 w 32"/>
                <a:gd name="T21" fmla="*/ 26 h 36"/>
                <a:gd name="T22" fmla="*/ 1 w 32"/>
                <a:gd name="T23" fmla="*/ 21 h 36"/>
                <a:gd name="T24" fmla="*/ 3 w 32"/>
                <a:gd name="T25" fmla="*/ 14 h 36"/>
                <a:gd name="T26" fmla="*/ 9 w 32"/>
                <a:gd name="T27" fmla="*/ 5 h 36"/>
                <a:gd name="T28" fmla="*/ 11 w 32"/>
                <a:gd name="T29" fmla="*/ 2 h 36"/>
                <a:gd name="T30" fmla="*/ 18 w 32"/>
                <a:gd name="T31" fmla="*/ 4 h 36"/>
                <a:gd name="T32" fmla="*/ 25 w 32"/>
                <a:gd name="T33" fmla="*/ 4 h 36"/>
                <a:gd name="T34" fmla="*/ 32 w 32"/>
                <a:gd name="T35" fmla="*/ 1 h 36"/>
                <a:gd name="T36" fmla="*/ 29 w 32"/>
                <a:gd name="T37" fmla="*/ 6 h 36"/>
                <a:gd name="T38" fmla="*/ 23 w 32"/>
                <a:gd name="T39" fmla="*/ 7 h 36"/>
                <a:gd name="T40" fmla="*/ 10 w 32"/>
                <a:gd name="T41" fmla="*/ 7 h 36"/>
                <a:gd name="T42" fmla="*/ 6 w 32"/>
                <a:gd name="T43" fmla="*/ 10 h 36"/>
                <a:gd name="T44" fmla="*/ 10 w 32"/>
                <a:gd name="T45" fmla="*/ 15 h 36"/>
                <a:gd name="T46" fmla="*/ 13 w 32"/>
                <a:gd name="T47" fmla="*/ 14 h 36"/>
                <a:gd name="T48" fmla="*/ 20 w 32"/>
                <a:gd name="T49" fmla="*/ 13 h 36"/>
                <a:gd name="T50" fmla="*/ 17 w 32"/>
                <a:gd name="T51" fmla="*/ 16 h 36"/>
                <a:gd name="T52" fmla="*/ 13 w 32"/>
                <a:gd name="T53" fmla="*/ 17 h 36"/>
                <a:gd name="T54" fmla="*/ 14 w 32"/>
                <a:gd name="T55" fmla="*/ 20 h 36"/>
                <a:gd name="T56" fmla="*/ 18 w 32"/>
                <a:gd name="T57" fmla="*/ 25 h 36"/>
                <a:gd name="T58" fmla="*/ 19 w 32"/>
                <a:gd name="T59" fmla="*/ 28 h 36"/>
                <a:gd name="T60" fmla="*/ 22 w 32"/>
                <a:gd name="T61" fmla="*/ 30 h 36"/>
                <a:gd name="T62" fmla="*/ 13 w 32"/>
                <a:gd name="T63" fmla="*/ 32 h 36"/>
                <a:gd name="T64" fmla="*/ 13 w 32"/>
                <a:gd name="T65" fmla="*/ 3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2" h="36">
                  <a:moveTo>
                    <a:pt x="13" y="32"/>
                  </a:moveTo>
                  <a:cubicBezTo>
                    <a:pt x="13" y="31"/>
                    <a:pt x="14" y="31"/>
                    <a:pt x="14" y="30"/>
                  </a:cubicBezTo>
                  <a:cubicBezTo>
                    <a:pt x="14" y="29"/>
                    <a:pt x="12" y="28"/>
                    <a:pt x="11" y="28"/>
                  </a:cubicBezTo>
                  <a:cubicBezTo>
                    <a:pt x="10" y="26"/>
                    <a:pt x="12" y="25"/>
                    <a:pt x="12" y="23"/>
                  </a:cubicBezTo>
                  <a:cubicBezTo>
                    <a:pt x="12" y="22"/>
                    <a:pt x="8" y="22"/>
                    <a:pt x="8" y="23"/>
                  </a:cubicBezTo>
                  <a:cubicBezTo>
                    <a:pt x="7" y="25"/>
                    <a:pt x="8" y="27"/>
                    <a:pt x="8" y="29"/>
                  </a:cubicBezTo>
                  <a:cubicBezTo>
                    <a:pt x="7" y="29"/>
                    <a:pt x="8" y="30"/>
                    <a:pt x="8" y="30"/>
                  </a:cubicBezTo>
                  <a:cubicBezTo>
                    <a:pt x="8" y="32"/>
                    <a:pt x="7" y="33"/>
                    <a:pt x="7" y="34"/>
                  </a:cubicBezTo>
                  <a:cubicBezTo>
                    <a:pt x="6" y="36"/>
                    <a:pt x="7" y="36"/>
                    <a:pt x="4" y="36"/>
                  </a:cubicBezTo>
                  <a:cubicBezTo>
                    <a:pt x="1" y="36"/>
                    <a:pt x="4" y="32"/>
                    <a:pt x="4" y="31"/>
                  </a:cubicBezTo>
                  <a:cubicBezTo>
                    <a:pt x="5" y="30"/>
                    <a:pt x="4" y="27"/>
                    <a:pt x="2" y="26"/>
                  </a:cubicBezTo>
                  <a:cubicBezTo>
                    <a:pt x="0" y="25"/>
                    <a:pt x="0" y="23"/>
                    <a:pt x="1" y="21"/>
                  </a:cubicBezTo>
                  <a:cubicBezTo>
                    <a:pt x="2" y="19"/>
                    <a:pt x="2" y="16"/>
                    <a:pt x="3" y="14"/>
                  </a:cubicBezTo>
                  <a:cubicBezTo>
                    <a:pt x="5" y="11"/>
                    <a:pt x="4" y="5"/>
                    <a:pt x="9" y="5"/>
                  </a:cubicBezTo>
                  <a:cubicBezTo>
                    <a:pt x="10" y="5"/>
                    <a:pt x="9" y="2"/>
                    <a:pt x="11" y="2"/>
                  </a:cubicBezTo>
                  <a:cubicBezTo>
                    <a:pt x="14" y="3"/>
                    <a:pt x="16" y="4"/>
                    <a:pt x="18" y="4"/>
                  </a:cubicBezTo>
                  <a:cubicBezTo>
                    <a:pt x="20" y="4"/>
                    <a:pt x="23" y="5"/>
                    <a:pt x="25" y="4"/>
                  </a:cubicBezTo>
                  <a:cubicBezTo>
                    <a:pt x="26" y="4"/>
                    <a:pt x="32" y="0"/>
                    <a:pt x="32" y="1"/>
                  </a:cubicBezTo>
                  <a:cubicBezTo>
                    <a:pt x="32" y="2"/>
                    <a:pt x="29" y="5"/>
                    <a:pt x="29" y="6"/>
                  </a:cubicBezTo>
                  <a:cubicBezTo>
                    <a:pt x="27" y="7"/>
                    <a:pt x="25" y="7"/>
                    <a:pt x="23" y="7"/>
                  </a:cubicBezTo>
                  <a:cubicBezTo>
                    <a:pt x="18" y="6"/>
                    <a:pt x="14" y="7"/>
                    <a:pt x="10" y="7"/>
                  </a:cubicBezTo>
                  <a:cubicBezTo>
                    <a:pt x="7" y="6"/>
                    <a:pt x="6" y="7"/>
                    <a:pt x="6" y="10"/>
                  </a:cubicBezTo>
                  <a:cubicBezTo>
                    <a:pt x="6" y="13"/>
                    <a:pt x="9" y="13"/>
                    <a:pt x="10" y="15"/>
                  </a:cubicBezTo>
                  <a:cubicBezTo>
                    <a:pt x="11" y="17"/>
                    <a:pt x="12" y="15"/>
                    <a:pt x="13" y="14"/>
                  </a:cubicBezTo>
                  <a:cubicBezTo>
                    <a:pt x="13" y="13"/>
                    <a:pt x="20" y="12"/>
                    <a:pt x="20" y="13"/>
                  </a:cubicBezTo>
                  <a:cubicBezTo>
                    <a:pt x="21" y="13"/>
                    <a:pt x="18" y="16"/>
                    <a:pt x="17" y="16"/>
                  </a:cubicBezTo>
                  <a:cubicBezTo>
                    <a:pt x="15" y="18"/>
                    <a:pt x="15" y="18"/>
                    <a:pt x="13" y="17"/>
                  </a:cubicBezTo>
                  <a:cubicBezTo>
                    <a:pt x="13" y="17"/>
                    <a:pt x="14" y="20"/>
                    <a:pt x="14" y="20"/>
                  </a:cubicBezTo>
                  <a:cubicBezTo>
                    <a:pt x="15" y="21"/>
                    <a:pt x="18" y="23"/>
                    <a:pt x="18" y="25"/>
                  </a:cubicBezTo>
                  <a:cubicBezTo>
                    <a:pt x="18" y="26"/>
                    <a:pt x="18" y="27"/>
                    <a:pt x="19" y="28"/>
                  </a:cubicBezTo>
                  <a:cubicBezTo>
                    <a:pt x="19" y="28"/>
                    <a:pt x="21" y="30"/>
                    <a:pt x="22" y="30"/>
                  </a:cubicBezTo>
                  <a:cubicBezTo>
                    <a:pt x="20" y="31"/>
                    <a:pt x="15" y="33"/>
                    <a:pt x="13" y="32"/>
                  </a:cubicBezTo>
                  <a:cubicBezTo>
                    <a:pt x="13" y="31"/>
                    <a:pt x="14" y="33"/>
                    <a:pt x="13" y="3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68" name="Freeform 468">
              <a:extLst>
                <a:ext uri="{FF2B5EF4-FFF2-40B4-BE49-F238E27FC236}">
                  <a16:creationId xmlns:a16="http://schemas.microsoft.com/office/drawing/2014/main" id="{56A3570C-6C05-AAD7-4E7C-B35D483B8954}"/>
                </a:ext>
              </a:extLst>
            </p:cNvPr>
            <p:cNvSpPr>
              <a:spLocks/>
            </p:cNvSpPr>
            <p:nvPr/>
          </p:nvSpPr>
          <p:spPr bwMode="auto">
            <a:xfrm>
              <a:off x="9108312" y="4267724"/>
              <a:ext cx="41130" cy="83263"/>
            </a:xfrm>
            <a:custGeom>
              <a:avLst/>
              <a:gdLst>
                <a:gd name="T0" fmla="*/ 3 w 8"/>
                <a:gd name="T1" fmla="*/ 2 h 15"/>
                <a:gd name="T2" fmla="*/ 3 w 8"/>
                <a:gd name="T3" fmla="*/ 0 h 15"/>
                <a:gd name="T4" fmla="*/ 0 w 8"/>
                <a:gd name="T5" fmla="*/ 4 h 15"/>
                <a:gd name="T6" fmla="*/ 1 w 8"/>
                <a:gd name="T7" fmla="*/ 8 h 15"/>
                <a:gd name="T8" fmla="*/ 2 w 8"/>
                <a:gd name="T9" fmla="*/ 12 h 15"/>
                <a:gd name="T10" fmla="*/ 5 w 8"/>
                <a:gd name="T11" fmla="*/ 15 h 15"/>
                <a:gd name="T12" fmla="*/ 4 w 8"/>
                <a:gd name="T13" fmla="*/ 13 h 15"/>
                <a:gd name="T14" fmla="*/ 3 w 8"/>
                <a:gd name="T15" fmla="*/ 9 h 15"/>
                <a:gd name="T16" fmla="*/ 7 w 8"/>
                <a:gd name="T17" fmla="*/ 9 h 15"/>
                <a:gd name="T18" fmla="*/ 5 w 8"/>
                <a:gd name="T19" fmla="*/ 7 h 15"/>
                <a:gd name="T20" fmla="*/ 6 w 8"/>
                <a:gd name="T21" fmla="*/ 5 h 15"/>
                <a:gd name="T22" fmla="*/ 2 w 8"/>
                <a:gd name="T23" fmla="*/ 6 h 15"/>
                <a:gd name="T24" fmla="*/ 3 w 8"/>
                <a:gd name="T25" fmla="*/ 2 h 15"/>
                <a:gd name="T26" fmla="*/ 3 w 8"/>
                <a:gd name="T27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" h="15">
                  <a:moveTo>
                    <a:pt x="3" y="2"/>
                  </a:moveTo>
                  <a:cubicBezTo>
                    <a:pt x="3" y="1"/>
                    <a:pt x="3" y="1"/>
                    <a:pt x="3" y="0"/>
                  </a:cubicBezTo>
                  <a:cubicBezTo>
                    <a:pt x="2" y="0"/>
                    <a:pt x="0" y="3"/>
                    <a:pt x="0" y="4"/>
                  </a:cubicBezTo>
                  <a:cubicBezTo>
                    <a:pt x="0" y="5"/>
                    <a:pt x="1" y="6"/>
                    <a:pt x="1" y="8"/>
                  </a:cubicBezTo>
                  <a:cubicBezTo>
                    <a:pt x="1" y="9"/>
                    <a:pt x="1" y="11"/>
                    <a:pt x="2" y="12"/>
                  </a:cubicBezTo>
                  <a:cubicBezTo>
                    <a:pt x="2" y="12"/>
                    <a:pt x="5" y="15"/>
                    <a:pt x="5" y="15"/>
                  </a:cubicBezTo>
                  <a:cubicBezTo>
                    <a:pt x="5" y="15"/>
                    <a:pt x="4" y="13"/>
                    <a:pt x="4" y="13"/>
                  </a:cubicBezTo>
                  <a:cubicBezTo>
                    <a:pt x="3" y="12"/>
                    <a:pt x="3" y="10"/>
                    <a:pt x="3" y="9"/>
                  </a:cubicBezTo>
                  <a:cubicBezTo>
                    <a:pt x="3" y="8"/>
                    <a:pt x="7" y="9"/>
                    <a:pt x="7" y="9"/>
                  </a:cubicBezTo>
                  <a:cubicBezTo>
                    <a:pt x="8" y="9"/>
                    <a:pt x="6" y="8"/>
                    <a:pt x="5" y="7"/>
                  </a:cubicBezTo>
                  <a:cubicBezTo>
                    <a:pt x="5" y="7"/>
                    <a:pt x="6" y="6"/>
                    <a:pt x="6" y="5"/>
                  </a:cubicBezTo>
                  <a:cubicBezTo>
                    <a:pt x="7" y="1"/>
                    <a:pt x="3" y="6"/>
                    <a:pt x="2" y="6"/>
                  </a:cubicBezTo>
                  <a:cubicBezTo>
                    <a:pt x="2" y="6"/>
                    <a:pt x="4" y="3"/>
                    <a:pt x="3" y="2"/>
                  </a:cubicBezTo>
                  <a:cubicBezTo>
                    <a:pt x="3" y="1"/>
                    <a:pt x="4" y="3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69" name="Freeform 469">
              <a:extLst>
                <a:ext uri="{FF2B5EF4-FFF2-40B4-BE49-F238E27FC236}">
                  <a16:creationId xmlns:a16="http://schemas.microsoft.com/office/drawing/2014/main" id="{A4391FF6-813B-8DF6-85BA-6C87DDA42EA6}"/>
                </a:ext>
              </a:extLst>
            </p:cNvPr>
            <p:cNvSpPr>
              <a:spLocks/>
            </p:cNvSpPr>
            <p:nvPr/>
          </p:nvSpPr>
          <p:spPr bwMode="auto">
            <a:xfrm>
              <a:off x="9129773" y="4256371"/>
              <a:ext cx="14306" cy="11355"/>
            </a:xfrm>
            <a:custGeom>
              <a:avLst/>
              <a:gdLst>
                <a:gd name="T0" fmla="*/ 1 w 3"/>
                <a:gd name="T1" fmla="*/ 2 h 2"/>
                <a:gd name="T2" fmla="*/ 2 w 3"/>
                <a:gd name="T3" fmla="*/ 0 h 2"/>
                <a:gd name="T4" fmla="*/ 1 w 3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2">
                  <a:moveTo>
                    <a:pt x="1" y="2"/>
                  </a:moveTo>
                  <a:cubicBezTo>
                    <a:pt x="0" y="2"/>
                    <a:pt x="1" y="0"/>
                    <a:pt x="2" y="0"/>
                  </a:cubicBezTo>
                  <a:cubicBezTo>
                    <a:pt x="3" y="0"/>
                    <a:pt x="2" y="2"/>
                    <a:pt x="1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70" name="Freeform 470">
              <a:extLst>
                <a:ext uri="{FF2B5EF4-FFF2-40B4-BE49-F238E27FC236}">
                  <a16:creationId xmlns:a16="http://schemas.microsoft.com/office/drawing/2014/main" id="{E65EB901-59DC-DA92-92BD-B9E984B23A82}"/>
                </a:ext>
              </a:extLst>
            </p:cNvPr>
            <p:cNvSpPr>
              <a:spLocks/>
            </p:cNvSpPr>
            <p:nvPr/>
          </p:nvSpPr>
          <p:spPr bwMode="auto">
            <a:xfrm>
              <a:off x="9186997" y="4328280"/>
              <a:ext cx="25036" cy="11355"/>
            </a:xfrm>
            <a:custGeom>
              <a:avLst/>
              <a:gdLst>
                <a:gd name="T0" fmla="*/ 5 w 5"/>
                <a:gd name="T1" fmla="*/ 1 h 2"/>
                <a:gd name="T2" fmla="*/ 0 w 5"/>
                <a:gd name="T3" fmla="*/ 1 h 2"/>
                <a:gd name="T4" fmla="*/ 5 w 5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2">
                  <a:moveTo>
                    <a:pt x="5" y="1"/>
                  </a:moveTo>
                  <a:cubicBezTo>
                    <a:pt x="5" y="0"/>
                    <a:pt x="0" y="0"/>
                    <a:pt x="0" y="1"/>
                  </a:cubicBezTo>
                  <a:cubicBezTo>
                    <a:pt x="0" y="1"/>
                    <a:pt x="5" y="2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71" name="Freeform 471">
              <a:extLst>
                <a:ext uri="{FF2B5EF4-FFF2-40B4-BE49-F238E27FC236}">
                  <a16:creationId xmlns:a16="http://schemas.microsoft.com/office/drawing/2014/main" id="{0E635BF3-6B1A-A104-FCEA-6695299364A5}"/>
                </a:ext>
              </a:extLst>
            </p:cNvPr>
            <p:cNvSpPr>
              <a:spLocks/>
            </p:cNvSpPr>
            <p:nvPr/>
          </p:nvSpPr>
          <p:spPr bwMode="auto">
            <a:xfrm>
              <a:off x="9192362" y="4333956"/>
              <a:ext cx="98354" cy="62449"/>
            </a:xfrm>
            <a:custGeom>
              <a:avLst/>
              <a:gdLst>
                <a:gd name="T0" fmla="*/ 10 w 19"/>
                <a:gd name="T1" fmla="*/ 1 h 11"/>
                <a:gd name="T2" fmla="*/ 4 w 19"/>
                <a:gd name="T3" fmla="*/ 3 h 11"/>
                <a:gd name="T4" fmla="*/ 3 w 19"/>
                <a:gd name="T5" fmla="*/ 4 h 11"/>
                <a:gd name="T6" fmla="*/ 1 w 19"/>
                <a:gd name="T7" fmla="*/ 3 h 11"/>
                <a:gd name="T8" fmla="*/ 3 w 19"/>
                <a:gd name="T9" fmla="*/ 6 h 11"/>
                <a:gd name="T10" fmla="*/ 6 w 19"/>
                <a:gd name="T11" fmla="*/ 7 h 11"/>
                <a:gd name="T12" fmla="*/ 9 w 19"/>
                <a:gd name="T13" fmla="*/ 10 h 11"/>
                <a:gd name="T14" fmla="*/ 14 w 19"/>
                <a:gd name="T15" fmla="*/ 10 h 11"/>
                <a:gd name="T16" fmla="*/ 18 w 19"/>
                <a:gd name="T17" fmla="*/ 5 h 11"/>
                <a:gd name="T18" fmla="*/ 15 w 19"/>
                <a:gd name="T19" fmla="*/ 2 h 11"/>
                <a:gd name="T20" fmla="*/ 10 w 19"/>
                <a:gd name="T21" fmla="*/ 1 h 11"/>
                <a:gd name="T22" fmla="*/ 10 w 19"/>
                <a:gd name="T23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" h="11">
                  <a:moveTo>
                    <a:pt x="10" y="1"/>
                  </a:moveTo>
                  <a:cubicBezTo>
                    <a:pt x="9" y="0"/>
                    <a:pt x="5" y="2"/>
                    <a:pt x="4" y="3"/>
                  </a:cubicBezTo>
                  <a:cubicBezTo>
                    <a:pt x="3" y="3"/>
                    <a:pt x="4" y="3"/>
                    <a:pt x="3" y="4"/>
                  </a:cubicBezTo>
                  <a:cubicBezTo>
                    <a:pt x="3" y="5"/>
                    <a:pt x="2" y="3"/>
                    <a:pt x="1" y="3"/>
                  </a:cubicBezTo>
                  <a:cubicBezTo>
                    <a:pt x="0" y="3"/>
                    <a:pt x="2" y="6"/>
                    <a:pt x="3" y="6"/>
                  </a:cubicBezTo>
                  <a:cubicBezTo>
                    <a:pt x="3" y="7"/>
                    <a:pt x="5" y="7"/>
                    <a:pt x="6" y="7"/>
                  </a:cubicBezTo>
                  <a:cubicBezTo>
                    <a:pt x="8" y="7"/>
                    <a:pt x="8" y="9"/>
                    <a:pt x="9" y="10"/>
                  </a:cubicBezTo>
                  <a:cubicBezTo>
                    <a:pt x="10" y="11"/>
                    <a:pt x="13" y="10"/>
                    <a:pt x="14" y="10"/>
                  </a:cubicBezTo>
                  <a:cubicBezTo>
                    <a:pt x="18" y="10"/>
                    <a:pt x="19" y="8"/>
                    <a:pt x="18" y="5"/>
                  </a:cubicBezTo>
                  <a:cubicBezTo>
                    <a:pt x="18" y="3"/>
                    <a:pt x="17" y="2"/>
                    <a:pt x="15" y="2"/>
                  </a:cubicBezTo>
                  <a:cubicBezTo>
                    <a:pt x="14" y="2"/>
                    <a:pt x="12" y="1"/>
                    <a:pt x="10" y="1"/>
                  </a:cubicBezTo>
                  <a:cubicBezTo>
                    <a:pt x="10" y="1"/>
                    <a:pt x="11" y="1"/>
                    <a:pt x="10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72" name="Freeform 485">
              <a:extLst>
                <a:ext uri="{FF2B5EF4-FFF2-40B4-BE49-F238E27FC236}">
                  <a16:creationId xmlns:a16="http://schemas.microsoft.com/office/drawing/2014/main" id="{077D08ED-24FB-A21F-61BC-008184D71A3E}"/>
                </a:ext>
              </a:extLst>
            </p:cNvPr>
            <p:cNvSpPr>
              <a:spLocks/>
            </p:cNvSpPr>
            <p:nvPr/>
          </p:nvSpPr>
          <p:spPr bwMode="auto">
            <a:xfrm>
              <a:off x="7897665" y="4055781"/>
              <a:ext cx="57223" cy="100296"/>
            </a:xfrm>
            <a:custGeom>
              <a:avLst/>
              <a:gdLst>
                <a:gd name="T0" fmla="*/ 2 w 11"/>
                <a:gd name="T1" fmla="*/ 0 h 18"/>
                <a:gd name="T2" fmla="*/ 1 w 11"/>
                <a:gd name="T3" fmla="*/ 0 h 18"/>
                <a:gd name="T4" fmla="*/ 1 w 11"/>
                <a:gd name="T5" fmla="*/ 3 h 18"/>
                <a:gd name="T6" fmla="*/ 0 w 11"/>
                <a:gd name="T7" fmla="*/ 8 h 18"/>
                <a:gd name="T8" fmla="*/ 4 w 11"/>
                <a:gd name="T9" fmla="*/ 18 h 18"/>
                <a:gd name="T10" fmla="*/ 9 w 11"/>
                <a:gd name="T11" fmla="*/ 15 h 18"/>
                <a:gd name="T12" fmla="*/ 9 w 11"/>
                <a:gd name="T13" fmla="*/ 8 h 18"/>
                <a:gd name="T14" fmla="*/ 2 w 11"/>
                <a:gd name="T15" fmla="*/ 0 h 18"/>
                <a:gd name="T16" fmla="*/ 2 w 11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" h="18">
                  <a:moveTo>
                    <a:pt x="2" y="0"/>
                  </a:moveTo>
                  <a:cubicBezTo>
                    <a:pt x="2" y="0"/>
                    <a:pt x="2" y="0"/>
                    <a:pt x="1" y="0"/>
                  </a:cubicBezTo>
                  <a:cubicBezTo>
                    <a:pt x="1" y="0"/>
                    <a:pt x="1" y="3"/>
                    <a:pt x="1" y="3"/>
                  </a:cubicBezTo>
                  <a:cubicBezTo>
                    <a:pt x="1" y="5"/>
                    <a:pt x="0" y="6"/>
                    <a:pt x="0" y="8"/>
                  </a:cubicBezTo>
                  <a:cubicBezTo>
                    <a:pt x="0" y="11"/>
                    <a:pt x="0" y="18"/>
                    <a:pt x="4" y="18"/>
                  </a:cubicBezTo>
                  <a:cubicBezTo>
                    <a:pt x="6" y="18"/>
                    <a:pt x="9" y="17"/>
                    <a:pt x="9" y="15"/>
                  </a:cubicBezTo>
                  <a:cubicBezTo>
                    <a:pt x="11" y="13"/>
                    <a:pt x="9" y="10"/>
                    <a:pt x="9" y="8"/>
                  </a:cubicBezTo>
                  <a:cubicBezTo>
                    <a:pt x="7" y="6"/>
                    <a:pt x="5" y="0"/>
                    <a:pt x="2" y="0"/>
                  </a:cubicBezTo>
                  <a:cubicBezTo>
                    <a:pt x="1" y="0"/>
                    <a:pt x="3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73" name="Freeform 487">
              <a:extLst>
                <a:ext uri="{FF2B5EF4-FFF2-40B4-BE49-F238E27FC236}">
                  <a16:creationId xmlns:a16="http://schemas.microsoft.com/office/drawing/2014/main" id="{56422E5F-8A18-E67B-7F56-F78B2C4EEFF7}"/>
                </a:ext>
              </a:extLst>
            </p:cNvPr>
            <p:cNvSpPr>
              <a:spLocks/>
            </p:cNvSpPr>
            <p:nvPr/>
          </p:nvSpPr>
          <p:spPr bwMode="auto">
            <a:xfrm>
              <a:off x="7352248" y="1938224"/>
              <a:ext cx="57223" cy="45416"/>
            </a:xfrm>
            <a:custGeom>
              <a:avLst/>
              <a:gdLst>
                <a:gd name="T0" fmla="*/ 9 w 11"/>
                <a:gd name="T1" fmla="*/ 7 h 8"/>
                <a:gd name="T2" fmla="*/ 8 w 11"/>
                <a:gd name="T3" fmla="*/ 4 h 8"/>
                <a:gd name="T4" fmla="*/ 3 w 11"/>
                <a:gd name="T5" fmla="*/ 0 h 8"/>
                <a:gd name="T6" fmla="*/ 1 w 11"/>
                <a:gd name="T7" fmla="*/ 2 h 8"/>
                <a:gd name="T8" fmla="*/ 3 w 11"/>
                <a:gd name="T9" fmla="*/ 5 h 8"/>
                <a:gd name="T10" fmla="*/ 9 w 11"/>
                <a:gd name="T11" fmla="*/ 7 h 8"/>
                <a:gd name="T12" fmla="*/ 9 w 11"/>
                <a:gd name="T13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8">
                  <a:moveTo>
                    <a:pt x="9" y="7"/>
                  </a:moveTo>
                  <a:cubicBezTo>
                    <a:pt x="11" y="8"/>
                    <a:pt x="9" y="5"/>
                    <a:pt x="8" y="4"/>
                  </a:cubicBezTo>
                  <a:cubicBezTo>
                    <a:pt x="7" y="3"/>
                    <a:pt x="4" y="1"/>
                    <a:pt x="3" y="0"/>
                  </a:cubicBezTo>
                  <a:cubicBezTo>
                    <a:pt x="2" y="0"/>
                    <a:pt x="1" y="1"/>
                    <a:pt x="1" y="2"/>
                  </a:cubicBezTo>
                  <a:cubicBezTo>
                    <a:pt x="0" y="3"/>
                    <a:pt x="2" y="4"/>
                    <a:pt x="3" y="5"/>
                  </a:cubicBezTo>
                  <a:cubicBezTo>
                    <a:pt x="5" y="6"/>
                    <a:pt x="7" y="7"/>
                    <a:pt x="9" y="7"/>
                  </a:cubicBezTo>
                  <a:cubicBezTo>
                    <a:pt x="10" y="7"/>
                    <a:pt x="7" y="7"/>
                    <a:pt x="9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74" name="Freeform 488">
              <a:extLst>
                <a:ext uri="{FF2B5EF4-FFF2-40B4-BE49-F238E27FC236}">
                  <a16:creationId xmlns:a16="http://schemas.microsoft.com/office/drawing/2014/main" id="{14B9701D-ED59-3619-CE90-8F45E255D899}"/>
                </a:ext>
              </a:extLst>
            </p:cNvPr>
            <p:cNvSpPr>
              <a:spLocks/>
            </p:cNvSpPr>
            <p:nvPr/>
          </p:nvSpPr>
          <p:spPr bwMode="auto">
            <a:xfrm>
              <a:off x="7078645" y="1972287"/>
              <a:ext cx="57223" cy="54878"/>
            </a:xfrm>
            <a:custGeom>
              <a:avLst/>
              <a:gdLst>
                <a:gd name="T0" fmla="*/ 10 w 11"/>
                <a:gd name="T1" fmla="*/ 6 h 10"/>
                <a:gd name="T2" fmla="*/ 6 w 11"/>
                <a:gd name="T3" fmla="*/ 10 h 10"/>
                <a:gd name="T4" fmla="*/ 0 w 11"/>
                <a:gd name="T5" fmla="*/ 6 h 10"/>
                <a:gd name="T6" fmla="*/ 10 w 11"/>
                <a:gd name="T7" fmla="*/ 6 h 10"/>
                <a:gd name="T8" fmla="*/ 10 w 11"/>
                <a:gd name="T9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0">
                  <a:moveTo>
                    <a:pt x="10" y="6"/>
                  </a:moveTo>
                  <a:cubicBezTo>
                    <a:pt x="10" y="8"/>
                    <a:pt x="7" y="9"/>
                    <a:pt x="6" y="10"/>
                  </a:cubicBezTo>
                  <a:cubicBezTo>
                    <a:pt x="4" y="10"/>
                    <a:pt x="0" y="9"/>
                    <a:pt x="0" y="6"/>
                  </a:cubicBezTo>
                  <a:cubicBezTo>
                    <a:pt x="1" y="0"/>
                    <a:pt x="11" y="6"/>
                    <a:pt x="10" y="6"/>
                  </a:cubicBezTo>
                  <a:cubicBezTo>
                    <a:pt x="10" y="7"/>
                    <a:pt x="11" y="5"/>
                    <a:pt x="10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75" name="Freeform 489">
              <a:extLst>
                <a:ext uri="{FF2B5EF4-FFF2-40B4-BE49-F238E27FC236}">
                  <a16:creationId xmlns:a16="http://schemas.microsoft.com/office/drawing/2014/main" id="{4777C48B-6286-B41C-B2F2-8CFAF99EED0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50886" y="1783050"/>
              <a:ext cx="46495" cy="28387"/>
            </a:xfrm>
            <a:custGeom>
              <a:avLst/>
              <a:gdLst>
                <a:gd name="T0" fmla="*/ 9 w 9"/>
                <a:gd name="T1" fmla="*/ 3 h 5"/>
                <a:gd name="T2" fmla="*/ 4 w 9"/>
                <a:gd name="T3" fmla="*/ 5 h 5"/>
                <a:gd name="T4" fmla="*/ 1 w 9"/>
                <a:gd name="T5" fmla="*/ 1 h 5"/>
                <a:gd name="T6" fmla="*/ 6 w 9"/>
                <a:gd name="T7" fmla="*/ 1 h 5"/>
                <a:gd name="T8" fmla="*/ 9 w 9"/>
                <a:gd name="T9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5">
                  <a:moveTo>
                    <a:pt x="9" y="3"/>
                  </a:moveTo>
                  <a:cubicBezTo>
                    <a:pt x="7" y="4"/>
                    <a:pt x="6" y="4"/>
                    <a:pt x="4" y="5"/>
                  </a:cubicBezTo>
                  <a:cubicBezTo>
                    <a:pt x="2" y="5"/>
                    <a:pt x="0" y="3"/>
                    <a:pt x="1" y="1"/>
                  </a:cubicBezTo>
                  <a:cubicBezTo>
                    <a:pt x="1" y="0"/>
                    <a:pt x="5" y="0"/>
                    <a:pt x="6" y="1"/>
                  </a:cubicBezTo>
                  <a:cubicBezTo>
                    <a:pt x="7" y="1"/>
                    <a:pt x="8" y="3"/>
                    <a:pt x="9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76" name="Freeform 490">
              <a:extLst>
                <a:ext uri="{FF2B5EF4-FFF2-40B4-BE49-F238E27FC236}">
                  <a16:creationId xmlns:a16="http://schemas.microsoft.com/office/drawing/2014/main" id="{48BAA50A-099F-597A-ACF7-DCA4A3E4A024}"/>
                </a:ext>
              </a:extLst>
            </p:cNvPr>
            <p:cNvSpPr>
              <a:spLocks/>
            </p:cNvSpPr>
            <p:nvPr/>
          </p:nvSpPr>
          <p:spPr bwMode="auto">
            <a:xfrm>
              <a:off x="8698802" y="1728172"/>
              <a:ext cx="51859" cy="26493"/>
            </a:xfrm>
            <a:custGeom>
              <a:avLst/>
              <a:gdLst>
                <a:gd name="T0" fmla="*/ 6 w 10"/>
                <a:gd name="T1" fmla="*/ 5 h 5"/>
                <a:gd name="T2" fmla="*/ 1 w 10"/>
                <a:gd name="T3" fmla="*/ 4 h 5"/>
                <a:gd name="T4" fmla="*/ 4 w 10"/>
                <a:gd name="T5" fmla="*/ 1 h 5"/>
                <a:gd name="T6" fmla="*/ 9 w 10"/>
                <a:gd name="T7" fmla="*/ 1 h 5"/>
                <a:gd name="T8" fmla="*/ 6 w 10"/>
                <a:gd name="T9" fmla="*/ 5 h 5"/>
                <a:gd name="T10" fmla="*/ 6 w 10"/>
                <a:gd name="T1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5">
                  <a:moveTo>
                    <a:pt x="6" y="5"/>
                  </a:moveTo>
                  <a:cubicBezTo>
                    <a:pt x="4" y="5"/>
                    <a:pt x="2" y="4"/>
                    <a:pt x="1" y="4"/>
                  </a:cubicBezTo>
                  <a:cubicBezTo>
                    <a:pt x="0" y="3"/>
                    <a:pt x="3" y="1"/>
                    <a:pt x="4" y="1"/>
                  </a:cubicBezTo>
                  <a:cubicBezTo>
                    <a:pt x="5" y="0"/>
                    <a:pt x="8" y="0"/>
                    <a:pt x="9" y="1"/>
                  </a:cubicBezTo>
                  <a:cubicBezTo>
                    <a:pt x="10" y="2"/>
                    <a:pt x="7" y="5"/>
                    <a:pt x="6" y="5"/>
                  </a:cubicBezTo>
                  <a:cubicBezTo>
                    <a:pt x="4" y="5"/>
                    <a:pt x="6" y="5"/>
                    <a:pt x="6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77" name="Freeform 491">
              <a:extLst>
                <a:ext uri="{FF2B5EF4-FFF2-40B4-BE49-F238E27FC236}">
                  <a16:creationId xmlns:a16="http://schemas.microsoft.com/office/drawing/2014/main" id="{C8F8EFC4-F46C-F1A6-75C8-C204D9077ED1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9481" y="1326992"/>
              <a:ext cx="32188" cy="11355"/>
            </a:xfrm>
            <a:custGeom>
              <a:avLst/>
              <a:gdLst>
                <a:gd name="T0" fmla="*/ 6 w 6"/>
                <a:gd name="T1" fmla="*/ 1 h 2"/>
                <a:gd name="T2" fmla="*/ 0 w 6"/>
                <a:gd name="T3" fmla="*/ 1 h 2"/>
                <a:gd name="T4" fmla="*/ 6 w 6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2">
                  <a:moveTo>
                    <a:pt x="6" y="1"/>
                  </a:moveTo>
                  <a:cubicBezTo>
                    <a:pt x="6" y="2"/>
                    <a:pt x="0" y="2"/>
                    <a:pt x="0" y="1"/>
                  </a:cubicBezTo>
                  <a:cubicBezTo>
                    <a:pt x="0" y="0"/>
                    <a:pt x="6" y="0"/>
                    <a:pt x="6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78" name="Freeform 492">
              <a:extLst>
                <a:ext uri="{FF2B5EF4-FFF2-40B4-BE49-F238E27FC236}">
                  <a16:creationId xmlns:a16="http://schemas.microsoft.com/office/drawing/2014/main" id="{ED0A29F2-2E52-42DE-7BF9-A89DE58BCD73}"/>
                </a:ext>
              </a:extLst>
            </p:cNvPr>
            <p:cNvSpPr>
              <a:spLocks/>
            </p:cNvSpPr>
            <p:nvPr/>
          </p:nvSpPr>
          <p:spPr bwMode="auto">
            <a:xfrm>
              <a:off x="7876208" y="1805760"/>
              <a:ext cx="30400" cy="22709"/>
            </a:xfrm>
            <a:custGeom>
              <a:avLst/>
              <a:gdLst>
                <a:gd name="T0" fmla="*/ 5 w 6"/>
                <a:gd name="T1" fmla="*/ 4 h 4"/>
                <a:gd name="T2" fmla="*/ 2 w 6"/>
                <a:gd name="T3" fmla="*/ 1 h 4"/>
                <a:gd name="T4" fmla="*/ 5 w 6"/>
                <a:gd name="T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4">
                  <a:moveTo>
                    <a:pt x="5" y="4"/>
                  </a:moveTo>
                  <a:cubicBezTo>
                    <a:pt x="4" y="4"/>
                    <a:pt x="0" y="3"/>
                    <a:pt x="2" y="1"/>
                  </a:cubicBezTo>
                  <a:cubicBezTo>
                    <a:pt x="5" y="0"/>
                    <a:pt x="6" y="4"/>
                    <a:pt x="5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79" name="Freeform 610">
              <a:extLst>
                <a:ext uri="{FF2B5EF4-FFF2-40B4-BE49-F238E27FC236}">
                  <a16:creationId xmlns:a16="http://schemas.microsoft.com/office/drawing/2014/main" id="{D35E203C-8E59-C4C3-0EFF-4646A8B46B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176266" y="4379372"/>
              <a:ext cx="10730" cy="5678"/>
            </a:xfrm>
            <a:custGeom>
              <a:avLst/>
              <a:gdLst>
                <a:gd name="T0" fmla="*/ 2 w 2"/>
                <a:gd name="T1" fmla="*/ 0 h 1"/>
                <a:gd name="T2" fmla="*/ 0 w 2"/>
                <a:gd name="T3" fmla="*/ 0 h 1"/>
                <a:gd name="T4" fmla="*/ 2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2" y="1"/>
                    <a:pt x="0" y="0"/>
                    <a:pt x="0" y="0"/>
                  </a:cubicBezTo>
                  <a:cubicBezTo>
                    <a:pt x="1" y="0"/>
                    <a:pt x="2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80" name="Freeform 611">
              <a:extLst>
                <a:ext uri="{FF2B5EF4-FFF2-40B4-BE49-F238E27FC236}">
                  <a16:creationId xmlns:a16="http://schemas.microsoft.com/office/drawing/2014/main" id="{B1D89755-28A9-4267-869B-FABAF348F037}"/>
                </a:ext>
              </a:extLst>
            </p:cNvPr>
            <p:cNvSpPr>
              <a:spLocks/>
            </p:cNvSpPr>
            <p:nvPr/>
          </p:nvSpPr>
          <p:spPr bwMode="auto">
            <a:xfrm>
              <a:off x="9108312" y="4368018"/>
              <a:ext cx="10730" cy="11355"/>
            </a:xfrm>
            <a:custGeom>
              <a:avLst/>
              <a:gdLst>
                <a:gd name="T0" fmla="*/ 2 w 2"/>
                <a:gd name="T1" fmla="*/ 0 h 2"/>
                <a:gd name="T2" fmla="*/ 0 w 2"/>
                <a:gd name="T3" fmla="*/ 1 h 2"/>
                <a:gd name="T4" fmla="*/ 2 w 2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cubicBezTo>
                    <a:pt x="2" y="1"/>
                    <a:pt x="0" y="2"/>
                    <a:pt x="0" y="1"/>
                  </a:cubicBezTo>
                  <a:cubicBezTo>
                    <a:pt x="0" y="0"/>
                    <a:pt x="2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81" name="Freeform 643">
              <a:extLst>
                <a:ext uri="{FF2B5EF4-FFF2-40B4-BE49-F238E27FC236}">
                  <a16:creationId xmlns:a16="http://schemas.microsoft.com/office/drawing/2014/main" id="{20606D8F-5D45-6182-8CF9-E8070021A407}"/>
                </a:ext>
              </a:extLst>
            </p:cNvPr>
            <p:cNvSpPr>
              <a:spLocks/>
            </p:cNvSpPr>
            <p:nvPr/>
          </p:nvSpPr>
          <p:spPr bwMode="auto">
            <a:xfrm>
              <a:off x="8997442" y="4574287"/>
              <a:ext cx="53647" cy="49203"/>
            </a:xfrm>
            <a:custGeom>
              <a:avLst/>
              <a:gdLst>
                <a:gd name="T0" fmla="*/ 9 w 10"/>
                <a:gd name="T1" fmla="*/ 0 h 9"/>
                <a:gd name="T2" fmla="*/ 2 w 10"/>
                <a:gd name="T3" fmla="*/ 7 h 9"/>
                <a:gd name="T4" fmla="*/ 10 w 10"/>
                <a:gd name="T5" fmla="*/ 3 h 9"/>
                <a:gd name="T6" fmla="*/ 9 w 10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9">
                  <a:moveTo>
                    <a:pt x="9" y="0"/>
                  </a:moveTo>
                  <a:cubicBezTo>
                    <a:pt x="7" y="1"/>
                    <a:pt x="0" y="4"/>
                    <a:pt x="2" y="7"/>
                  </a:cubicBezTo>
                  <a:cubicBezTo>
                    <a:pt x="4" y="9"/>
                    <a:pt x="9" y="3"/>
                    <a:pt x="10" y="3"/>
                  </a:cubicBezTo>
                  <a:cubicBezTo>
                    <a:pt x="10" y="2"/>
                    <a:pt x="9" y="1"/>
                    <a:pt x="9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82" name="Freeform 644">
              <a:extLst>
                <a:ext uri="{FF2B5EF4-FFF2-40B4-BE49-F238E27FC236}">
                  <a16:creationId xmlns:a16="http://schemas.microsoft.com/office/drawing/2014/main" id="{1324FC90-418B-FC8F-7D70-73A435B1F431}"/>
                </a:ext>
              </a:extLst>
            </p:cNvPr>
            <p:cNvSpPr>
              <a:spLocks/>
            </p:cNvSpPr>
            <p:nvPr/>
          </p:nvSpPr>
          <p:spPr bwMode="auto">
            <a:xfrm>
              <a:off x="9040360" y="4562933"/>
              <a:ext cx="67953" cy="26493"/>
            </a:xfrm>
            <a:custGeom>
              <a:avLst/>
              <a:gdLst>
                <a:gd name="T0" fmla="*/ 12 w 13"/>
                <a:gd name="T1" fmla="*/ 0 h 5"/>
                <a:gd name="T2" fmla="*/ 7 w 13"/>
                <a:gd name="T3" fmla="*/ 0 h 5"/>
                <a:gd name="T4" fmla="*/ 1 w 13"/>
                <a:gd name="T5" fmla="*/ 2 h 5"/>
                <a:gd name="T6" fmla="*/ 5 w 13"/>
                <a:gd name="T7" fmla="*/ 3 h 5"/>
                <a:gd name="T8" fmla="*/ 12 w 13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5">
                  <a:moveTo>
                    <a:pt x="12" y="0"/>
                  </a:moveTo>
                  <a:cubicBezTo>
                    <a:pt x="13" y="0"/>
                    <a:pt x="7" y="0"/>
                    <a:pt x="7" y="0"/>
                  </a:cubicBezTo>
                  <a:cubicBezTo>
                    <a:pt x="6" y="0"/>
                    <a:pt x="0" y="1"/>
                    <a:pt x="1" y="2"/>
                  </a:cubicBezTo>
                  <a:cubicBezTo>
                    <a:pt x="3" y="5"/>
                    <a:pt x="2" y="5"/>
                    <a:pt x="5" y="3"/>
                  </a:cubicBezTo>
                  <a:cubicBezTo>
                    <a:pt x="8" y="2"/>
                    <a:pt x="10" y="2"/>
                    <a:pt x="1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83" name="Freeform 676">
              <a:extLst>
                <a:ext uri="{FF2B5EF4-FFF2-40B4-BE49-F238E27FC236}">
                  <a16:creationId xmlns:a16="http://schemas.microsoft.com/office/drawing/2014/main" id="{8C32F4B6-2789-FD24-6AAD-CFC792EA7C29}"/>
                </a:ext>
              </a:extLst>
            </p:cNvPr>
            <p:cNvSpPr>
              <a:spLocks/>
            </p:cNvSpPr>
            <p:nvPr/>
          </p:nvSpPr>
          <p:spPr bwMode="auto">
            <a:xfrm>
              <a:off x="6964198" y="3145552"/>
              <a:ext cx="518594" cy="465521"/>
            </a:xfrm>
            <a:custGeom>
              <a:avLst/>
              <a:gdLst>
                <a:gd name="T0" fmla="*/ 95 w 99"/>
                <a:gd name="T1" fmla="*/ 73 h 84"/>
                <a:gd name="T2" fmla="*/ 93 w 99"/>
                <a:gd name="T3" fmla="*/ 68 h 84"/>
                <a:gd name="T4" fmla="*/ 90 w 99"/>
                <a:gd name="T5" fmla="*/ 65 h 84"/>
                <a:gd name="T6" fmla="*/ 86 w 99"/>
                <a:gd name="T7" fmla="*/ 60 h 84"/>
                <a:gd name="T8" fmla="*/ 87 w 99"/>
                <a:gd name="T9" fmla="*/ 55 h 84"/>
                <a:gd name="T10" fmla="*/ 89 w 99"/>
                <a:gd name="T11" fmla="*/ 50 h 84"/>
                <a:gd name="T12" fmla="*/ 84 w 99"/>
                <a:gd name="T13" fmla="*/ 49 h 84"/>
                <a:gd name="T14" fmla="*/ 84 w 99"/>
                <a:gd name="T15" fmla="*/ 46 h 84"/>
                <a:gd name="T16" fmla="*/ 84 w 99"/>
                <a:gd name="T17" fmla="*/ 40 h 84"/>
                <a:gd name="T18" fmla="*/ 82 w 99"/>
                <a:gd name="T19" fmla="*/ 36 h 84"/>
                <a:gd name="T20" fmla="*/ 85 w 99"/>
                <a:gd name="T21" fmla="*/ 31 h 84"/>
                <a:gd name="T22" fmla="*/ 86 w 99"/>
                <a:gd name="T23" fmla="*/ 20 h 84"/>
                <a:gd name="T24" fmla="*/ 79 w 99"/>
                <a:gd name="T25" fmla="*/ 18 h 84"/>
                <a:gd name="T26" fmla="*/ 76 w 99"/>
                <a:gd name="T27" fmla="*/ 15 h 84"/>
                <a:gd name="T28" fmla="*/ 71 w 99"/>
                <a:gd name="T29" fmla="*/ 13 h 84"/>
                <a:gd name="T30" fmla="*/ 66 w 99"/>
                <a:gd name="T31" fmla="*/ 12 h 84"/>
                <a:gd name="T32" fmla="*/ 61 w 99"/>
                <a:gd name="T33" fmla="*/ 11 h 84"/>
                <a:gd name="T34" fmla="*/ 57 w 99"/>
                <a:gd name="T35" fmla="*/ 12 h 84"/>
                <a:gd name="T36" fmla="*/ 53 w 99"/>
                <a:gd name="T37" fmla="*/ 15 h 84"/>
                <a:gd name="T38" fmla="*/ 49 w 99"/>
                <a:gd name="T39" fmla="*/ 17 h 84"/>
                <a:gd name="T40" fmla="*/ 46 w 99"/>
                <a:gd name="T41" fmla="*/ 20 h 84"/>
                <a:gd name="T42" fmla="*/ 33 w 99"/>
                <a:gd name="T43" fmla="*/ 18 h 84"/>
                <a:gd name="T44" fmla="*/ 30 w 99"/>
                <a:gd name="T45" fmla="*/ 16 h 84"/>
                <a:gd name="T46" fmla="*/ 25 w 99"/>
                <a:gd name="T47" fmla="*/ 15 h 84"/>
                <a:gd name="T48" fmla="*/ 24 w 99"/>
                <a:gd name="T49" fmla="*/ 10 h 84"/>
                <a:gd name="T50" fmla="*/ 20 w 99"/>
                <a:gd name="T51" fmla="*/ 5 h 84"/>
                <a:gd name="T52" fmla="*/ 14 w 99"/>
                <a:gd name="T53" fmla="*/ 5 h 84"/>
                <a:gd name="T54" fmla="*/ 11 w 99"/>
                <a:gd name="T55" fmla="*/ 7 h 84"/>
                <a:gd name="T56" fmla="*/ 5 w 99"/>
                <a:gd name="T57" fmla="*/ 4 h 84"/>
                <a:gd name="T58" fmla="*/ 1 w 99"/>
                <a:gd name="T59" fmla="*/ 3 h 84"/>
                <a:gd name="T60" fmla="*/ 0 w 99"/>
                <a:gd name="T61" fmla="*/ 5 h 84"/>
                <a:gd name="T62" fmla="*/ 1 w 99"/>
                <a:gd name="T63" fmla="*/ 8 h 84"/>
                <a:gd name="T64" fmla="*/ 1 w 99"/>
                <a:gd name="T65" fmla="*/ 10 h 84"/>
                <a:gd name="T66" fmla="*/ 1 w 99"/>
                <a:gd name="T67" fmla="*/ 12 h 84"/>
                <a:gd name="T68" fmla="*/ 3 w 99"/>
                <a:gd name="T69" fmla="*/ 14 h 84"/>
                <a:gd name="T70" fmla="*/ 3 w 99"/>
                <a:gd name="T71" fmla="*/ 16 h 84"/>
                <a:gd name="T72" fmla="*/ 5 w 99"/>
                <a:gd name="T73" fmla="*/ 21 h 84"/>
                <a:gd name="T74" fmla="*/ 8 w 99"/>
                <a:gd name="T75" fmla="*/ 24 h 84"/>
                <a:gd name="T76" fmla="*/ 10 w 99"/>
                <a:gd name="T77" fmla="*/ 25 h 84"/>
                <a:gd name="T78" fmla="*/ 8 w 99"/>
                <a:gd name="T79" fmla="*/ 37 h 84"/>
                <a:gd name="T80" fmla="*/ 12 w 99"/>
                <a:gd name="T81" fmla="*/ 41 h 84"/>
                <a:gd name="T82" fmla="*/ 18 w 99"/>
                <a:gd name="T83" fmla="*/ 47 h 84"/>
                <a:gd name="T84" fmla="*/ 17 w 99"/>
                <a:gd name="T85" fmla="*/ 50 h 84"/>
                <a:gd name="T86" fmla="*/ 19 w 99"/>
                <a:gd name="T87" fmla="*/ 52 h 84"/>
                <a:gd name="T88" fmla="*/ 22 w 99"/>
                <a:gd name="T89" fmla="*/ 58 h 84"/>
                <a:gd name="T90" fmla="*/ 24 w 99"/>
                <a:gd name="T91" fmla="*/ 55 h 84"/>
                <a:gd name="T92" fmla="*/ 25 w 99"/>
                <a:gd name="T93" fmla="*/ 56 h 84"/>
                <a:gd name="T94" fmla="*/ 26 w 99"/>
                <a:gd name="T95" fmla="*/ 57 h 84"/>
                <a:gd name="T96" fmla="*/ 30 w 99"/>
                <a:gd name="T97" fmla="*/ 57 h 84"/>
                <a:gd name="T98" fmla="*/ 35 w 99"/>
                <a:gd name="T99" fmla="*/ 66 h 84"/>
                <a:gd name="T100" fmla="*/ 46 w 99"/>
                <a:gd name="T101" fmla="*/ 74 h 84"/>
                <a:gd name="T102" fmla="*/ 52 w 99"/>
                <a:gd name="T103" fmla="*/ 76 h 84"/>
                <a:gd name="T104" fmla="*/ 56 w 99"/>
                <a:gd name="T105" fmla="*/ 75 h 84"/>
                <a:gd name="T106" fmla="*/ 56 w 99"/>
                <a:gd name="T107" fmla="*/ 76 h 84"/>
                <a:gd name="T108" fmla="*/ 61 w 99"/>
                <a:gd name="T109" fmla="*/ 73 h 84"/>
                <a:gd name="T110" fmla="*/ 60 w 99"/>
                <a:gd name="T111" fmla="*/ 73 h 84"/>
                <a:gd name="T112" fmla="*/ 62 w 99"/>
                <a:gd name="T113" fmla="*/ 73 h 84"/>
                <a:gd name="T114" fmla="*/ 65 w 99"/>
                <a:gd name="T115" fmla="*/ 77 h 84"/>
                <a:gd name="T116" fmla="*/ 69 w 99"/>
                <a:gd name="T117" fmla="*/ 81 h 84"/>
                <a:gd name="T118" fmla="*/ 88 w 99"/>
                <a:gd name="T119" fmla="*/ 84 h 84"/>
                <a:gd name="T120" fmla="*/ 92 w 99"/>
                <a:gd name="T121" fmla="*/ 77 h 84"/>
                <a:gd name="T122" fmla="*/ 95 w 99"/>
                <a:gd name="T123" fmla="*/ 73 h 84"/>
                <a:gd name="T124" fmla="*/ 95 w 99"/>
                <a:gd name="T125" fmla="*/ 73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9" h="84">
                  <a:moveTo>
                    <a:pt x="95" y="73"/>
                  </a:moveTo>
                  <a:cubicBezTo>
                    <a:pt x="93" y="72"/>
                    <a:pt x="94" y="70"/>
                    <a:pt x="93" y="68"/>
                  </a:cubicBezTo>
                  <a:cubicBezTo>
                    <a:pt x="93" y="67"/>
                    <a:pt x="91" y="66"/>
                    <a:pt x="90" y="65"/>
                  </a:cubicBezTo>
                  <a:cubicBezTo>
                    <a:pt x="88" y="64"/>
                    <a:pt x="87" y="62"/>
                    <a:pt x="86" y="60"/>
                  </a:cubicBezTo>
                  <a:cubicBezTo>
                    <a:pt x="84" y="58"/>
                    <a:pt x="85" y="58"/>
                    <a:pt x="87" y="55"/>
                  </a:cubicBezTo>
                  <a:cubicBezTo>
                    <a:pt x="88" y="54"/>
                    <a:pt x="90" y="52"/>
                    <a:pt x="89" y="50"/>
                  </a:cubicBezTo>
                  <a:cubicBezTo>
                    <a:pt x="88" y="49"/>
                    <a:pt x="85" y="49"/>
                    <a:pt x="84" y="49"/>
                  </a:cubicBezTo>
                  <a:cubicBezTo>
                    <a:pt x="83" y="48"/>
                    <a:pt x="84" y="46"/>
                    <a:pt x="84" y="46"/>
                  </a:cubicBezTo>
                  <a:cubicBezTo>
                    <a:pt x="83" y="44"/>
                    <a:pt x="83" y="41"/>
                    <a:pt x="84" y="40"/>
                  </a:cubicBezTo>
                  <a:cubicBezTo>
                    <a:pt x="86" y="38"/>
                    <a:pt x="83" y="37"/>
                    <a:pt x="82" y="36"/>
                  </a:cubicBezTo>
                  <a:cubicBezTo>
                    <a:pt x="82" y="35"/>
                    <a:pt x="84" y="32"/>
                    <a:pt x="85" y="31"/>
                  </a:cubicBezTo>
                  <a:cubicBezTo>
                    <a:pt x="85" y="30"/>
                    <a:pt x="87" y="20"/>
                    <a:pt x="86" y="20"/>
                  </a:cubicBezTo>
                  <a:cubicBezTo>
                    <a:pt x="83" y="20"/>
                    <a:pt x="82" y="20"/>
                    <a:pt x="79" y="18"/>
                  </a:cubicBezTo>
                  <a:cubicBezTo>
                    <a:pt x="78" y="17"/>
                    <a:pt x="77" y="16"/>
                    <a:pt x="76" y="15"/>
                  </a:cubicBezTo>
                  <a:cubicBezTo>
                    <a:pt x="75" y="14"/>
                    <a:pt x="72" y="14"/>
                    <a:pt x="71" y="13"/>
                  </a:cubicBezTo>
                  <a:cubicBezTo>
                    <a:pt x="69" y="13"/>
                    <a:pt x="68" y="13"/>
                    <a:pt x="66" y="12"/>
                  </a:cubicBezTo>
                  <a:cubicBezTo>
                    <a:pt x="65" y="10"/>
                    <a:pt x="63" y="11"/>
                    <a:pt x="61" y="11"/>
                  </a:cubicBezTo>
                  <a:cubicBezTo>
                    <a:pt x="60" y="12"/>
                    <a:pt x="58" y="11"/>
                    <a:pt x="57" y="12"/>
                  </a:cubicBezTo>
                  <a:cubicBezTo>
                    <a:pt x="55" y="12"/>
                    <a:pt x="54" y="14"/>
                    <a:pt x="53" y="15"/>
                  </a:cubicBezTo>
                  <a:cubicBezTo>
                    <a:pt x="52" y="16"/>
                    <a:pt x="49" y="15"/>
                    <a:pt x="49" y="17"/>
                  </a:cubicBezTo>
                  <a:cubicBezTo>
                    <a:pt x="49" y="19"/>
                    <a:pt x="48" y="19"/>
                    <a:pt x="46" y="20"/>
                  </a:cubicBezTo>
                  <a:cubicBezTo>
                    <a:pt x="41" y="21"/>
                    <a:pt x="37" y="21"/>
                    <a:pt x="33" y="18"/>
                  </a:cubicBezTo>
                  <a:cubicBezTo>
                    <a:pt x="32" y="17"/>
                    <a:pt x="31" y="16"/>
                    <a:pt x="30" y="16"/>
                  </a:cubicBezTo>
                  <a:cubicBezTo>
                    <a:pt x="28" y="14"/>
                    <a:pt x="27" y="15"/>
                    <a:pt x="25" y="15"/>
                  </a:cubicBezTo>
                  <a:cubicBezTo>
                    <a:pt x="24" y="14"/>
                    <a:pt x="24" y="11"/>
                    <a:pt x="24" y="10"/>
                  </a:cubicBezTo>
                  <a:cubicBezTo>
                    <a:pt x="21" y="9"/>
                    <a:pt x="20" y="8"/>
                    <a:pt x="20" y="5"/>
                  </a:cubicBezTo>
                  <a:cubicBezTo>
                    <a:pt x="20" y="0"/>
                    <a:pt x="16" y="3"/>
                    <a:pt x="14" y="5"/>
                  </a:cubicBezTo>
                  <a:cubicBezTo>
                    <a:pt x="13" y="6"/>
                    <a:pt x="12" y="7"/>
                    <a:pt x="11" y="7"/>
                  </a:cubicBezTo>
                  <a:cubicBezTo>
                    <a:pt x="9" y="6"/>
                    <a:pt x="6" y="6"/>
                    <a:pt x="5" y="4"/>
                  </a:cubicBezTo>
                  <a:cubicBezTo>
                    <a:pt x="3" y="2"/>
                    <a:pt x="3" y="1"/>
                    <a:pt x="1" y="3"/>
                  </a:cubicBezTo>
                  <a:cubicBezTo>
                    <a:pt x="1" y="4"/>
                    <a:pt x="0" y="4"/>
                    <a:pt x="0" y="5"/>
                  </a:cubicBezTo>
                  <a:cubicBezTo>
                    <a:pt x="0" y="6"/>
                    <a:pt x="0" y="7"/>
                    <a:pt x="1" y="8"/>
                  </a:cubicBezTo>
                  <a:cubicBezTo>
                    <a:pt x="1" y="8"/>
                    <a:pt x="2" y="10"/>
                    <a:pt x="1" y="10"/>
                  </a:cubicBezTo>
                  <a:cubicBezTo>
                    <a:pt x="1" y="11"/>
                    <a:pt x="0" y="11"/>
                    <a:pt x="1" y="12"/>
                  </a:cubicBezTo>
                  <a:cubicBezTo>
                    <a:pt x="1" y="13"/>
                    <a:pt x="3" y="13"/>
                    <a:pt x="3" y="14"/>
                  </a:cubicBezTo>
                  <a:cubicBezTo>
                    <a:pt x="3" y="15"/>
                    <a:pt x="2" y="16"/>
                    <a:pt x="3" y="16"/>
                  </a:cubicBezTo>
                  <a:cubicBezTo>
                    <a:pt x="4" y="18"/>
                    <a:pt x="4" y="19"/>
                    <a:pt x="5" y="21"/>
                  </a:cubicBezTo>
                  <a:cubicBezTo>
                    <a:pt x="6" y="22"/>
                    <a:pt x="6" y="23"/>
                    <a:pt x="8" y="24"/>
                  </a:cubicBezTo>
                  <a:cubicBezTo>
                    <a:pt x="8" y="24"/>
                    <a:pt x="10" y="25"/>
                    <a:pt x="10" y="25"/>
                  </a:cubicBezTo>
                  <a:cubicBezTo>
                    <a:pt x="11" y="29"/>
                    <a:pt x="2" y="33"/>
                    <a:pt x="8" y="37"/>
                  </a:cubicBezTo>
                  <a:cubicBezTo>
                    <a:pt x="10" y="38"/>
                    <a:pt x="10" y="40"/>
                    <a:pt x="12" y="41"/>
                  </a:cubicBezTo>
                  <a:cubicBezTo>
                    <a:pt x="14" y="43"/>
                    <a:pt x="16" y="44"/>
                    <a:pt x="18" y="47"/>
                  </a:cubicBezTo>
                  <a:cubicBezTo>
                    <a:pt x="18" y="48"/>
                    <a:pt x="17" y="49"/>
                    <a:pt x="17" y="50"/>
                  </a:cubicBezTo>
                  <a:cubicBezTo>
                    <a:pt x="18" y="51"/>
                    <a:pt x="20" y="51"/>
                    <a:pt x="19" y="52"/>
                  </a:cubicBezTo>
                  <a:cubicBezTo>
                    <a:pt x="19" y="55"/>
                    <a:pt x="21" y="56"/>
                    <a:pt x="22" y="58"/>
                  </a:cubicBezTo>
                  <a:cubicBezTo>
                    <a:pt x="24" y="57"/>
                    <a:pt x="23" y="56"/>
                    <a:pt x="24" y="55"/>
                  </a:cubicBezTo>
                  <a:cubicBezTo>
                    <a:pt x="24" y="55"/>
                    <a:pt x="25" y="56"/>
                    <a:pt x="25" y="56"/>
                  </a:cubicBezTo>
                  <a:cubicBezTo>
                    <a:pt x="27" y="56"/>
                    <a:pt x="25" y="56"/>
                    <a:pt x="26" y="57"/>
                  </a:cubicBezTo>
                  <a:cubicBezTo>
                    <a:pt x="27" y="58"/>
                    <a:pt x="28" y="55"/>
                    <a:pt x="30" y="57"/>
                  </a:cubicBezTo>
                  <a:cubicBezTo>
                    <a:pt x="32" y="60"/>
                    <a:pt x="33" y="63"/>
                    <a:pt x="35" y="66"/>
                  </a:cubicBezTo>
                  <a:cubicBezTo>
                    <a:pt x="37" y="69"/>
                    <a:pt x="42" y="72"/>
                    <a:pt x="46" y="74"/>
                  </a:cubicBezTo>
                  <a:cubicBezTo>
                    <a:pt x="48" y="75"/>
                    <a:pt x="50" y="75"/>
                    <a:pt x="52" y="76"/>
                  </a:cubicBezTo>
                  <a:cubicBezTo>
                    <a:pt x="53" y="76"/>
                    <a:pt x="56" y="75"/>
                    <a:pt x="56" y="75"/>
                  </a:cubicBezTo>
                  <a:cubicBezTo>
                    <a:pt x="56" y="75"/>
                    <a:pt x="56" y="76"/>
                    <a:pt x="56" y="76"/>
                  </a:cubicBezTo>
                  <a:cubicBezTo>
                    <a:pt x="57" y="76"/>
                    <a:pt x="60" y="74"/>
                    <a:pt x="61" y="73"/>
                  </a:cubicBezTo>
                  <a:cubicBezTo>
                    <a:pt x="61" y="73"/>
                    <a:pt x="60" y="73"/>
                    <a:pt x="60" y="73"/>
                  </a:cubicBezTo>
                  <a:cubicBezTo>
                    <a:pt x="60" y="72"/>
                    <a:pt x="62" y="73"/>
                    <a:pt x="62" y="73"/>
                  </a:cubicBezTo>
                  <a:cubicBezTo>
                    <a:pt x="64" y="74"/>
                    <a:pt x="64" y="75"/>
                    <a:pt x="65" y="77"/>
                  </a:cubicBezTo>
                  <a:cubicBezTo>
                    <a:pt x="66" y="80"/>
                    <a:pt x="67" y="80"/>
                    <a:pt x="69" y="81"/>
                  </a:cubicBezTo>
                  <a:cubicBezTo>
                    <a:pt x="75" y="82"/>
                    <a:pt x="82" y="83"/>
                    <a:pt x="88" y="84"/>
                  </a:cubicBezTo>
                  <a:cubicBezTo>
                    <a:pt x="88" y="80"/>
                    <a:pt x="89" y="79"/>
                    <a:pt x="92" y="77"/>
                  </a:cubicBezTo>
                  <a:cubicBezTo>
                    <a:pt x="94" y="76"/>
                    <a:pt x="99" y="75"/>
                    <a:pt x="95" y="73"/>
                  </a:cubicBezTo>
                  <a:cubicBezTo>
                    <a:pt x="94" y="72"/>
                    <a:pt x="97" y="74"/>
                    <a:pt x="95" y="7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84" name="Freeform 680">
              <a:extLst>
                <a:ext uri="{FF2B5EF4-FFF2-40B4-BE49-F238E27FC236}">
                  <a16:creationId xmlns:a16="http://schemas.microsoft.com/office/drawing/2014/main" id="{66BF4618-0D01-B780-EB17-5C71E3175369}"/>
                </a:ext>
              </a:extLst>
            </p:cNvPr>
            <p:cNvSpPr>
              <a:spLocks/>
            </p:cNvSpPr>
            <p:nvPr/>
          </p:nvSpPr>
          <p:spPr bwMode="auto">
            <a:xfrm>
              <a:off x="7026786" y="3450223"/>
              <a:ext cx="46495" cy="56771"/>
            </a:xfrm>
            <a:custGeom>
              <a:avLst/>
              <a:gdLst>
                <a:gd name="T0" fmla="*/ 3 w 9"/>
                <a:gd name="T1" fmla="*/ 2 h 10"/>
                <a:gd name="T2" fmla="*/ 0 w 9"/>
                <a:gd name="T3" fmla="*/ 7 h 10"/>
                <a:gd name="T4" fmla="*/ 4 w 9"/>
                <a:gd name="T5" fmla="*/ 8 h 10"/>
                <a:gd name="T6" fmla="*/ 9 w 9"/>
                <a:gd name="T7" fmla="*/ 10 h 10"/>
                <a:gd name="T8" fmla="*/ 7 w 9"/>
                <a:gd name="T9" fmla="*/ 5 h 10"/>
                <a:gd name="T10" fmla="*/ 8 w 9"/>
                <a:gd name="T11" fmla="*/ 3 h 10"/>
                <a:gd name="T12" fmla="*/ 3 w 9"/>
                <a:gd name="T13" fmla="*/ 2 h 10"/>
                <a:gd name="T14" fmla="*/ 3 w 9"/>
                <a:gd name="T15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10">
                  <a:moveTo>
                    <a:pt x="3" y="2"/>
                  </a:moveTo>
                  <a:cubicBezTo>
                    <a:pt x="1" y="3"/>
                    <a:pt x="0" y="5"/>
                    <a:pt x="0" y="7"/>
                  </a:cubicBezTo>
                  <a:cubicBezTo>
                    <a:pt x="1" y="7"/>
                    <a:pt x="4" y="7"/>
                    <a:pt x="4" y="8"/>
                  </a:cubicBezTo>
                  <a:cubicBezTo>
                    <a:pt x="6" y="10"/>
                    <a:pt x="7" y="10"/>
                    <a:pt x="9" y="10"/>
                  </a:cubicBezTo>
                  <a:cubicBezTo>
                    <a:pt x="9" y="10"/>
                    <a:pt x="7" y="5"/>
                    <a:pt x="7" y="5"/>
                  </a:cubicBezTo>
                  <a:cubicBezTo>
                    <a:pt x="8" y="5"/>
                    <a:pt x="9" y="5"/>
                    <a:pt x="8" y="3"/>
                  </a:cubicBezTo>
                  <a:cubicBezTo>
                    <a:pt x="6" y="2"/>
                    <a:pt x="5" y="0"/>
                    <a:pt x="3" y="2"/>
                  </a:cubicBezTo>
                  <a:cubicBezTo>
                    <a:pt x="1" y="4"/>
                    <a:pt x="4" y="1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85" name="Freeform 682">
              <a:extLst>
                <a:ext uri="{FF2B5EF4-FFF2-40B4-BE49-F238E27FC236}">
                  <a16:creationId xmlns:a16="http://schemas.microsoft.com/office/drawing/2014/main" id="{481B544A-E63D-DE00-01F7-0AC52FCFE63D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7560" y="3228816"/>
              <a:ext cx="261085" cy="261146"/>
            </a:xfrm>
            <a:custGeom>
              <a:avLst/>
              <a:gdLst>
                <a:gd name="T0" fmla="*/ 47 w 50"/>
                <a:gd name="T1" fmla="*/ 36 h 47"/>
                <a:gd name="T2" fmla="*/ 45 w 50"/>
                <a:gd name="T3" fmla="*/ 34 h 47"/>
                <a:gd name="T4" fmla="*/ 46 w 50"/>
                <a:gd name="T5" fmla="*/ 32 h 47"/>
                <a:gd name="T6" fmla="*/ 41 w 50"/>
                <a:gd name="T7" fmla="*/ 27 h 47"/>
                <a:gd name="T8" fmla="*/ 38 w 50"/>
                <a:gd name="T9" fmla="*/ 25 h 47"/>
                <a:gd name="T10" fmla="*/ 35 w 50"/>
                <a:gd name="T11" fmla="*/ 18 h 47"/>
                <a:gd name="T12" fmla="*/ 38 w 50"/>
                <a:gd name="T13" fmla="*/ 10 h 47"/>
                <a:gd name="T14" fmla="*/ 34 w 50"/>
                <a:gd name="T15" fmla="*/ 6 h 47"/>
                <a:gd name="T16" fmla="*/ 32 w 50"/>
                <a:gd name="T17" fmla="*/ 2 h 47"/>
                <a:gd name="T18" fmla="*/ 30 w 50"/>
                <a:gd name="T19" fmla="*/ 3 h 47"/>
                <a:gd name="T20" fmla="*/ 28 w 50"/>
                <a:gd name="T21" fmla="*/ 1 h 47"/>
                <a:gd name="T22" fmla="*/ 25 w 50"/>
                <a:gd name="T23" fmla="*/ 2 h 47"/>
                <a:gd name="T24" fmla="*/ 20 w 50"/>
                <a:gd name="T25" fmla="*/ 1 h 47"/>
                <a:gd name="T26" fmla="*/ 18 w 50"/>
                <a:gd name="T27" fmla="*/ 4 h 47"/>
                <a:gd name="T28" fmla="*/ 13 w 50"/>
                <a:gd name="T29" fmla="*/ 7 h 47"/>
                <a:gd name="T30" fmla="*/ 14 w 50"/>
                <a:gd name="T31" fmla="*/ 10 h 47"/>
                <a:gd name="T32" fmla="*/ 13 w 50"/>
                <a:gd name="T33" fmla="*/ 13 h 47"/>
                <a:gd name="T34" fmla="*/ 9 w 50"/>
                <a:gd name="T35" fmla="*/ 19 h 47"/>
                <a:gd name="T36" fmla="*/ 1 w 50"/>
                <a:gd name="T37" fmla="*/ 25 h 47"/>
                <a:gd name="T38" fmla="*/ 3 w 50"/>
                <a:gd name="T39" fmla="*/ 30 h 47"/>
                <a:gd name="T40" fmla="*/ 9 w 50"/>
                <a:gd name="T41" fmla="*/ 31 h 47"/>
                <a:gd name="T42" fmla="*/ 18 w 50"/>
                <a:gd name="T43" fmla="*/ 36 h 47"/>
                <a:gd name="T44" fmla="*/ 29 w 50"/>
                <a:gd name="T45" fmla="*/ 45 h 47"/>
                <a:gd name="T46" fmla="*/ 38 w 50"/>
                <a:gd name="T47" fmla="*/ 47 h 47"/>
                <a:gd name="T48" fmla="*/ 43 w 50"/>
                <a:gd name="T49" fmla="*/ 42 h 47"/>
                <a:gd name="T50" fmla="*/ 50 w 50"/>
                <a:gd name="T51" fmla="*/ 43 h 47"/>
                <a:gd name="T52" fmla="*/ 47 w 50"/>
                <a:gd name="T53" fmla="*/ 39 h 47"/>
                <a:gd name="T54" fmla="*/ 47 w 50"/>
                <a:gd name="T55" fmla="*/ 36 h 47"/>
                <a:gd name="T56" fmla="*/ 47 w 50"/>
                <a:gd name="T57" fmla="*/ 36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" h="47">
                  <a:moveTo>
                    <a:pt x="47" y="36"/>
                  </a:moveTo>
                  <a:cubicBezTo>
                    <a:pt x="47" y="36"/>
                    <a:pt x="45" y="35"/>
                    <a:pt x="45" y="34"/>
                  </a:cubicBezTo>
                  <a:cubicBezTo>
                    <a:pt x="45" y="33"/>
                    <a:pt x="46" y="33"/>
                    <a:pt x="46" y="32"/>
                  </a:cubicBezTo>
                  <a:cubicBezTo>
                    <a:pt x="45" y="30"/>
                    <a:pt x="43" y="29"/>
                    <a:pt x="41" y="27"/>
                  </a:cubicBezTo>
                  <a:cubicBezTo>
                    <a:pt x="40" y="27"/>
                    <a:pt x="38" y="26"/>
                    <a:pt x="38" y="25"/>
                  </a:cubicBezTo>
                  <a:cubicBezTo>
                    <a:pt x="37" y="23"/>
                    <a:pt x="35" y="21"/>
                    <a:pt x="35" y="18"/>
                  </a:cubicBezTo>
                  <a:cubicBezTo>
                    <a:pt x="34" y="16"/>
                    <a:pt x="40" y="12"/>
                    <a:pt x="38" y="10"/>
                  </a:cubicBezTo>
                  <a:cubicBezTo>
                    <a:pt x="36" y="9"/>
                    <a:pt x="35" y="8"/>
                    <a:pt x="34" y="6"/>
                  </a:cubicBezTo>
                  <a:cubicBezTo>
                    <a:pt x="33" y="5"/>
                    <a:pt x="33" y="3"/>
                    <a:pt x="32" y="2"/>
                  </a:cubicBezTo>
                  <a:cubicBezTo>
                    <a:pt x="31" y="2"/>
                    <a:pt x="31" y="3"/>
                    <a:pt x="30" y="3"/>
                  </a:cubicBezTo>
                  <a:cubicBezTo>
                    <a:pt x="28" y="3"/>
                    <a:pt x="29" y="1"/>
                    <a:pt x="28" y="1"/>
                  </a:cubicBezTo>
                  <a:cubicBezTo>
                    <a:pt x="27" y="1"/>
                    <a:pt x="25" y="2"/>
                    <a:pt x="25" y="2"/>
                  </a:cubicBezTo>
                  <a:cubicBezTo>
                    <a:pt x="23" y="0"/>
                    <a:pt x="22" y="1"/>
                    <a:pt x="20" y="1"/>
                  </a:cubicBezTo>
                  <a:cubicBezTo>
                    <a:pt x="18" y="2"/>
                    <a:pt x="19" y="3"/>
                    <a:pt x="18" y="4"/>
                  </a:cubicBezTo>
                  <a:cubicBezTo>
                    <a:pt x="16" y="5"/>
                    <a:pt x="14" y="5"/>
                    <a:pt x="13" y="7"/>
                  </a:cubicBezTo>
                  <a:cubicBezTo>
                    <a:pt x="12" y="9"/>
                    <a:pt x="14" y="8"/>
                    <a:pt x="14" y="10"/>
                  </a:cubicBezTo>
                  <a:cubicBezTo>
                    <a:pt x="14" y="11"/>
                    <a:pt x="13" y="11"/>
                    <a:pt x="13" y="13"/>
                  </a:cubicBezTo>
                  <a:cubicBezTo>
                    <a:pt x="13" y="16"/>
                    <a:pt x="12" y="17"/>
                    <a:pt x="9" y="19"/>
                  </a:cubicBezTo>
                  <a:cubicBezTo>
                    <a:pt x="7" y="20"/>
                    <a:pt x="0" y="23"/>
                    <a:pt x="1" y="25"/>
                  </a:cubicBezTo>
                  <a:cubicBezTo>
                    <a:pt x="2" y="26"/>
                    <a:pt x="2" y="29"/>
                    <a:pt x="3" y="30"/>
                  </a:cubicBezTo>
                  <a:cubicBezTo>
                    <a:pt x="4" y="31"/>
                    <a:pt x="8" y="31"/>
                    <a:pt x="9" y="31"/>
                  </a:cubicBezTo>
                  <a:cubicBezTo>
                    <a:pt x="12" y="32"/>
                    <a:pt x="15" y="34"/>
                    <a:pt x="18" y="36"/>
                  </a:cubicBezTo>
                  <a:cubicBezTo>
                    <a:pt x="22" y="39"/>
                    <a:pt x="25" y="42"/>
                    <a:pt x="29" y="45"/>
                  </a:cubicBezTo>
                  <a:cubicBezTo>
                    <a:pt x="32" y="47"/>
                    <a:pt x="35" y="47"/>
                    <a:pt x="38" y="47"/>
                  </a:cubicBezTo>
                  <a:cubicBezTo>
                    <a:pt x="41" y="47"/>
                    <a:pt x="41" y="44"/>
                    <a:pt x="43" y="42"/>
                  </a:cubicBezTo>
                  <a:cubicBezTo>
                    <a:pt x="45" y="40"/>
                    <a:pt x="49" y="44"/>
                    <a:pt x="50" y="43"/>
                  </a:cubicBezTo>
                  <a:cubicBezTo>
                    <a:pt x="49" y="42"/>
                    <a:pt x="48" y="41"/>
                    <a:pt x="47" y="39"/>
                  </a:cubicBezTo>
                  <a:cubicBezTo>
                    <a:pt x="47" y="38"/>
                    <a:pt x="48" y="37"/>
                    <a:pt x="47" y="36"/>
                  </a:cubicBezTo>
                  <a:cubicBezTo>
                    <a:pt x="46" y="35"/>
                    <a:pt x="48" y="37"/>
                    <a:pt x="47" y="3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86" name="Freeform 684">
              <a:extLst>
                <a:ext uri="{FF2B5EF4-FFF2-40B4-BE49-F238E27FC236}">
                  <a16:creationId xmlns:a16="http://schemas.microsoft.com/office/drawing/2014/main" id="{1E413A40-1F5E-1654-FAE1-3310C81A4037}"/>
                </a:ext>
              </a:extLst>
            </p:cNvPr>
            <p:cNvSpPr>
              <a:spLocks/>
            </p:cNvSpPr>
            <p:nvPr/>
          </p:nvSpPr>
          <p:spPr bwMode="auto">
            <a:xfrm>
              <a:off x="6712053" y="3395345"/>
              <a:ext cx="550782" cy="467415"/>
            </a:xfrm>
            <a:custGeom>
              <a:avLst/>
              <a:gdLst>
                <a:gd name="T0" fmla="*/ 65 w 105"/>
                <a:gd name="T1" fmla="*/ 20 h 84"/>
                <a:gd name="T2" fmla="*/ 61 w 105"/>
                <a:gd name="T3" fmla="*/ 17 h 84"/>
                <a:gd name="T4" fmla="*/ 52 w 105"/>
                <a:gd name="T5" fmla="*/ 17 h 84"/>
                <a:gd name="T6" fmla="*/ 48 w 105"/>
                <a:gd name="T7" fmla="*/ 15 h 84"/>
                <a:gd name="T8" fmla="*/ 40 w 105"/>
                <a:gd name="T9" fmla="*/ 8 h 84"/>
                <a:gd name="T10" fmla="*/ 27 w 105"/>
                <a:gd name="T11" fmla="*/ 1 h 84"/>
                <a:gd name="T12" fmla="*/ 21 w 105"/>
                <a:gd name="T13" fmla="*/ 1 h 84"/>
                <a:gd name="T14" fmla="*/ 13 w 105"/>
                <a:gd name="T15" fmla="*/ 3 h 84"/>
                <a:gd name="T16" fmla="*/ 17 w 105"/>
                <a:gd name="T17" fmla="*/ 9 h 84"/>
                <a:gd name="T18" fmla="*/ 13 w 105"/>
                <a:gd name="T19" fmla="*/ 12 h 84"/>
                <a:gd name="T20" fmla="*/ 10 w 105"/>
                <a:gd name="T21" fmla="*/ 12 h 84"/>
                <a:gd name="T22" fmla="*/ 9 w 105"/>
                <a:gd name="T23" fmla="*/ 14 h 84"/>
                <a:gd name="T24" fmla="*/ 2 w 105"/>
                <a:gd name="T25" fmla="*/ 14 h 84"/>
                <a:gd name="T26" fmla="*/ 1 w 105"/>
                <a:gd name="T27" fmla="*/ 19 h 84"/>
                <a:gd name="T28" fmla="*/ 3 w 105"/>
                <a:gd name="T29" fmla="*/ 22 h 84"/>
                <a:gd name="T30" fmla="*/ 8 w 105"/>
                <a:gd name="T31" fmla="*/ 31 h 84"/>
                <a:gd name="T32" fmla="*/ 12 w 105"/>
                <a:gd name="T33" fmla="*/ 38 h 84"/>
                <a:gd name="T34" fmla="*/ 15 w 105"/>
                <a:gd name="T35" fmla="*/ 42 h 84"/>
                <a:gd name="T36" fmla="*/ 20 w 105"/>
                <a:gd name="T37" fmla="*/ 46 h 84"/>
                <a:gd name="T38" fmla="*/ 22 w 105"/>
                <a:gd name="T39" fmla="*/ 53 h 84"/>
                <a:gd name="T40" fmla="*/ 23 w 105"/>
                <a:gd name="T41" fmla="*/ 59 h 84"/>
                <a:gd name="T42" fmla="*/ 31 w 105"/>
                <a:gd name="T43" fmla="*/ 67 h 84"/>
                <a:gd name="T44" fmla="*/ 36 w 105"/>
                <a:gd name="T45" fmla="*/ 76 h 84"/>
                <a:gd name="T46" fmla="*/ 40 w 105"/>
                <a:gd name="T47" fmla="*/ 81 h 84"/>
                <a:gd name="T48" fmla="*/ 41 w 105"/>
                <a:gd name="T49" fmla="*/ 84 h 84"/>
                <a:gd name="T50" fmla="*/ 43 w 105"/>
                <a:gd name="T51" fmla="*/ 81 h 84"/>
                <a:gd name="T52" fmla="*/ 50 w 105"/>
                <a:gd name="T53" fmla="*/ 79 h 84"/>
                <a:gd name="T54" fmla="*/ 60 w 105"/>
                <a:gd name="T55" fmla="*/ 80 h 84"/>
                <a:gd name="T56" fmla="*/ 66 w 105"/>
                <a:gd name="T57" fmla="*/ 77 h 84"/>
                <a:gd name="T58" fmla="*/ 76 w 105"/>
                <a:gd name="T59" fmla="*/ 72 h 84"/>
                <a:gd name="T60" fmla="*/ 94 w 105"/>
                <a:gd name="T61" fmla="*/ 68 h 84"/>
                <a:gd name="T62" fmla="*/ 102 w 105"/>
                <a:gd name="T63" fmla="*/ 66 h 84"/>
                <a:gd name="T64" fmla="*/ 104 w 105"/>
                <a:gd name="T65" fmla="*/ 61 h 84"/>
                <a:gd name="T66" fmla="*/ 105 w 105"/>
                <a:gd name="T67" fmla="*/ 56 h 84"/>
                <a:gd name="T68" fmla="*/ 103 w 105"/>
                <a:gd name="T69" fmla="*/ 51 h 84"/>
                <a:gd name="T70" fmla="*/ 93 w 105"/>
                <a:gd name="T71" fmla="*/ 50 h 84"/>
                <a:gd name="T72" fmla="*/ 88 w 105"/>
                <a:gd name="T73" fmla="*/ 47 h 84"/>
                <a:gd name="T74" fmla="*/ 81 w 105"/>
                <a:gd name="T75" fmla="*/ 39 h 84"/>
                <a:gd name="T76" fmla="*/ 77 w 105"/>
                <a:gd name="T77" fmla="*/ 34 h 84"/>
                <a:gd name="T78" fmla="*/ 77 w 105"/>
                <a:gd name="T79" fmla="*/ 29 h 84"/>
                <a:gd name="T80" fmla="*/ 74 w 105"/>
                <a:gd name="T81" fmla="*/ 27 h 84"/>
                <a:gd name="T82" fmla="*/ 70 w 105"/>
                <a:gd name="T83" fmla="*/ 22 h 84"/>
                <a:gd name="T84" fmla="*/ 65 w 105"/>
                <a:gd name="T85" fmla="*/ 2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5" h="84">
                  <a:moveTo>
                    <a:pt x="65" y="20"/>
                  </a:moveTo>
                  <a:cubicBezTo>
                    <a:pt x="64" y="17"/>
                    <a:pt x="64" y="17"/>
                    <a:pt x="61" y="17"/>
                  </a:cubicBezTo>
                  <a:cubicBezTo>
                    <a:pt x="58" y="17"/>
                    <a:pt x="55" y="17"/>
                    <a:pt x="52" y="17"/>
                  </a:cubicBezTo>
                  <a:cubicBezTo>
                    <a:pt x="50" y="17"/>
                    <a:pt x="49" y="15"/>
                    <a:pt x="48" y="15"/>
                  </a:cubicBezTo>
                  <a:cubicBezTo>
                    <a:pt x="45" y="12"/>
                    <a:pt x="42" y="10"/>
                    <a:pt x="40" y="8"/>
                  </a:cubicBezTo>
                  <a:cubicBezTo>
                    <a:pt x="36" y="5"/>
                    <a:pt x="32" y="2"/>
                    <a:pt x="27" y="1"/>
                  </a:cubicBezTo>
                  <a:cubicBezTo>
                    <a:pt x="25" y="0"/>
                    <a:pt x="24" y="0"/>
                    <a:pt x="21" y="1"/>
                  </a:cubicBezTo>
                  <a:cubicBezTo>
                    <a:pt x="19" y="1"/>
                    <a:pt x="16" y="2"/>
                    <a:pt x="13" y="3"/>
                  </a:cubicBezTo>
                  <a:cubicBezTo>
                    <a:pt x="14" y="5"/>
                    <a:pt x="17" y="7"/>
                    <a:pt x="17" y="9"/>
                  </a:cubicBezTo>
                  <a:cubicBezTo>
                    <a:pt x="17" y="11"/>
                    <a:pt x="14" y="12"/>
                    <a:pt x="13" y="12"/>
                  </a:cubicBezTo>
                  <a:cubicBezTo>
                    <a:pt x="12" y="13"/>
                    <a:pt x="11" y="12"/>
                    <a:pt x="10" y="12"/>
                  </a:cubicBezTo>
                  <a:cubicBezTo>
                    <a:pt x="9" y="13"/>
                    <a:pt x="9" y="14"/>
                    <a:pt x="9" y="14"/>
                  </a:cubicBezTo>
                  <a:cubicBezTo>
                    <a:pt x="7" y="17"/>
                    <a:pt x="3" y="15"/>
                    <a:pt x="2" y="14"/>
                  </a:cubicBezTo>
                  <a:cubicBezTo>
                    <a:pt x="1" y="16"/>
                    <a:pt x="1" y="17"/>
                    <a:pt x="1" y="19"/>
                  </a:cubicBezTo>
                  <a:cubicBezTo>
                    <a:pt x="0" y="22"/>
                    <a:pt x="1" y="21"/>
                    <a:pt x="3" y="22"/>
                  </a:cubicBezTo>
                  <a:cubicBezTo>
                    <a:pt x="5" y="24"/>
                    <a:pt x="7" y="28"/>
                    <a:pt x="8" y="31"/>
                  </a:cubicBezTo>
                  <a:cubicBezTo>
                    <a:pt x="10" y="33"/>
                    <a:pt x="11" y="35"/>
                    <a:pt x="12" y="38"/>
                  </a:cubicBezTo>
                  <a:cubicBezTo>
                    <a:pt x="13" y="40"/>
                    <a:pt x="14" y="41"/>
                    <a:pt x="15" y="42"/>
                  </a:cubicBezTo>
                  <a:cubicBezTo>
                    <a:pt x="17" y="44"/>
                    <a:pt x="19" y="44"/>
                    <a:pt x="20" y="46"/>
                  </a:cubicBezTo>
                  <a:cubicBezTo>
                    <a:pt x="21" y="48"/>
                    <a:pt x="22" y="50"/>
                    <a:pt x="22" y="53"/>
                  </a:cubicBezTo>
                  <a:cubicBezTo>
                    <a:pt x="23" y="55"/>
                    <a:pt x="22" y="57"/>
                    <a:pt x="23" y="59"/>
                  </a:cubicBezTo>
                  <a:cubicBezTo>
                    <a:pt x="25" y="63"/>
                    <a:pt x="29" y="64"/>
                    <a:pt x="31" y="67"/>
                  </a:cubicBezTo>
                  <a:cubicBezTo>
                    <a:pt x="33" y="70"/>
                    <a:pt x="34" y="74"/>
                    <a:pt x="36" y="76"/>
                  </a:cubicBezTo>
                  <a:cubicBezTo>
                    <a:pt x="37" y="78"/>
                    <a:pt x="39" y="80"/>
                    <a:pt x="40" y="81"/>
                  </a:cubicBezTo>
                  <a:cubicBezTo>
                    <a:pt x="40" y="82"/>
                    <a:pt x="40" y="84"/>
                    <a:pt x="41" y="84"/>
                  </a:cubicBezTo>
                  <a:cubicBezTo>
                    <a:pt x="43" y="84"/>
                    <a:pt x="42" y="82"/>
                    <a:pt x="43" y="81"/>
                  </a:cubicBezTo>
                  <a:cubicBezTo>
                    <a:pt x="43" y="78"/>
                    <a:pt x="48" y="79"/>
                    <a:pt x="50" y="79"/>
                  </a:cubicBezTo>
                  <a:cubicBezTo>
                    <a:pt x="53" y="79"/>
                    <a:pt x="58" y="78"/>
                    <a:pt x="60" y="80"/>
                  </a:cubicBezTo>
                  <a:cubicBezTo>
                    <a:pt x="63" y="81"/>
                    <a:pt x="64" y="79"/>
                    <a:pt x="66" y="77"/>
                  </a:cubicBezTo>
                  <a:cubicBezTo>
                    <a:pt x="69" y="73"/>
                    <a:pt x="72" y="73"/>
                    <a:pt x="76" y="72"/>
                  </a:cubicBezTo>
                  <a:cubicBezTo>
                    <a:pt x="82" y="72"/>
                    <a:pt x="88" y="70"/>
                    <a:pt x="94" y="68"/>
                  </a:cubicBezTo>
                  <a:cubicBezTo>
                    <a:pt x="96" y="67"/>
                    <a:pt x="99" y="66"/>
                    <a:pt x="102" y="66"/>
                  </a:cubicBezTo>
                  <a:cubicBezTo>
                    <a:pt x="103" y="65"/>
                    <a:pt x="103" y="63"/>
                    <a:pt x="104" y="61"/>
                  </a:cubicBezTo>
                  <a:cubicBezTo>
                    <a:pt x="104" y="60"/>
                    <a:pt x="105" y="58"/>
                    <a:pt x="105" y="56"/>
                  </a:cubicBezTo>
                  <a:cubicBezTo>
                    <a:pt x="105" y="55"/>
                    <a:pt x="104" y="52"/>
                    <a:pt x="103" y="51"/>
                  </a:cubicBezTo>
                  <a:cubicBezTo>
                    <a:pt x="100" y="51"/>
                    <a:pt x="96" y="51"/>
                    <a:pt x="93" y="50"/>
                  </a:cubicBezTo>
                  <a:cubicBezTo>
                    <a:pt x="90" y="50"/>
                    <a:pt x="90" y="49"/>
                    <a:pt x="88" y="47"/>
                  </a:cubicBezTo>
                  <a:cubicBezTo>
                    <a:pt x="86" y="43"/>
                    <a:pt x="83" y="42"/>
                    <a:pt x="81" y="39"/>
                  </a:cubicBezTo>
                  <a:cubicBezTo>
                    <a:pt x="80" y="39"/>
                    <a:pt x="78" y="35"/>
                    <a:pt x="77" y="34"/>
                  </a:cubicBezTo>
                  <a:cubicBezTo>
                    <a:pt x="76" y="32"/>
                    <a:pt x="81" y="31"/>
                    <a:pt x="77" y="29"/>
                  </a:cubicBezTo>
                  <a:cubicBezTo>
                    <a:pt x="76" y="29"/>
                    <a:pt x="75" y="27"/>
                    <a:pt x="74" y="27"/>
                  </a:cubicBezTo>
                  <a:cubicBezTo>
                    <a:pt x="72" y="27"/>
                    <a:pt x="71" y="24"/>
                    <a:pt x="70" y="22"/>
                  </a:cubicBezTo>
                  <a:cubicBezTo>
                    <a:pt x="69" y="19"/>
                    <a:pt x="69" y="20"/>
                    <a:pt x="65" y="2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87" name="Freeform 685">
              <a:extLst>
                <a:ext uri="{FF2B5EF4-FFF2-40B4-BE49-F238E27FC236}">
                  <a16:creationId xmlns:a16="http://schemas.microsoft.com/office/drawing/2014/main" id="{E3CB125B-B295-8E87-4C27-CD643D4EC5CE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2783" y="3361280"/>
              <a:ext cx="109084" cy="123003"/>
            </a:xfrm>
            <a:custGeom>
              <a:avLst/>
              <a:gdLst>
                <a:gd name="T0" fmla="*/ 5 w 21"/>
                <a:gd name="T1" fmla="*/ 22 h 22"/>
                <a:gd name="T2" fmla="*/ 8 w 21"/>
                <a:gd name="T3" fmla="*/ 19 h 22"/>
                <a:gd name="T4" fmla="*/ 12 w 21"/>
                <a:gd name="T5" fmla="*/ 18 h 22"/>
                <a:gd name="T6" fmla="*/ 15 w 21"/>
                <a:gd name="T7" fmla="*/ 15 h 22"/>
                <a:gd name="T8" fmla="*/ 11 w 21"/>
                <a:gd name="T9" fmla="*/ 9 h 22"/>
                <a:gd name="T10" fmla="*/ 21 w 21"/>
                <a:gd name="T11" fmla="*/ 6 h 22"/>
                <a:gd name="T12" fmla="*/ 19 w 21"/>
                <a:gd name="T13" fmla="*/ 0 h 22"/>
                <a:gd name="T14" fmla="*/ 9 w 21"/>
                <a:gd name="T15" fmla="*/ 5 h 22"/>
                <a:gd name="T16" fmla="*/ 4 w 21"/>
                <a:gd name="T17" fmla="*/ 1 h 22"/>
                <a:gd name="T18" fmla="*/ 3 w 21"/>
                <a:gd name="T19" fmla="*/ 11 h 22"/>
                <a:gd name="T20" fmla="*/ 0 w 21"/>
                <a:gd name="T21" fmla="*/ 18 h 22"/>
                <a:gd name="T22" fmla="*/ 1 w 21"/>
                <a:gd name="T23" fmla="*/ 21 h 22"/>
                <a:gd name="T24" fmla="*/ 5 w 21"/>
                <a:gd name="T2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" h="22">
                  <a:moveTo>
                    <a:pt x="5" y="22"/>
                  </a:moveTo>
                  <a:cubicBezTo>
                    <a:pt x="7" y="22"/>
                    <a:pt x="7" y="19"/>
                    <a:pt x="8" y="19"/>
                  </a:cubicBezTo>
                  <a:cubicBezTo>
                    <a:pt x="9" y="17"/>
                    <a:pt x="11" y="18"/>
                    <a:pt x="12" y="18"/>
                  </a:cubicBezTo>
                  <a:cubicBezTo>
                    <a:pt x="13" y="17"/>
                    <a:pt x="16" y="16"/>
                    <a:pt x="15" y="15"/>
                  </a:cubicBezTo>
                  <a:cubicBezTo>
                    <a:pt x="14" y="13"/>
                    <a:pt x="13" y="11"/>
                    <a:pt x="11" y="9"/>
                  </a:cubicBezTo>
                  <a:cubicBezTo>
                    <a:pt x="15" y="8"/>
                    <a:pt x="18" y="7"/>
                    <a:pt x="21" y="6"/>
                  </a:cubicBezTo>
                  <a:cubicBezTo>
                    <a:pt x="21" y="4"/>
                    <a:pt x="20" y="2"/>
                    <a:pt x="19" y="0"/>
                  </a:cubicBezTo>
                  <a:cubicBezTo>
                    <a:pt x="16" y="1"/>
                    <a:pt x="12" y="5"/>
                    <a:pt x="9" y="5"/>
                  </a:cubicBezTo>
                  <a:cubicBezTo>
                    <a:pt x="7" y="5"/>
                    <a:pt x="4" y="3"/>
                    <a:pt x="4" y="1"/>
                  </a:cubicBezTo>
                  <a:cubicBezTo>
                    <a:pt x="3" y="5"/>
                    <a:pt x="3" y="8"/>
                    <a:pt x="3" y="11"/>
                  </a:cubicBezTo>
                  <a:cubicBezTo>
                    <a:pt x="2" y="13"/>
                    <a:pt x="0" y="16"/>
                    <a:pt x="0" y="18"/>
                  </a:cubicBezTo>
                  <a:cubicBezTo>
                    <a:pt x="0" y="20"/>
                    <a:pt x="0" y="20"/>
                    <a:pt x="1" y="21"/>
                  </a:cubicBezTo>
                  <a:cubicBezTo>
                    <a:pt x="3" y="21"/>
                    <a:pt x="4" y="22"/>
                    <a:pt x="5" y="2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88" name="Freeform 687">
              <a:extLst>
                <a:ext uri="{FF2B5EF4-FFF2-40B4-BE49-F238E27FC236}">
                  <a16:creationId xmlns:a16="http://schemas.microsoft.com/office/drawing/2014/main" id="{DB962296-E8CE-0322-6C2D-6A38517E6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2783" y="3383991"/>
              <a:ext cx="16095" cy="39739"/>
            </a:xfrm>
            <a:custGeom>
              <a:avLst/>
              <a:gdLst>
                <a:gd name="T0" fmla="*/ 0 w 3"/>
                <a:gd name="T1" fmla="*/ 3 h 7"/>
                <a:gd name="T2" fmla="*/ 3 w 3"/>
                <a:gd name="T3" fmla="*/ 7 h 7"/>
                <a:gd name="T4" fmla="*/ 3 w 3"/>
                <a:gd name="T5" fmla="*/ 1 h 7"/>
                <a:gd name="T6" fmla="*/ 2 w 3"/>
                <a:gd name="T7" fmla="*/ 0 h 7"/>
                <a:gd name="T8" fmla="*/ 0 w 3"/>
                <a:gd name="T9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7">
                  <a:moveTo>
                    <a:pt x="0" y="3"/>
                  </a:moveTo>
                  <a:cubicBezTo>
                    <a:pt x="0" y="5"/>
                    <a:pt x="1" y="6"/>
                    <a:pt x="3" y="7"/>
                  </a:cubicBezTo>
                  <a:cubicBezTo>
                    <a:pt x="3" y="5"/>
                    <a:pt x="3" y="3"/>
                    <a:pt x="3" y="1"/>
                  </a:cubicBezTo>
                  <a:cubicBezTo>
                    <a:pt x="3" y="0"/>
                    <a:pt x="3" y="0"/>
                    <a:pt x="2" y="0"/>
                  </a:cubicBezTo>
                  <a:cubicBezTo>
                    <a:pt x="0" y="0"/>
                    <a:pt x="0" y="2"/>
                    <a:pt x="0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89" name="Freeform 689">
              <a:extLst>
                <a:ext uri="{FF2B5EF4-FFF2-40B4-BE49-F238E27FC236}">
                  <a16:creationId xmlns:a16="http://schemas.microsoft.com/office/drawing/2014/main" id="{473E73A8-CF83-35C3-9FEE-C0A08B951547}"/>
                </a:ext>
              </a:extLst>
            </p:cNvPr>
            <p:cNvSpPr>
              <a:spLocks/>
            </p:cNvSpPr>
            <p:nvPr/>
          </p:nvSpPr>
          <p:spPr bwMode="auto">
            <a:xfrm>
              <a:off x="7135869" y="3578903"/>
              <a:ext cx="26823" cy="43525"/>
            </a:xfrm>
            <a:custGeom>
              <a:avLst/>
              <a:gdLst>
                <a:gd name="T0" fmla="*/ 3 w 5"/>
                <a:gd name="T1" fmla="*/ 8 h 8"/>
                <a:gd name="T2" fmla="*/ 2 w 5"/>
                <a:gd name="T3" fmla="*/ 0 h 8"/>
                <a:gd name="T4" fmla="*/ 0 w 5"/>
                <a:gd name="T5" fmla="*/ 4 h 8"/>
                <a:gd name="T6" fmla="*/ 3 w 5"/>
                <a:gd name="T7" fmla="*/ 8 h 8"/>
                <a:gd name="T8" fmla="*/ 3 w 5"/>
                <a:gd name="T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">
                  <a:moveTo>
                    <a:pt x="3" y="8"/>
                  </a:moveTo>
                  <a:cubicBezTo>
                    <a:pt x="3" y="7"/>
                    <a:pt x="5" y="0"/>
                    <a:pt x="2" y="0"/>
                  </a:cubicBezTo>
                  <a:cubicBezTo>
                    <a:pt x="1" y="1"/>
                    <a:pt x="0" y="3"/>
                    <a:pt x="0" y="4"/>
                  </a:cubicBezTo>
                  <a:cubicBezTo>
                    <a:pt x="0" y="6"/>
                    <a:pt x="1" y="7"/>
                    <a:pt x="3" y="8"/>
                  </a:cubicBezTo>
                  <a:cubicBezTo>
                    <a:pt x="3" y="8"/>
                    <a:pt x="2" y="8"/>
                    <a:pt x="3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90" name="Freeform 690">
              <a:extLst>
                <a:ext uri="{FF2B5EF4-FFF2-40B4-BE49-F238E27FC236}">
                  <a16:creationId xmlns:a16="http://schemas.microsoft.com/office/drawing/2014/main" id="{D44361C8-5087-4A18-F4EF-AE605A65B8DD}"/>
                </a:ext>
              </a:extLst>
            </p:cNvPr>
            <p:cNvSpPr>
              <a:spLocks/>
            </p:cNvSpPr>
            <p:nvPr/>
          </p:nvSpPr>
          <p:spPr bwMode="auto">
            <a:xfrm>
              <a:off x="6921280" y="3785172"/>
              <a:ext cx="278967" cy="187345"/>
            </a:xfrm>
            <a:custGeom>
              <a:avLst/>
              <a:gdLst>
                <a:gd name="T0" fmla="*/ 47 w 53"/>
                <a:gd name="T1" fmla="*/ 0 h 34"/>
                <a:gd name="T2" fmla="*/ 38 w 53"/>
                <a:gd name="T3" fmla="*/ 2 h 34"/>
                <a:gd name="T4" fmla="*/ 28 w 53"/>
                <a:gd name="T5" fmla="*/ 4 h 34"/>
                <a:gd name="T6" fmla="*/ 23 w 53"/>
                <a:gd name="T7" fmla="*/ 10 h 34"/>
                <a:gd name="T8" fmla="*/ 17 w 53"/>
                <a:gd name="T9" fmla="*/ 9 h 34"/>
                <a:gd name="T10" fmla="*/ 9 w 53"/>
                <a:gd name="T11" fmla="*/ 9 h 34"/>
                <a:gd name="T12" fmla="*/ 3 w 53"/>
                <a:gd name="T13" fmla="*/ 12 h 34"/>
                <a:gd name="T14" fmla="*/ 1 w 53"/>
                <a:gd name="T15" fmla="*/ 15 h 34"/>
                <a:gd name="T16" fmla="*/ 1 w 53"/>
                <a:gd name="T17" fmla="*/ 21 h 34"/>
                <a:gd name="T18" fmla="*/ 3 w 53"/>
                <a:gd name="T19" fmla="*/ 28 h 34"/>
                <a:gd name="T20" fmla="*/ 4 w 53"/>
                <a:gd name="T21" fmla="*/ 32 h 34"/>
                <a:gd name="T22" fmla="*/ 12 w 53"/>
                <a:gd name="T23" fmla="*/ 32 h 34"/>
                <a:gd name="T24" fmla="*/ 16 w 53"/>
                <a:gd name="T25" fmla="*/ 29 h 34"/>
                <a:gd name="T26" fmla="*/ 21 w 53"/>
                <a:gd name="T27" fmla="*/ 29 h 34"/>
                <a:gd name="T28" fmla="*/ 24 w 53"/>
                <a:gd name="T29" fmla="*/ 26 h 34"/>
                <a:gd name="T30" fmla="*/ 32 w 53"/>
                <a:gd name="T31" fmla="*/ 24 h 34"/>
                <a:gd name="T32" fmla="*/ 41 w 53"/>
                <a:gd name="T33" fmla="*/ 21 h 34"/>
                <a:gd name="T34" fmla="*/ 47 w 53"/>
                <a:gd name="T35" fmla="*/ 17 h 34"/>
                <a:gd name="T36" fmla="*/ 52 w 53"/>
                <a:gd name="T37" fmla="*/ 12 h 34"/>
                <a:gd name="T38" fmla="*/ 47 w 53"/>
                <a:gd name="T39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3" h="34">
                  <a:moveTo>
                    <a:pt x="47" y="0"/>
                  </a:moveTo>
                  <a:cubicBezTo>
                    <a:pt x="44" y="1"/>
                    <a:pt x="41" y="2"/>
                    <a:pt x="38" y="2"/>
                  </a:cubicBezTo>
                  <a:cubicBezTo>
                    <a:pt x="35" y="3"/>
                    <a:pt x="31" y="2"/>
                    <a:pt x="28" y="4"/>
                  </a:cubicBezTo>
                  <a:cubicBezTo>
                    <a:pt x="26" y="6"/>
                    <a:pt x="25" y="8"/>
                    <a:pt x="23" y="10"/>
                  </a:cubicBezTo>
                  <a:cubicBezTo>
                    <a:pt x="22" y="11"/>
                    <a:pt x="19" y="9"/>
                    <a:pt x="17" y="9"/>
                  </a:cubicBezTo>
                  <a:cubicBezTo>
                    <a:pt x="14" y="9"/>
                    <a:pt x="12" y="9"/>
                    <a:pt x="9" y="9"/>
                  </a:cubicBezTo>
                  <a:cubicBezTo>
                    <a:pt x="6" y="9"/>
                    <a:pt x="3" y="8"/>
                    <a:pt x="3" y="12"/>
                  </a:cubicBezTo>
                  <a:cubicBezTo>
                    <a:pt x="2" y="14"/>
                    <a:pt x="1" y="13"/>
                    <a:pt x="1" y="15"/>
                  </a:cubicBezTo>
                  <a:cubicBezTo>
                    <a:pt x="0" y="17"/>
                    <a:pt x="0" y="19"/>
                    <a:pt x="1" y="21"/>
                  </a:cubicBezTo>
                  <a:cubicBezTo>
                    <a:pt x="1" y="23"/>
                    <a:pt x="2" y="26"/>
                    <a:pt x="3" y="28"/>
                  </a:cubicBezTo>
                  <a:cubicBezTo>
                    <a:pt x="3" y="29"/>
                    <a:pt x="3" y="31"/>
                    <a:pt x="4" y="32"/>
                  </a:cubicBezTo>
                  <a:cubicBezTo>
                    <a:pt x="5" y="34"/>
                    <a:pt x="10" y="33"/>
                    <a:pt x="12" y="32"/>
                  </a:cubicBezTo>
                  <a:cubicBezTo>
                    <a:pt x="13" y="31"/>
                    <a:pt x="14" y="30"/>
                    <a:pt x="16" y="29"/>
                  </a:cubicBezTo>
                  <a:cubicBezTo>
                    <a:pt x="17" y="29"/>
                    <a:pt x="19" y="29"/>
                    <a:pt x="21" y="29"/>
                  </a:cubicBezTo>
                  <a:cubicBezTo>
                    <a:pt x="22" y="28"/>
                    <a:pt x="23" y="27"/>
                    <a:pt x="24" y="26"/>
                  </a:cubicBezTo>
                  <a:cubicBezTo>
                    <a:pt x="27" y="25"/>
                    <a:pt x="29" y="25"/>
                    <a:pt x="32" y="24"/>
                  </a:cubicBezTo>
                  <a:cubicBezTo>
                    <a:pt x="35" y="23"/>
                    <a:pt x="38" y="22"/>
                    <a:pt x="41" y="21"/>
                  </a:cubicBezTo>
                  <a:cubicBezTo>
                    <a:pt x="43" y="20"/>
                    <a:pt x="47" y="19"/>
                    <a:pt x="47" y="17"/>
                  </a:cubicBezTo>
                  <a:cubicBezTo>
                    <a:pt x="48" y="14"/>
                    <a:pt x="53" y="14"/>
                    <a:pt x="52" y="12"/>
                  </a:cubicBezTo>
                  <a:cubicBezTo>
                    <a:pt x="50" y="8"/>
                    <a:pt x="49" y="4"/>
                    <a:pt x="47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91" name="Freeform 691">
              <a:extLst>
                <a:ext uri="{FF2B5EF4-FFF2-40B4-BE49-F238E27FC236}">
                  <a16:creationId xmlns:a16="http://schemas.microsoft.com/office/drawing/2014/main" id="{5D37983C-A95D-4EF0-F959-A8E1F5C2A80F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8057" y="3578903"/>
              <a:ext cx="214590" cy="272501"/>
            </a:xfrm>
            <a:custGeom>
              <a:avLst/>
              <a:gdLst>
                <a:gd name="T0" fmla="*/ 39 w 41"/>
                <a:gd name="T1" fmla="*/ 19 h 49"/>
                <a:gd name="T2" fmla="*/ 34 w 41"/>
                <a:gd name="T3" fmla="*/ 14 h 49"/>
                <a:gd name="T4" fmla="*/ 28 w 41"/>
                <a:gd name="T5" fmla="*/ 12 h 49"/>
                <a:gd name="T6" fmla="*/ 22 w 41"/>
                <a:gd name="T7" fmla="*/ 6 h 49"/>
                <a:gd name="T8" fmla="*/ 21 w 41"/>
                <a:gd name="T9" fmla="*/ 3 h 49"/>
                <a:gd name="T10" fmla="*/ 22 w 41"/>
                <a:gd name="T11" fmla="*/ 0 h 49"/>
                <a:gd name="T12" fmla="*/ 17 w 41"/>
                <a:gd name="T13" fmla="*/ 5 h 49"/>
                <a:gd name="T14" fmla="*/ 10 w 41"/>
                <a:gd name="T15" fmla="*/ 10 h 49"/>
                <a:gd name="T16" fmla="*/ 5 w 41"/>
                <a:gd name="T17" fmla="*/ 10 h 49"/>
                <a:gd name="T18" fmla="*/ 0 w 41"/>
                <a:gd name="T19" fmla="*/ 11 h 49"/>
                <a:gd name="T20" fmla="*/ 5 w 41"/>
                <a:gd name="T21" fmla="*/ 17 h 49"/>
                <a:gd name="T22" fmla="*/ 16 w 41"/>
                <a:gd name="T23" fmla="*/ 19 h 49"/>
                <a:gd name="T24" fmla="*/ 16 w 41"/>
                <a:gd name="T25" fmla="*/ 32 h 49"/>
                <a:gd name="T26" fmla="*/ 11 w 41"/>
                <a:gd name="T27" fmla="*/ 34 h 49"/>
                <a:gd name="T28" fmla="*/ 0 w 41"/>
                <a:gd name="T29" fmla="*/ 37 h 49"/>
                <a:gd name="T30" fmla="*/ 5 w 41"/>
                <a:gd name="T31" fmla="*/ 49 h 49"/>
                <a:gd name="T32" fmla="*/ 14 w 41"/>
                <a:gd name="T33" fmla="*/ 48 h 49"/>
                <a:gd name="T34" fmla="*/ 17 w 41"/>
                <a:gd name="T35" fmla="*/ 44 h 49"/>
                <a:gd name="T36" fmla="*/ 23 w 41"/>
                <a:gd name="T37" fmla="*/ 42 h 49"/>
                <a:gd name="T38" fmla="*/ 28 w 41"/>
                <a:gd name="T39" fmla="*/ 38 h 49"/>
                <a:gd name="T40" fmla="*/ 29 w 41"/>
                <a:gd name="T41" fmla="*/ 32 h 49"/>
                <a:gd name="T42" fmla="*/ 32 w 41"/>
                <a:gd name="T43" fmla="*/ 30 h 49"/>
                <a:gd name="T44" fmla="*/ 37 w 41"/>
                <a:gd name="T45" fmla="*/ 24 h 49"/>
                <a:gd name="T46" fmla="*/ 39 w 41"/>
                <a:gd name="T47" fmla="*/ 19 h 49"/>
                <a:gd name="T48" fmla="*/ 39 w 41"/>
                <a:gd name="T49" fmla="*/ 1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1" h="49">
                  <a:moveTo>
                    <a:pt x="39" y="19"/>
                  </a:moveTo>
                  <a:cubicBezTo>
                    <a:pt x="36" y="19"/>
                    <a:pt x="35" y="16"/>
                    <a:pt x="34" y="14"/>
                  </a:cubicBezTo>
                  <a:cubicBezTo>
                    <a:pt x="33" y="13"/>
                    <a:pt x="29" y="13"/>
                    <a:pt x="28" y="12"/>
                  </a:cubicBezTo>
                  <a:cubicBezTo>
                    <a:pt x="25" y="11"/>
                    <a:pt x="24" y="9"/>
                    <a:pt x="22" y="6"/>
                  </a:cubicBezTo>
                  <a:cubicBezTo>
                    <a:pt x="22" y="5"/>
                    <a:pt x="21" y="4"/>
                    <a:pt x="21" y="3"/>
                  </a:cubicBezTo>
                  <a:cubicBezTo>
                    <a:pt x="21" y="3"/>
                    <a:pt x="22" y="0"/>
                    <a:pt x="22" y="0"/>
                  </a:cubicBezTo>
                  <a:cubicBezTo>
                    <a:pt x="21" y="0"/>
                    <a:pt x="18" y="4"/>
                    <a:pt x="17" y="5"/>
                  </a:cubicBezTo>
                  <a:cubicBezTo>
                    <a:pt x="15" y="7"/>
                    <a:pt x="13" y="10"/>
                    <a:pt x="10" y="10"/>
                  </a:cubicBezTo>
                  <a:cubicBezTo>
                    <a:pt x="8" y="11"/>
                    <a:pt x="7" y="10"/>
                    <a:pt x="5" y="10"/>
                  </a:cubicBezTo>
                  <a:cubicBezTo>
                    <a:pt x="3" y="11"/>
                    <a:pt x="1" y="13"/>
                    <a:pt x="0" y="11"/>
                  </a:cubicBezTo>
                  <a:cubicBezTo>
                    <a:pt x="1" y="14"/>
                    <a:pt x="2" y="17"/>
                    <a:pt x="5" y="17"/>
                  </a:cubicBezTo>
                  <a:cubicBezTo>
                    <a:pt x="7" y="17"/>
                    <a:pt x="15" y="17"/>
                    <a:pt x="16" y="19"/>
                  </a:cubicBezTo>
                  <a:cubicBezTo>
                    <a:pt x="19" y="23"/>
                    <a:pt x="17" y="27"/>
                    <a:pt x="16" y="32"/>
                  </a:cubicBezTo>
                  <a:cubicBezTo>
                    <a:pt x="15" y="33"/>
                    <a:pt x="11" y="34"/>
                    <a:pt x="11" y="34"/>
                  </a:cubicBezTo>
                  <a:cubicBezTo>
                    <a:pt x="7" y="35"/>
                    <a:pt x="3" y="36"/>
                    <a:pt x="0" y="37"/>
                  </a:cubicBezTo>
                  <a:cubicBezTo>
                    <a:pt x="2" y="41"/>
                    <a:pt x="4" y="45"/>
                    <a:pt x="5" y="49"/>
                  </a:cubicBezTo>
                  <a:cubicBezTo>
                    <a:pt x="8" y="48"/>
                    <a:pt x="11" y="48"/>
                    <a:pt x="14" y="48"/>
                  </a:cubicBezTo>
                  <a:cubicBezTo>
                    <a:pt x="18" y="47"/>
                    <a:pt x="15" y="46"/>
                    <a:pt x="17" y="44"/>
                  </a:cubicBezTo>
                  <a:cubicBezTo>
                    <a:pt x="19" y="43"/>
                    <a:pt x="22" y="44"/>
                    <a:pt x="23" y="42"/>
                  </a:cubicBezTo>
                  <a:cubicBezTo>
                    <a:pt x="25" y="40"/>
                    <a:pt x="25" y="39"/>
                    <a:pt x="28" y="38"/>
                  </a:cubicBezTo>
                  <a:cubicBezTo>
                    <a:pt x="30" y="37"/>
                    <a:pt x="29" y="34"/>
                    <a:pt x="29" y="32"/>
                  </a:cubicBezTo>
                  <a:cubicBezTo>
                    <a:pt x="28" y="30"/>
                    <a:pt x="30" y="30"/>
                    <a:pt x="32" y="30"/>
                  </a:cubicBezTo>
                  <a:cubicBezTo>
                    <a:pt x="35" y="29"/>
                    <a:pt x="35" y="26"/>
                    <a:pt x="37" y="24"/>
                  </a:cubicBezTo>
                  <a:cubicBezTo>
                    <a:pt x="38" y="23"/>
                    <a:pt x="41" y="20"/>
                    <a:pt x="39" y="19"/>
                  </a:cubicBezTo>
                  <a:cubicBezTo>
                    <a:pt x="38" y="19"/>
                    <a:pt x="40" y="20"/>
                    <a:pt x="39" y="1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92" name="Freeform 692">
              <a:extLst>
                <a:ext uri="{FF2B5EF4-FFF2-40B4-BE49-F238E27FC236}">
                  <a16:creationId xmlns:a16="http://schemas.microsoft.com/office/drawing/2014/main" id="{CD9E7BF9-D315-9D5D-69BC-7A1965998510}"/>
                </a:ext>
              </a:extLst>
            </p:cNvPr>
            <p:cNvSpPr>
              <a:spLocks/>
            </p:cNvSpPr>
            <p:nvPr/>
          </p:nvSpPr>
          <p:spPr bwMode="auto">
            <a:xfrm>
              <a:off x="7624061" y="3045257"/>
              <a:ext cx="287910" cy="132467"/>
            </a:xfrm>
            <a:custGeom>
              <a:avLst/>
              <a:gdLst>
                <a:gd name="T0" fmla="*/ 55 w 55"/>
                <a:gd name="T1" fmla="*/ 5 h 24"/>
                <a:gd name="T2" fmla="*/ 47 w 55"/>
                <a:gd name="T3" fmla="*/ 3 h 24"/>
                <a:gd name="T4" fmla="*/ 36 w 55"/>
                <a:gd name="T5" fmla="*/ 2 h 24"/>
                <a:gd name="T6" fmla="*/ 27 w 55"/>
                <a:gd name="T7" fmla="*/ 0 h 24"/>
                <a:gd name="T8" fmla="*/ 22 w 55"/>
                <a:gd name="T9" fmla="*/ 2 h 24"/>
                <a:gd name="T10" fmla="*/ 19 w 55"/>
                <a:gd name="T11" fmla="*/ 4 h 24"/>
                <a:gd name="T12" fmla="*/ 11 w 55"/>
                <a:gd name="T13" fmla="*/ 5 h 24"/>
                <a:gd name="T14" fmla="*/ 9 w 55"/>
                <a:gd name="T15" fmla="*/ 7 h 24"/>
                <a:gd name="T16" fmla="*/ 8 w 55"/>
                <a:gd name="T17" fmla="*/ 11 h 24"/>
                <a:gd name="T18" fmla="*/ 12 w 55"/>
                <a:gd name="T19" fmla="*/ 12 h 24"/>
                <a:gd name="T20" fmla="*/ 15 w 55"/>
                <a:gd name="T21" fmla="*/ 12 h 24"/>
                <a:gd name="T22" fmla="*/ 19 w 55"/>
                <a:gd name="T23" fmla="*/ 15 h 24"/>
                <a:gd name="T24" fmla="*/ 15 w 55"/>
                <a:gd name="T25" fmla="*/ 17 h 24"/>
                <a:gd name="T26" fmla="*/ 11 w 55"/>
                <a:gd name="T27" fmla="*/ 17 h 24"/>
                <a:gd name="T28" fmla="*/ 10 w 55"/>
                <a:gd name="T29" fmla="*/ 20 h 24"/>
                <a:gd name="T30" fmla="*/ 1 w 55"/>
                <a:gd name="T31" fmla="*/ 20 h 24"/>
                <a:gd name="T32" fmla="*/ 11 w 55"/>
                <a:gd name="T33" fmla="*/ 22 h 24"/>
                <a:gd name="T34" fmla="*/ 15 w 55"/>
                <a:gd name="T35" fmla="*/ 23 h 24"/>
                <a:gd name="T36" fmla="*/ 21 w 55"/>
                <a:gd name="T37" fmla="*/ 23 h 24"/>
                <a:gd name="T38" fmla="*/ 25 w 55"/>
                <a:gd name="T39" fmla="*/ 20 h 24"/>
                <a:gd name="T40" fmla="*/ 28 w 55"/>
                <a:gd name="T41" fmla="*/ 17 h 24"/>
                <a:gd name="T42" fmla="*/ 33 w 55"/>
                <a:gd name="T43" fmla="*/ 16 h 24"/>
                <a:gd name="T44" fmla="*/ 37 w 55"/>
                <a:gd name="T45" fmla="*/ 16 h 24"/>
                <a:gd name="T46" fmla="*/ 40 w 55"/>
                <a:gd name="T47" fmla="*/ 13 h 24"/>
                <a:gd name="T48" fmla="*/ 44 w 55"/>
                <a:gd name="T49" fmla="*/ 12 h 24"/>
                <a:gd name="T50" fmla="*/ 54 w 55"/>
                <a:gd name="T51" fmla="*/ 7 h 24"/>
                <a:gd name="T52" fmla="*/ 55 w 55"/>
                <a:gd name="T53" fmla="*/ 5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24">
                  <a:moveTo>
                    <a:pt x="55" y="5"/>
                  </a:moveTo>
                  <a:cubicBezTo>
                    <a:pt x="52" y="5"/>
                    <a:pt x="50" y="3"/>
                    <a:pt x="47" y="3"/>
                  </a:cubicBezTo>
                  <a:cubicBezTo>
                    <a:pt x="44" y="2"/>
                    <a:pt x="40" y="2"/>
                    <a:pt x="36" y="2"/>
                  </a:cubicBezTo>
                  <a:cubicBezTo>
                    <a:pt x="33" y="2"/>
                    <a:pt x="30" y="2"/>
                    <a:pt x="27" y="0"/>
                  </a:cubicBezTo>
                  <a:cubicBezTo>
                    <a:pt x="25" y="0"/>
                    <a:pt x="23" y="0"/>
                    <a:pt x="22" y="2"/>
                  </a:cubicBezTo>
                  <a:cubicBezTo>
                    <a:pt x="22" y="4"/>
                    <a:pt x="21" y="5"/>
                    <a:pt x="19" y="4"/>
                  </a:cubicBezTo>
                  <a:cubicBezTo>
                    <a:pt x="17" y="3"/>
                    <a:pt x="12" y="1"/>
                    <a:pt x="11" y="5"/>
                  </a:cubicBezTo>
                  <a:cubicBezTo>
                    <a:pt x="10" y="6"/>
                    <a:pt x="11" y="6"/>
                    <a:pt x="9" y="7"/>
                  </a:cubicBezTo>
                  <a:cubicBezTo>
                    <a:pt x="8" y="8"/>
                    <a:pt x="6" y="10"/>
                    <a:pt x="8" y="11"/>
                  </a:cubicBezTo>
                  <a:cubicBezTo>
                    <a:pt x="9" y="12"/>
                    <a:pt x="12" y="13"/>
                    <a:pt x="12" y="12"/>
                  </a:cubicBezTo>
                  <a:cubicBezTo>
                    <a:pt x="13" y="10"/>
                    <a:pt x="14" y="11"/>
                    <a:pt x="15" y="12"/>
                  </a:cubicBezTo>
                  <a:cubicBezTo>
                    <a:pt x="16" y="13"/>
                    <a:pt x="20" y="14"/>
                    <a:pt x="19" y="15"/>
                  </a:cubicBezTo>
                  <a:cubicBezTo>
                    <a:pt x="19" y="16"/>
                    <a:pt x="16" y="16"/>
                    <a:pt x="15" y="17"/>
                  </a:cubicBezTo>
                  <a:cubicBezTo>
                    <a:pt x="14" y="18"/>
                    <a:pt x="13" y="19"/>
                    <a:pt x="11" y="17"/>
                  </a:cubicBezTo>
                  <a:cubicBezTo>
                    <a:pt x="10" y="16"/>
                    <a:pt x="10" y="19"/>
                    <a:pt x="10" y="20"/>
                  </a:cubicBezTo>
                  <a:cubicBezTo>
                    <a:pt x="6" y="22"/>
                    <a:pt x="4" y="15"/>
                    <a:pt x="1" y="20"/>
                  </a:cubicBezTo>
                  <a:cubicBezTo>
                    <a:pt x="0" y="21"/>
                    <a:pt x="10" y="23"/>
                    <a:pt x="11" y="22"/>
                  </a:cubicBezTo>
                  <a:cubicBezTo>
                    <a:pt x="12" y="21"/>
                    <a:pt x="14" y="22"/>
                    <a:pt x="15" y="23"/>
                  </a:cubicBezTo>
                  <a:cubicBezTo>
                    <a:pt x="16" y="23"/>
                    <a:pt x="19" y="24"/>
                    <a:pt x="21" y="23"/>
                  </a:cubicBezTo>
                  <a:cubicBezTo>
                    <a:pt x="22" y="22"/>
                    <a:pt x="24" y="23"/>
                    <a:pt x="25" y="20"/>
                  </a:cubicBezTo>
                  <a:cubicBezTo>
                    <a:pt x="25" y="19"/>
                    <a:pt x="27" y="18"/>
                    <a:pt x="28" y="17"/>
                  </a:cubicBezTo>
                  <a:cubicBezTo>
                    <a:pt x="29" y="16"/>
                    <a:pt x="33" y="16"/>
                    <a:pt x="33" y="16"/>
                  </a:cubicBezTo>
                  <a:cubicBezTo>
                    <a:pt x="34" y="18"/>
                    <a:pt x="35" y="16"/>
                    <a:pt x="37" y="16"/>
                  </a:cubicBezTo>
                  <a:cubicBezTo>
                    <a:pt x="38" y="16"/>
                    <a:pt x="39" y="13"/>
                    <a:pt x="40" y="13"/>
                  </a:cubicBezTo>
                  <a:cubicBezTo>
                    <a:pt x="41" y="12"/>
                    <a:pt x="43" y="13"/>
                    <a:pt x="44" y="12"/>
                  </a:cubicBezTo>
                  <a:cubicBezTo>
                    <a:pt x="48" y="11"/>
                    <a:pt x="50" y="9"/>
                    <a:pt x="54" y="7"/>
                  </a:cubicBezTo>
                  <a:cubicBezTo>
                    <a:pt x="55" y="7"/>
                    <a:pt x="55" y="7"/>
                    <a:pt x="55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93" name="Freeform 693">
              <a:extLst>
                <a:ext uri="{FF2B5EF4-FFF2-40B4-BE49-F238E27FC236}">
                  <a16:creationId xmlns:a16="http://schemas.microsoft.com/office/drawing/2014/main" id="{9613C5D8-FF07-C9DA-0A72-775E81F75070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3565" y="2961994"/>
              <a:ext cx="466735" cy="289531"/>
            </a:xfrm>
            <a:custGeom>
              <a:avLst/>
              <a:gdLst>
                <a:gd name="T0" fmla="*/ 78 w 89"/>
                <a:gd name="T1" fmla="*/ 32 h 52"/>
                <a:gd name="T2" fmla="*/ 81 w 89"/>
                <a:gd name="T3" fmla="*/ 33 h 52"/>
                <a:gd name="T4" fmla="*/ 84 w 89"/>
                <a:gd name="T5" fmla="*/ 31 h 52"/>
                <a:gd name="T6" fmla="*/ 81 w 89"/>
                <a:gd name="T7" fmla="*/ 26 h 52"/>
                <a:gd name="T8" fmla="*/ 79 w 89"/>
                <a:gd name="T9" fmla="*/ 27 h 52"/>
                <a:gd name="T10" fmla="*/ 75 w 89"/>
                <a:gd name="T11" fmla="*/ 27 h 52"/>
                <a:gd name="T12" fmla="*/ 78 w 89"/>
                <a:gd name="T13" fmla="*/ 21 h 52"/>
                <a:gd name="T14" fmla="*/ 74 w 89"/>
                <a:gd name="T15" fmla="*/ 22 h 52"/>
                <a:gd name="T16" fmla="*/ 68 w 89"/>
                <a:gd name="T17" fmla="*/ 25 h 52"/>
                <a:gd name="T18" fmla="*/ 65 w 89"/>
                <a:gd name="T19" fmla="*/ 29 h 52"/>
                <a:gd name="T20" fmla="*/ 62 w 89"/>
                <a:gd name="T21" fmla="*/ 28 h 52"/>
                <a:gd name="T22" fmla="*/ 57 w 89"/>
                <a:gd name="T23" fmla="*/ 27 h 52"/>
                <a:gd name="T24" fmla="*/ 53 w 89"/>
                <a:gd name="T25" fmla="*/ 23 h 52"/>
                <a:gd name="T26" fmla="*/ 52 w 89"/>
                <a:gd name="T27" fmla="*/ 17 h 52"/>
                <a:gd name="T28" fmla="*/ 49 w 89"/>
                <a:gd name="T29" fmla="*/ 13 h 52"/>
                <a:gd name="T30" fmla="*/ 45 w 89"/>
                <a:gd name="T31" fmla="*/ 12 h 52"/>
                <a:gd name="T32" fmla="*/ 38 w 89"/>
                <a:gd name="T33" fmla="*/ 12 h 52"/>
                <a:gd name="T34" fmla="*/ 31 w 89"/>
                <a:gd name="T35" fmla="*/ 12 h 52"/>
                <a:gd name="T36" fmla="*/ 27 w 89"/>
                <a:gd name="T37" fmla="*/ 8 h 52"/>
                <a:gd name="T38" fmla="*/ 23 w 89"/>
                <a:gd name="T39" fmla="*/ 8 h 52"/>
                <a:gd name="T40" fmla="*/ 19 w 89"/>
                <a:gd name="T41" fmla="*/ 10 h 52"/>
                <a:gd name="T42" fmla="*/ 17 w 89"/>
                <a:gd name="T43" fmla="*/ 6 h 52"/>
                <a:gd name="T44" fmla="*/ 15 w 89"/>
                <a:gd name="T45" fmla="*/ 1 h 52"/>
                <a:gd name="T46" fmla="*/ 15 w 89"/>
                <a:gd name="T47" fmla="*/ 5 h 52"/>
                <a:gd name="T48" fmla="*/ 14 w 89"/>
                <a:gd name="T49" fmla="*/ 8 h 52"/>
                <a:gd name="T50" fmla="*/ 13 w 89"/>
                <a:gd name="T51" fmla="*/ 3 h 52"/>
                <a:gd name="T52" fmla="*/ 14 w 89"/>
                <a:gd name="T53" fmla="*/ 0 h 52"/>
                <a:gd name="T54" fmla="*/ 1 w 89"/>
                <a:gd name="T55" fmla="*/ 4 h 52"/>
                <a:gd name="T56" fmla="*/ 1 w 89"/>
                <a:gd name="T57" fmla="*/ 15 h 52"/>
                <a:gd name="T58" fmla="*/ 1 w 89"/>
                <a:gd name="T59" fmla="*/ 23 h 52"/>
                <a:gd name="T60" fmla="*/ 2 w 89"/>
                <a:gd name="T61" fmla="*/ 26 h 52"/>
                <a:gd name="T62" fmla="*/ 6 w 89"/>
                <a:gd name="T63" fmla="*/ 26 h 52"/>
                <a:gd name="T64" fmla="*/ 6 w 89"/>
                <a:gd name="T65" fmla="*/ 23 h 52"/>
                <a:gd name="T66" fmla="*/ 10 w 89"/>
                <a:gd name="T67" fmla="*/ 20 h 52"/>
                <a:gd name="T68" fmla="*/ 13 w 89"/>
                <a:gd name="T69" fmla="*/ 18 h 52"/>
                <a:gd name="T70" fmla="*/ 17 w 89"/>
                <a:gd name="T71" fmla="*/ 19 h 52"/>
                <a:gd name="T72" fmla="*/ 21 w 89"/>
                <a:gd name="T73" fmla="*/ 20 h 52"/>
                <a:gd name="T74" fmla="*/ 21 w 89"/>
                <a:gd name="T75" fmla="*/ 24 h 52"/>
                <a:gd name="T76" fmla="*/ 26 w 89"/>
                <a:gd name="T77" fmla="*/ 27 h 52"/>
                <a:gd name="T78" fmla="*/ 33 w 89"/>
                <a:gd name="T79" fmla="*/ 34 h 52"/>
                <a:gd name="T80" fmla="*/ 38 w 89"/>
                <a:gd name="T81" fmla="*/ 37 h 52"/>
                <a:gd name="T82" fmla="*/ 41 w 89"/>
                <a:gd name="T83" fmla="*/ 39 h 52"/>
                <a:gd name="T84" fmla="*/ 50 w 89"/>
                <a:gd name="T85" fmla="*/ 45 h 52"/>
                <a:gd name="T86" fmla="*/ 54 w 89"/>
                <a:gd name="T87" fmla="*/ 49 h 52"/>
                <a:gd name="T88" fmla="*/ 61 w 89"/>
                <a:gd name="T89" fmla="*/ 52 h 52"/>
                <a:gd name="T90" fmla="*/ 63 w 89"/>
                <a:gd name="T91" fmla="*/ 47 h 52"/>
                <a:gd name="T92" fmla="*/ 62 w 89"/>
                <a:gd name="T93" fmla="*/ 42 h 52"/>
                <a:gd name="T94" fmla="*/ 59 w 89"/>
                <a:gd name="T95" fmla="*/ 38 h 52"/>
                <a:gd name="T96" fmla="*/ 64 w 89"/>
                <a:gd name="T97" fmla="*/ 36 h 52"/>
                <a:gd name="T98" fmla="*/ 66 w 89"/>
                <a:gd name="T99" fmla="*/ 33 h 52"/>
                <a:gd name="T100" fmla="*/ 68 w 89"/>
                <a:gd name="T101" fmla="*/ 30 h 52"/>
                <a:gd name="T102" fmla="*/ 71 w 89"/>
                <a:gd name="T103" fmla="*/ 30 h 52"/>
                <a:gd name="T104" fmla="*/ 74 w 89"/>
                <a:gd name="T105" fmla="*/ 29 h 52"/>
                <a:gd name="T106" fmla="*/ 74 w 89"/>
                <a:gd name="T107" fmla="*/ 34 h 52"/>
                <a:gd name="T108" fmla="*/ 77 w 89"/>
                <a:gd name="T109" fmla="*/ 34 h 52"/>
                <a:gd name="T110" fmla="*/ 78 w 89"/>
                <a:gd name="T111" fmla="*/ 32 h 52"/>
                <a:gd name="T112" fmla="*/ 78 w 89"/>
                <a:gd name="T113" fmla="*/ 3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9" h="52">
                  <a:moveTo>
                    <a:pt x="78" y="32"/>
                  </a:moveTo>
                  <a:cubicBezTo>
                    <a:pt x="79" y="33"/>
                    <a:pt x="79" y="34"/>
                    <a:pt x="81" y="33"/>
                  </a:cubicBezTo>
                  <a:cubicBezTo>
                    <a:pt x="82" y="33"/>
                    <a:pt x="83" y="31"/>
                    <a:pt x="84" y="31"/>
                  </a:cubicBezTo>
                  <a:cubicBezTo>
                    <a:pt x="89" y="30"/>
                    <a:pt x="83" y="28"/>
                    <a:pt x="81" y="26"/>
                  </a:cubicBezTo>
                  <a:cubicBezTo>
                    <a:pt x="80" y="25"/>
                    <a:pt x="80" y="26"/>
                    <a:pt x="79" y="27"/>
                  </a:cubicBezTo>
                  <a:cubicBezTo>
                    <a:pt x="79" y="28"/>
                    <a:pt x="76" y="27"/>
                    <a:pt x="75" y="27"/>
                  </a:cubicBezTo>
                  <a:cubicBezTo>
                    <a:pt x="71" y="25"/>
                    <a:pt x="77" y="22"/>
                    <a:pt x="78" y="21"/>
                  </a:cubicBezTo>
                  <a:cubicBezTo>
                    <a:pt x="78" y="21"/>
                    <a:pt x="74" y="22"/>
                    <a:pt x="74" y="22"/>
                  </a:cubicBezTo>
                  <a:cubicBezTo>
                    <a:pt x="72" y="23"/>
                    <a:pt x="70" y="23"/>
                    <a:pt x="68" y="25"/>
                  </a:cubicBezTo>
                  <a:cubicBezTo>
                    <a:pt x="67" y="26"/>
                    <a:pt x="66" y="28"/>
                    <a:pt x="65" y="29"/>
                  </a:cubicBezTo>
                  <a:cubicBezTo>
                    <a:pt x="64" y="32"/>
                    <a:pt x="63" y="30"/>
                    <a:pt x="62" y="28"/>
                  </a:cubicBezTo>
                  <a:cubicBezTo>
                    <a:pt x="61" y="26"/>
                    <a:pt x="59" y="27"/>
                    <a:pt x="57" y="27"/>
                  </a:cubicBezTo>
                  <a:cubicBezTo>
                    <a:pt x="55" y="27"/>
                    <a:pt x="54" y="24"/>
                    <a:pt x="53" y="23"/>
                  </a:cubicBezTo>
                  <a:cubicBezTo>
                    <a:pt x="51" y="21"/>
                    <a:pt x="54" y="19"/>
                    <a:pt x="52" y="17"/>
                  </a:cubicBezTo>
                  <a:cubicBezTo>
                    <a:pt x="51" y="16"/>
                    <a:pt x="50" y="14"/>
                    <a:pt x="49" y="13"/>
                  </a:cubicBezTo>
                  <a:cubicBezTo>
                    <a:pt x="48" y="12"/>
                    <a:pt x="46" y="11"/>
                    <a:pt x="45" y="12"/>
                  </a:cubicBezTo>
                  <a:cubicBezTo>
                    <a:pt x="43" y="13"/>
                    <a:pt x="41" y="12"/>
                    <a:pt x="38" y="12"/>
                  </a:cubicBezTo>
                  <a:cubicBezTo>
                    <a:pt x="36" y="12"/>
                    <a:pt x="33" y="13"/>
                    <a:pt x="31" y="12"/>
                  </a:cubicBezTo>
                  <a:cubicBezTo>
                    <a:pt x="30" y="11"/>
                    <a:pt x="28" y="9"/>
                    <a:pt x="27" y="8"/>
                  </a:cubicBezTo>
                  <a:cubicBezTo>
                    <a:pt x="25" y="6"/>
                    <a:pt x="24" y="6"/>
                    <a:pt x="23" y="8"/>
                  </a:cubicBezTo>
                  <a:cubicBezTo>
                    <a:pt x="22" y="9"/>
                    <a:pt x="21" y="10"/>
                    <a:pt x="19" y="10"/>
                  </a:cubicBezTo>
                  <a:cubicBezTo>
                    <a:pt x="16" y="10"/>
                    <a:pt x="16" y="8"/>
                    <a:pt x="17" y="6"/>
                  </a:cubicBezTo>
                  <a:cubicBezTo>
                    <a:pt x="18" y="3"/>
                    <a:pt x="18" y="3"/>
                    <a:pt x="15" y="1"/>
                  </a:cubicBezTo>
                  <a:cubicBezTo>
                    <a:pt x="15" y="2"/>
                    <a:pt x="15" y="4"/>
                    <a:pt x="15" y="5"/>
                  </a:cubicBezTo>
                  <a:cubicBezTo>
                    <a:pt x="15" y="7"/>
                    <a:pt x="16" y="8"/>
                    <a:pt x="14" y="8"/>
                  </a:cubicBezTo>
                  <a:cubicBezTo>
                    <a:pt x="12" y="7"/>
                    <a:pt x="12" y="4"/>
                    <a:pt x="13" y="3"/>
                  </a:cubicBezTo>
                  <a:cubicBezTo>
                    <a:pt x="13" y="3"/>
                    <a:pt x="15" y="0"/>
                    <a:pt x="14" y="0"/>
                  </a:cubicBezTo>
                  <a:cubicBezTo>
                    <a:pt x="9" y="1"/>
                    <a:pt x="5" y="2"/>
                    <a:pt x="1" y="4"/>
                  </a:cubicBezTo>
                  <a:cubicBezTo>
                    <a:pt x="0" y="4"/>
                    <a:pt x="1" y="14"/>
                    <a:pt x="1" y="15"/>
                  </a:cubicBezTo>
                  <a:cubicBezTo>
                    <a:pt x="1" y="18"/>
                    <a:pt x="1" y="21"/>
                    <a:pt x="1" y="23"/>
                  </a:cubicBezTo>
                  <a:cubicBezTo>
                    <a:pt x="1" y="25"/>
                    <a:pt x="0" y="26"/>
                    <a:pt x="2" y="26"/>
                  </a:cubicBezTo>
                  <a:cubicBezTo>
                    <a:pt x="3" y="26"/>
                    <a:pt x="4" y="26"/>
                    <a:pt x="6" y="26"/>
                  </a:cubicBezTo>
                  <a:cubicBezTo>
                    <a:pt x="8" y="26"/>
                    <a:pt x="5" y="24"/>
                    <a:pt x="6" y="23"/>
                  </a:cubicBezTo>
                  <a:cubicBezTo>
                    <a:pt x="7" y="21"/>
                    <a:pt x="9" y="22"/>
                    <a:pt x="10" y="20"/>
                  </a:cubicBezTo>
                  <a:cubicBezTo>
                    <a:pt x="12" y="19"/>
                    <a:pt x="12" y="19"/>
                    <a:pt x="13" y="18"/>
                  </a:cubicBezTo>
                  <a:cubicBezTo>
                    <a:pt x="15" y="17"/>
                    <a:pt x="16" y="18"/>
                    <a:pt x="17" y="19"/>
                  </a:cubicBezTo>
                  <a:cubicBezTo>
                    <a:pt x="18" y="20"/>
                    <a:pt x="21" y="20"/>
                    <a:pt x="21" y="20"/>
                  </a:cubicBezTo>
                  <a:cubicBezTo>
                    <a:pt x="22" y="22"/>
                    <a:pt x="21" y="23"/>
                    <a:pt x="21" y="24"/>
                  </a:cubicBezTo>
                  <a:cubicBezTo>
                    <a:pt x="22" y="27"/>
                    <a:pt x="25" y="27"/>
                    <a:pt x="26" y="27"/>
                  </a:cubicBezTo>
                  <a:cubicBezTo>
                    <a:pt x="31" y="27"/>
                    <a:pt x="31" y="30"/>
                    <a:pt x="33" y="34"/>
                  </a:cubicBezTo>
                  <a:cubicBezTo>
                    <a:pt x="34" y="35"/>
                    <a:pt x="36" y="36"/>
                    <a:pt x="38" y="37"/>
                  </a:cubicBezTo>
                  <a:cubicBezTo>
                    <a:pt x="39" y="37"/>
                    <a:pt x="40" y="38"/>
                    <a:pt x="41" y="39"/>
                  </a:cubicBezTo>
                  <a:cubicBezTo>
                    <a:pt x="44" y="41"/>
                    <a:pt x="47" y="44"/>
                    <a:pt x="50" y="45"/>
                  </a:cubicBezTo>
                  <a:cubicBezTo>
                    <a:pt x="54" y="46"/>
                    <a:pt x="54" y="46"/>
                    <a:pt x="54" y="49"/>
                  </a:cubicBezTo>
                  <a:cubicBezTo>
                    <a:pt x="56" y="49"/>
                    <a:pt x="59" y="51"/>
                    <a:pt x="61" y="52"/>
                  </a:cubicBezTo>
                  <a:cubicBezTo>
                    <a:pt x="61" y="49"/>
                    <a:pt x="60" y="49"/>
                    <a:pt x="63" y="47"/>
                  </a:cubicBezTo>
                  <a:cubicBezTo>
                    <a:pt x="64" y="45"/>
                    <a:pt x="62" y="44"/>
                    <a:pt x="62" y="42"/>
                  </a:cubicBezTo>
                  <a:cubicBezTo>
                    <a:pt x="63" y="39"/>
                    <a:pt x="60" y="40"/>
                    <a:pt x="59" y="38"/>
                  </a:cubicBezTo>
                  <a:cubicBezTo>
                    <a:pt x="58" y="36"/>
                    <a:pt x="63" y="37"/>
                    <a:pt x="64" y="36"/>
                  </a:cubicBezTo>
                  <a:cubicBezTo>
                    <a:pt x="67" y="35"/>
                    <a:pt x="64" y="32"/>
                    <a:pt x="66" y="33"/>
                  </a:cubicBezTo>
                  <a:cubicBezTo>
                    <a:pt x="70" y="33"/>
                    <a:pt x="66" y="30"/>
                    <a:pt x="68" y="30"/>
                  </a:cubicBezTo>
                  <a:cubicBezTo>
                    <a:pt x="69" y="29"/>
                    <a:pt x="70" y="31"/>
                    <a:pt x="71" y="30"/>
                  </a:cubicBezTo>
                  <a:cubicBezTo>
                    <a:pt x="72" y="30"/>
                    <a:pt x="73" y="29"/>
                    <a:pt x="74" y="29"/>
                  </a:cubicBezTo>
                  <a:cubicBezTo>
                    <a:pt x="76" y="29"/>
                    <a:pt x="74" y="33"/>
                    <a:pt x="74" y="34"/>
                  </a:cubicBezTo>
                  <a:cubicBezTo>
                    <a:pt x="75" y="34"/>
                    <a:pt x="77" y="31"/>
                    <a:pt x="77" y="34"/>
                  </a:cubicBezTo>
                  <a:cubicBezTo>
                    <a:pt x="77" y="34"/>
                    <a:pt x="77" y="32"/>
                    <a:pt x="78" y="32"/>
                  </a:cubicBezTo>
                  <a:cubicBezTo>
                    <a:pt x="79" y="32"/>
                    <a:pt x="77" y="32"/>
                    <a:pt x="78" y="3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94" name="Freeform 694">
              <a:extLst>
                <a:ext uri="{FF2B5EF4-FFF2-40B4-BE49-F238E27FC236}">
                  <a16:creationId xmlns:a16="http://schemas.microsoft.com/office/drawing/2014/main" id="{FE94802C-263D-A963-A6E1-B67B0A9AB432}"/>
                </a:ext>
              </a:extLst>
            </p:cNvPr>
            <p:cNvSpPr>
              <a:spLocks/>
            </p:cNvSpPr>
            <p:nvPr/>
          </p:nvSpPr>
          <p:spPr bwMode="auto">
            <a:xfrm>
              <a:off x="7414837" y="3283695"/>
              <a:ext cx="0" cy="5678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95" name="Freeform 695">
              <a:extLst>
                <a:ext uri="{FF2B5EF4-FFF2-40B4-BE49-F238E27FC236}">
                  <a16:creationId xmlns:a16="http://schemas.microsoft.com/office/drawing/2014/main" id="{354AF667-442B-F84D-0572-614412B0546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3422" y="3062288"/>
              <a:ext cx="382685" cy="238437"/>
            </a:xfrm>
            <a:custGeom>
              <a:avLst/>
              <a:gdLst>
                <a:gd name="T0" fmla="*/ 73 w 73"/>
                <a:gd name="T1" fmla="*/ 28 h 43"/>
                <a:gd name="T2" fmla="*/ 69 w 73"/>
                <a:gd name="T3" fmla="*/ 27 h 43"/>
                <a:gd name="T4" fmla="*/ 65 w 73"/>
                <a:gd name="T5" fmla="*/ 24 h 43"/>
                <a:gd name="T6" fmla="*/ 58 w 73"/>
                <a:gd name="T7" fmla="*/ 20 h 43"/>
                <a:gd name="T8" fmla="*/ 52 w 73"/>
                <a:gd name="T9" fmla="*/ 16 h 43"/>
                <a:gd name="T10" fmla="*/ 47 w 73"/>
                <a:gd name="T11" fmla="*/ 9 h 43"/>
                <a:gd name="T12" fmla="*/ 40 w 73"/>
                <a:gd name="T13" fmla="*/ 5 h 43"/>
                <a:gd name="T14" fmla="*/ 40 w 73"/>
                <a:gd name="T15" fmla="*/ 2 h 43"/>
                <a:gd name="T16" fmla="*/ 36 w 73"/>
                <a:gd name="T17" fmla="*/ 1 h 43"/>
                <a:gd name="T18" fmla="*/ 34 w 73"/>
                <a:gd name="T19" fmla="*/ 0 h 43"/>
                <a:gd name="T20" fmla="*/ 31 w 73"/>
                <a:gd name="T21" fmla="*/ 1 h 43"/>
                <a:gd name="T22" fmla="*/ 28 w 73"/>
                <a:gd name="T23" fmla="*/ 3 h 43"/>
                <a:gd name="T24" fmla="*/ 25 w 73"/>
                <a:gd name="T25" fmla="*/ 6 h 43"/>
                <a:gd name="T26" fmla="*/ 22 w 73"/>
                <a:gd name="T27" fmla="*/ 8 h 43"/>
                <a:gd name="T28" fmla="*/ 17 w 73"/>
                <a:gd name="T29" fmla="*/ 8 h 43"/>
                <a:gd name="T30" fmla="*/ 12 w 73"/>
                <a:gd name="T31" fmla="*/ 2 h 43"/>
                <a:gd name="T32" fmla="*/ 2 w 73"/>
                <a:gd name="T33" fmla="*/ 5 h 43"/>
                <a:gd name="T34" fmla="*/ 5 w 73"/>
                <a:gd name="T35" fmla="*/ 12 h 43"/>
                <a:gd name="T36" fmla="*/ 8 w 73"/>
                <a:gd name="T37" fmla="*/ 17 h 43"/>
                <a:gd name="T38" fmla="*/ 8 w 73"/>
                <a:gd name="T39" fmla="*/ 19 h 43"/>
                <a:gd name="T40" fmla="*/ 10 w 73"/>
                <a:gd name="T41" fmla="*/ 22 h 43"/>
                <a:gd name="T42" fmla="*/ 9 w 73"/>
                <a:gd name="T43" fmla="*/ 26 h 43"/>
                <a:gd name="T44" fmla="*/ 9 w 73"/>
                <a:gd name="T45" fmla="*/ 31 h 43"/>
                <a:gd name="T46" fmla="*/ 14 w 73"/>
                <a:gd name="T47" fmla="*/ 29 h 43"/>
                <a:gd name="T48" fmla="*/ 17 w 73"/>
                <a:gd name="T49" fmla="*/ 26 h 43"/>
                <a:gd name="T50" fmla="*/ 27 w 73"/>
                <a:gd name="T51" fmla="*/ 27 h 43"/>
                <a:gd name="T52" fmla="*/ 37 w 73"/>
                <a:gd name="T53" fmla="*/ 31 h 43"/>
                <a:gd name="T54" fmla="*/ 45 w 73"/>
                <a:gd name="T55" fmla="*/ 35 h 43"/>
                <a:gd name="T56" fmla="*/ 46 w 73"/>
                <a:gd name="T57" fmla="*/ 37 h 43"/>
                <a:gd name="T58" fmla="*/ 48 w 73"/>
                <a:gd name="T59" fmla="*/ 42 h 43"/>
                <a:gd name="T60" fmla="*/ 53 w 73"/>
                <a:gd name="T61" fmla="*/ 43 h 43"/>
                <a:gd name="T62" fmla="*/ 57 w 73"/>
                <a:gd name="T63" fmla="*/ 40 h 43"/>
                <a:gd name="T64" fmla="*/ 62 w 73"/>
                <a:gd name="T65" fmla="*/ 38 h 43"/>
                <a:gd name="T66" fmla="*/ 65 w 73"/>
                <a:gd name="T67" fmla="*/ 33 h 43"/>
                <a:gd name="T68" fmla="*/ 69 w 73"/>
                <a:gd name="T69" fmla="*/ 31 h 43"/>
                <a:gd name="T70" fmla="*/ 73 w 73"/>
                <a:gd name="T71" fmla="*/ 31 h 43"/>
                <a:gd name="T72" fmla="*/ 73 w 73"/>
                <a:gd name="T73" fmla="*/ 28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73" h="43">
                  <a:moveTo>
                    <a:pt x="73" y="28"/>
                  </a:moveTo>
                  <a:cubicBezTo>
                    <a:pt x="72" y="27"/>
                    <a:pt x="71" y="27"/>
                    <a:pt x="69" y="27"/>
                  </a:cubicBezTo>
                  <a:cubicBezTo>
                    <a:pt x="68" y="26"/>
                    <a:pt x="66" y="25"/>
                    <a:pt x="65" y="24"/>
                  </a:cubicBezTo>
                  <a:cubicBezTo>
                    <a:pt x="63" y="23"/>
                    <a:pt x="60" y="22"/>
                    <a:pt x="58" y="20"/>
                  </a:cubicBezTo>
                  <a:cubicBezTo>
                    <a:pt x="57" y="18"/>
                    <a:pt x="54" y="18"/>
                    <a:pt x="52" y="16"/>
                  </a:cubicBezTo>
                  <a:cubicBezTo>
                    <a:pt x="51" y="13"/>
                    <a:pt x="50" y="9"/>
                    <a:pt x="47" y="9"/>
                  </a:cubicBezTo>
                  <a:cubicBezTo>
                    <a:pt x="44" y="9"/>
                    <a:pt x="40" y="9"/>
                    <a:pt x="40" y="5"/>
                  </a:cubicBezTo>
                  <a:cubicBezTo>
                    <a:pt x="40" y="4"/>
                    <a:pt x="41" y="2"/>
                    <a:pt x="40" y="2"/>
                  </a:cubicBezTo>
                  <a:cubicBezTo>
                    <a:pt x="39" y="1"/>
                    <a:pt x="38" y="2"/>
                    <a:pt x="36" y="1"/>
                  </a:cubicBezTo>
                  <a:cubicBezTo>
                    <a:pt x="36" y="1"/>
                    <a:pt x="35" y="0"/>
                    <a:pt x="34" y="0"/>
                  </a:cubicBezTo>
                  <a:cubicBezTo>
                    <a:pt x="33" y="0"/>
                    <a:pt x="32" y="1"/>
                    <a:pt x="31" y="1"/>
                  </a:cubicBezTo>
                  <a:cubicBezTo>
                    <a:pt x="30" y="0"/>
                    <a:pt x="29" y="3"/>
                    <a:pt x="28" y="3"/>
                  </a:cubicBezTo>
                  <a:cubicBezTo>
                    <a:pt x="27" y="3"/>
                    <a:pt x="24" y="4"/>
                    <a:pt x="25" y="6"/>
                  </a:cubicBezTo>
                  <a:cubicBezTo>
                    <a:pt x="26" y="9"/>
                    <a:pt x="25" y="8"/>
                    <a:pt x="22" y="8"/>
                  </a:cubicBezTo>
                  <a:cubicBezTo>
                    <a:pt x="21" y="8"/>
                    <a:pt x="18" y="8"/>
                    <a:pt x="17" y="8"/>
                  </a:cubicBezTo>
                  <a:cubicBezTo>
                    <a:pt x="15" y="6"/>
                    <a:pt x="14" y="4"/>
                    <a:pt x="12" y="2"/>
                  </a:cubicBezTo>
                  <a:cubicBezTo>
                    <a:pt x="9" y="0"/>
                    <a:pt x="5" y="3"/>
                    <a:pt x="2" y="5"/>
                  </a:cubicBezTo>
                  <a:cubicBezTo>
                    <a:pt x="3" y="6"/>
                    <a:pt x="6" y="10"/>
                    <a:pt x="5" y="12"/>
                  </a:cubicBezTo>
                  <a:cubicBezTo>
                    <a:pt x="0" y="15"/>
                    <a:pt x="6" y="15"/>
                    <a:pt x="8" y="17"/>
                  </a:cubicBezTo>
                  <a:cubicBezTo>
                    <a:pt x="8" y="17"/>
                    <a:pt x="8" y="19"/>
                    <a:pt x="8" y="19"/>
                  </a:cubicBezTo>
                  <a:cubicBezTo>
                    <a:pt x="7" y="20"/>
                    <a:pt x="9" y="22"/>
                    <a:pt x="10" y="22"/>
                  </a:cubicBezTo>
                  <a:cubicBezTo>
                    <a:pt x="10" y="23"/>
                    <a:pt x="9" y="24"/>
                    <a:pt x="9" y="26"/>
                  </a:cubicBezTo>
                  <a:cubicBezTo>
                    <a:pt x="9" y="27"/>
                    <a:pt x="9" y="29"/>
                    <a:pt x="9" y="31"/>
                  </a:cubicBezTo>
                  <a:cubicBezTo>
                    <a:pt x="11" y="31"/>
                    <a:pt x="12" y="31"/>
                    <a:pt x="14" y="29"/>
                  </a:cubicBezTo>
                  <a:cubicBezTo>
                    <a:pt x="15" y="28"/>
                    <a:pt x="16" y="27"/>
                    <a:pt x="17" y="26"/>
                  </a:cubicBezTo>
                  <a:cubicBezTo>
                    <a:pt x="21" y="26"/>
                    <a:pt x="24" y="25"/>
                    <a:pt x="27" y="27"/>
                  </a:cubicBezTo>
                  <a:cubicBezTo>
                    <a:pt x="29" y="30"/>
                    <a:pt x="35" y="28"/>
                    <a:pt x="37" y="31"/>
                  </a:cubicBezTo>
                  <a:cubicBezTo>
                    <a:pt x="39" y="34"/>
                    <a:pt x="41" y="35"/>
                    <a:pt x="45" y="35"/>
                  </a:cubicBezTo>
                  <a:cubicBezTo>
                    <a:pt x="46" y="35"/>
                    <a:pt x="46" y="35"/>
                    <a:pt x="46" y="37"/>
                  </a:cubicBezTo>
                  <a:cubicBezTo>
                    <a:pt x="46" y="40"/>
                    <a:pt x="46" y="40"/>
                    <a:pt x="48" y="42"/>
                  </a:cubicBezTo>
                  <a:cubicBezTo>
                    <a:pt x="50" y="42"/>
                    <a:pt x="51" y="43"/>
                    <a:pt x="53" y="43"/>
                  </a:cubicBezTo>
                  <a:cubicBezTo>
                    <a:pt x="56" y="43"/>
                    <a:pt x="56" y="42"/>
                    <a:pt x="57" y="40"/>
                  </a:cubicBezTo>
                  <a:cubicBezTo>
                    <a:pt x="58" y="38"/>
                    <a:pt x="60" y="39"/>
                    <a:pt x="62" y="38"/>
                  </a:cubicBezTo>
                  <a:cubicBezTo>
                    <a:pt x="64" y="37"/>
                    <a:pt x="64" y="35"/>
                    <a:pt x="65" y="33"/>
                  </a:cubicBezTo>
                  <a:cubicBezTo>
                    <a:pt x="65" y="31"/>
                    <a:pt x="68" y="33"/>
                    <a:pt x="69" y="31"/>
                  </a:cubicBezTo>
                  <a:cubicBezTo>
                    <a:pt x="69" y="29"/>
                    <a:pt x="72" y="31"/>
                    <a:pt x="73" y="31"/>
                  </a:cubicBezTo>
                  <a:cubicBezTo>
                    <a:pt x="73" y="30"/>
                    <a:pt x="73" y="29"/>
                    <a:pt x="73" y="2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96" name="Freeform 696">
              <a:extLst>
                <a:ext uri="{FF2B5EF4-FFF2-40B4-BE49-F238E27FC236}">
                  <a16:creationId xmlns:a16="http://schemas.microsoft.com/office/drawing/2014/main" id="{8B1F20CA-9102-0F70-0FF6-B87DF980F0DB}"/>
                </a:ext>
              </a:extLst>
            </p:cNvPr>
            <p:cNvSpPr>
              <a:spLocks/>
            </p:cNvSpPr>
            <p:nvPr/>
          </p:nvSpPr>
          <p:spPr bwMode="auto">
            <a:xfrm>
              <a:off x="7577568" y="3117166"/>
              <a:ext cx="209225" cy="149496"/>
            </a:xfrm>
            <a:custGeom>
              <a:avLst/>
              <a:gdLst>
                <a:gd name="T0" fmla="*/ 30 w 40"/>
                <a:gd name="T1" fmla="*/ 10 h 27"/>
                <a:gd name="T2" fmla="*/ 25 w 40"/>
                <a:gd name="T3" fmla="*/ 10 h 27"/>
                <a:gd name="T4" fmla="*/ 21 w 40"/>
                <a:gd name="T5" fmla="*/ 8 h 27"/>
                <a:gd name="T6" fmla="*/ 19 w 40"/>
                <a:gd name="T7" fmla="*/ 9 h 27"/>
                <a:gd name="T8" fmla="*/ 17 w 40"/>
                <a:gd name="T9" fmla="*/ 9 h 27"/>
                <a:gd name="T10" fmla="*/ 10 w 40"/>
                <a:gd name="T11" fmla="*/ 8 h 27"/>
                <a:gd name="T12" fmla="*/ 12 w 40"/>
                <a:gd name="T13" fmla="*/ 5 h 27"/>
                <a:gd name="T14" fmla="*/ 16 w 40"/>
                <a:gd name="T15" fmla="*/ 7 h 27"/>
                <a:gd name="T16" fmla="*/ 19 w 40"/>
                <a:gd name="T17" fmla="*/ 5 h 27"/>
                <a:gd name="T18" fmla="*/ 16 w 40"/>
                <a:gd name="T19" fmla="*/ 6 h 27"/>
                <a:gd name="T20" fmla="*/ 16 w 40"/>
                <a:gd name="T21" fmla="*/ 1 h 27"/>
                <a:gd name="T22" fmla="*/ 14 w 40"/>
                <a:gd name="T23" fmla="*/ 2 h 27"/>
                <a:gd name="T24" fmla="*/ 10 w 40"/>
                <a:gd name="T25" fmla="*/ 2 h 27"/>
                <a:gd name="T26" fmla="*/ 8 w 40"/>
                <a:gd name="T27" fmla="*/ 5 h 27"/>
                <a:gd name="T28" fmla="*/ 6 w 40"/>
                <a:gd name="T29" fmla="*/ 8 h 27"/>
                <a:gd name="T30" fmla="*/ 1 w 40"/>
                <a:gd name="T31" fmla="*/ 10 h 27"/>
                <a:gd name="T32" fmla="*/ 4 w 40"/>
                <a:gd name="T33" fmla="*/ 14 h 27"/>
                <a:gd name="T34" fmla="*/ 4 w 40"/>
                <a:gd name="T35" fmla="*/ 19 h 27"/>
                <a:gd name="T36" fmla="*/ 4 w 40"/>
                <a:gd name="T37" fmla="*/ 24 h 27"/>
                <a:gd name="T38" fmla="*/ 9 w 40"/>
                <a:gd name="T39" fmla="*/ 22 h 27"/>
                <a:gd name="T40" fmla="*/ 12 w 40"/>
                <a:gd name="T41" fmla="*/ 20 h 27"/>
                <a:gd name="T42" fmla="*/ 17 w 40"/>
                <a:gd name="T43" fmla="*/ 17 h 27"/>
                <a:gd name="T44" fmla="*/ 20 w 40"/>
                <a:gd name="T45" fmla="*/ 17 h 27"/>
                <a:gd name="T46" fmla="*/ 22 w 40"/>
                <a:gd name="T47" fmla="*/ 21 h 27"/>
                <a:gd name="T48" fmla="*/ 21 w 40"/>
                <a:gd name="T49" fmla="*/ 24 h 27"/>
                <a:gd name="T50" fmla="*/ 27 w 40"/>
                <a:gd name="T51" fmla="*/ 23 h 27"/>
                <a:gd name="T52" fmla="*/ 32 w 40"/>
                <a:gd name="T53" fmla="*/ 21 h 27"/>
                <a:gd name="T54" fmla="*/ 39 w 40"/>
                <a:gd name="T55" fmla="*/ 21 h 27"/>
                <a:gd name="T56" fmla="*/ 38 w 40"/>
                <a:gd name="T57" fmla="*/ 18 h 27"/>
                <a:gd name="T58" fmla="*/ 36 w 40"/>
                <a:gd name="T59" fmla="*/ 14 h 27"/>
                <a:gd name="T60" fmla="*/ 32 w 40"/>
                <a:gd name="T61" fmla="*/ 9 h 27"/>
                <a:gd name="T62" fmla="*/ 30 w 40"/>
                <a:gd name="T63" fmla="*/ 10 h 27"/>
                <a:gd name="T64" fmla="*/ 30 w 40"/>
                <a:gd name="T65" fmla="*/ 1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0" h="27">
                  <a:moveTo>
                    <a:pt x="30" y="10"/>
                  </a:moveTo>
                  <a:cubicBezTo>
                    <a:pt x="28" y="11"/>
                    <a:pt x="27" y="10"/>
                    <a:pt x="25" y="10"/>
                  </a:cubicBezTo>
                  <a:cubicBezTo>
                    <a:pt x="23" y="10"/>
                    <a:pt x="22" y="8"/>
                    <a:pt x="21" y="8"/>
                  </a:cubicBezTo>
                  <a:cubicBezTo>
                    <a:pt x="20" y="8"/>
                    <a:pt x="20" y="9"/>
                    <a:pt x="19" y="9"/>
                  </a:cubicBezTo>
                  <a:cubicBezTo>
                    <a:pt x="19" y="10"/>
                    <a:pt x="18" y="9"/>
                    <a:pt x="17" y="9"/>
                  </a:cubicBezTo>
                  <a:cubicBezTo>
                    <a:pt x="15" y="9"/>
                    <a:pt x="12" y="9"/>
                    <a:pt x="10" y="8"/>
                  </a:cubicBezTo>
                  <a:cubicBezTo>
                    <a:pt x="9" y="7"/>
                    <a:pt x="12" y="5"/>
                    <a:pt x="12" y="5"/>
                  </a:cubicBezTo>
                  <a:cubicBezTo>
                    <a:pt x="14" y="4"/>
                    <a:pt x="15" y="7"/>
                    <a:pt x="16" y="7"/>
                  </a:cubicBezTo>
                  <a:cubicBezTo>
                    <a:pt x="18" y="7"/>
                    <a:pt x="19" y="6"/>
                    <a:pt x="19" y="5"/>
                  </a:cubicBezTo>
                  <a:cubicBezTo>
                    <a:pt x="18" y="4"/>
                    <a:pt x="17" y="6"/>
                    <a:pt x="16" y="6"/>
                  </a:cubicBezTo>
                  <a:cubicBezTo>
                    <a:pt x="15" y="5"/>
                    <a:pt x="17" y="2"/>
                    <a:pt x="16" y="1"/>
                  </a:cubicBezTo>
                  <a:cubicBezTo>
                    <a:pt x="16" y="0"/>
                    <a:pt x="14" y="2"/>
                    <a:pt x="14" y="2"/>
                  </a:cubicBezTo>
                  <a:cubicBezTo>
                    <a:pt x="12" y="3"/>
                    <a:pt x="11" y="1"/>
                    <a:pt x="10" y="2"/>
                  </a:cubicBezTo>
                  <a:cubicBezTo>
                    <a:pt x="8" y="2"/>
                    <a:pt x="12" y="5"/>
                    <a:pt x="8" y="5"/>
                  </a:cubicBezTo>
                  <a:cubicBezTo>
                    <a:pt x="6" y="4"/>
                    <a:pt x="9" y="8"/>
                    <a:pt x="6" y="8"/>
                  </a:cubicBezTo>
                  <a:cubicBezTo>
                    <a:pt x="5" y="9"/>
                    <a:pt x="0" y="8"/>
                    <a:pt x="1" y="10"/>
                  </a:cubicBezTo>
                  <a:cubicBezTo>
                    <a:pt x="2" y="13"/>
                    <a:pt x="5" y="11"/>
                    <a:pt x="4" y="14"/>
                  </a:cubicBezTo>
                  <a:cubicBezTo>
                    <a:pt x="4" y="17"/>
                    <a:pt x="7" y="17"/>
                    <a:pt x="4" y="19"/>
                  </a:cubicBezTo>
                  <a:cubicBezTo>
                    <a:pt x="3" y="20"/>
                    <a:pt x="1" y="24"/>
                    <a:pt x="4" y="24"/>
                  </a:cubicBezTo>
                  <a:cubicBezTo>
                    <a:pt x="6" y="24"/>
                    <a:pt x="8" y="21"/>
                    <a:pt x="9" y="22"/>
                  </a:cubicBezTo>
                  <a:cubicBezTo>
                    <a:pt x="12" y="25"/>
                    <a:pt x="9" y="20"/>
                    <a:pt x="12" y="20"/>
                  </a:cubicBezTo>
                  <a:cubicBezTo>
                    <a:pt x="14" y="20"/>
                    <a:pt x="15" y="19"/>
                    <a:pt x="17" y="17"/>
                  </a:cubicBezTo>
                  <a:cubicBezTo>
                    <a:pt x="18" y="14"/>
                    <a:pt x="19" y="15"/>
                    <a:pt x="20" y="17"/>
                  </a:cubicBezTo>
                  <a:cubicBezTo>
                    <a:pt x="21" y="18"/>
                    <a:pt x="22" y="19"/>
                    <a:pt x="22" y="21"/>
                  </a:cubicBezTo>
                  <a:cubicBezTo>
                    <a:pt x="22" y="22"/>
                    <a:pt x="21" y="23"/>
                    <a:pt x="21" y="24"/>
                  </a:cubicBezTo>
                  <a:cubicBezTo>
                    <a:pt x="22" y="27"/>
                    <a:pt x="26" y="24"/>
                    <a:pt x="27" y="23"/>
                  </a:cubicBezTo>
                  <a:cubicBezTo>
                    <a:pt x="28" y="22"/>
                    <a:pt x="31" y="20"/>
                    <a:pt x="32" y="21"/>
                  </a:cubicBezTo>
                  <a:cubicBezTo>
                    <a:pt x="34" y="23"/>
                    <a:pt x="36" y="20"/>
                    <a:pt x="39" y="21"/>
                  </a:cubicBezTo>
                  <a:cubicBezTo>
                    <a:pt x="40" y="20"/>
                    <a:pt x="38" y="18"/>
                    <a:pt x="38" y="18"/>
                  </a:cubicBezTo>
                  <a:cubicBezTo>
                    <a:pt x="37" y="16"/>
                    <a:pt x="38" y="14"/>
                    <a:pt x="36" y="14"/>
                  </a:cubicBezTo>
                  <a:cubicBezTo>
                    <a:pt x="33" y="15"/>
                    <a:pt x="31" y="12"/>
                    <a:pt x="32" y="9"/>
                  </a:cubicBezTo>
                  <a:cubicBezTo>
                    <a:pt x="32" y="9"/>
                    <a:pt x="31" y="9"/>
                    <a:pt x="30" y="10"/>
                  </a:cubicBezTo>
                  <a:cubicBezTo>
                    <a:pt x="29" y="10"/>
                    <a:pt x="31" y="9"/>
                    <a:pt x="30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97" name="Freeform 697">
              <a:extLst>
                <a:ext uri="{FF2B5EF4-FFF2-40B4-BE49-F238E27FC236}">
                  <a16:creationId xmlns:a16="http://schemas.microsoft.com/office/drawing/2014/main" id="{E818BFAD-556E-C1C7-B8E8-AD870237C0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409473" y="3245848"/>
              <a:ext cx="434547" cy="410644"/>
            </a:xfrm>
            <a:custGeom>
              <a:avLst/>
              <a:gdLst>
                <a:gd name="T0" fmla="*/ 8 w 83"/>
                <a:gd name="T1" fmla="*/ 51 h 74"/>
                <a:gd name="T2" fmla="*/ 9 w 83"/>
                <a:gd name="T3" fmla="*/ 54 h 74"/>
                <a:gd name="T4" fmla="*/ 11 w 83"/>
                <a:gd name="T5" fmla="*/ 57 h 74"/>
                <a:gd name="T6" fmla="*/ 5 w 83"/>
                <a:gd name="T7" fmla="*/ 61 h 74"/>
                <a:gd name="T8" fmla="*/ 3 w 83"/>
                <a:gd name="T9" fmla="*/ 64 h 74"/>
                <a:gd name="T10" fmla="*/ 6 w 83"/>
                <a:gd name="T11" fmla="*/ 66 h 74"/>
                <a:gd name="T12" fmla="*/ 13 w 83"/>
                <a:gd name="T13" fmla="*/ 64 h 74"/>
                <a:gd name="T14" fmla="*/ 19 w 83"/>
                <a:gd name="T15" fmla="*/ 65 h 74"/>
                <a:gd name="T16" fmla="*/ 23 w 83"/>
                <a:gd name="T17" fmla="*/ 65 h 74"/>
                <a:gd name="T18" fmla="*/ 28 w 83"/>
                <a:gd name="T19" fmla="*/ 64 h 74"/>
                <a:gd name="T20" fmla="*/ 29 w 83"/>
                <a:gd name="T21" fmla="*/ 67 h 74"/>
                <a:gd name="T22" fmla="*/ 32 w 83"/>
                <a:gd name="T23" fmla="*/ 69 h 74"/>
                <a:gd name="T24" fmla="*/ 33 w 83"/>
                <a:gd name="T25" fmla="*/ 73 h 74"/>
                <a:gd name="T26" fmla="*/ 34 w 83"/>
                <a:gd name="T27" fmla="*/ 71 h 74"/>
                <a:gd name="T28" fmla="*/ 36 w 83"/>
                <a:gd name="T29" fmla="*/ 73 h 74"/>
                <a:gd name="T30" fmla="*/ 43 w 83"/>
                <a:gd name="T31" fmla="*/ 71 h 74"/>
                <a:gd name="T32" fmla="*/ 46 w 83"/>
                <a:gd name="T33" fmla="*/ 70 h 74"/>
                <a:gd name="T34" fmla="*/ 50 w 83"/>
                <a:gd name="T35" fmla="*/ 70 h 74"/>
                <a:gd name="T36" fmla="*/ 48 w 83"/>
                <a:gd name="T37" fmla="*/ 64 h 74"/>
                <a:gd name="T38" fmla="*/ 46 w 83"/>
                <a:gd name="T39" fmla="*/ 61 h 74"/>
                <a:gd name="T40" fmla="*/ 44 w 83"/>
                <a:gd name="T41" fmla="*/ 57 h 74"/>
                <a:gd name="T42" fmla="*/ 46 w 83"/>
                <a:gd name="T43" fmla="*/ 52 h 74"/>
                <a:gd name="T44" fmla="*/ 49 w 83"/>
                <a:gd name="T45" fmla="*/ 52 h 74"/>
                <a:gd name="T46" fmla="*/ 52 w 83"/>
                <a:gd name="T47" fmla="*/ 52 h 74"/>
                <a:gd name="T48" fmla="*/ 57 w 83"/>
                <a:gd name="T49" fmla="*/ 46 h 74"/>
                <a:gd name="T50" fmla="*/ 60 w 83"/>
                <a:gd name="T51" fmla="*/ 44 h 74"/>
                <a:gd name="T52" fmla="*/ 62 w 83"/>
                <a:gd name="T53" fmla="*/ 41 h 74"/>
                <a:gd name="T54" fmla="*/ 65 w 83"/>
                <a:gd name="T55" fmla="*/ 39 h 74"/>
                <a:gd name="T56" fmla="*/ 66 w 83"/>
                <a:gd name="T57" fmla="*/ 37 h 74"/>
                <a:gd name="T58" fmla="*/ 69 w 83"/>
                <a:gd name="T59" fmla="*/ 33 h 74"/>
                <a:gd name="T60" fmla="*/ 71 w 83"/>
                <a:gd name="T61" fmla="*/ 27 h 74"/>
                <a:gd name="T62" fmla="*/ 66 w 83"/>
                <a:gd name="T63" fmla="*/ 23 h 74"/>
                <a:gd name="T64" fmla="*/ 65 w 83"/>
                <a:gd name="T65" fmla="*/ 16 h 74"/>
                <a:gd name="T66" fmla="*/ 70 w 83"/>
                <a:gd name="T67" fmla="*/ 14 h 74"/>
                <a:gd name="T68" fmla="*/ 74 w 83"/>
                <a:gd name="T69" fmla="*/ 15 h 74"/>
                <a:gd name="T70" fmla="*/ 77 w 83"/>
                <a:gd name="T71" fmla="*/ 13 h 74"/>
                <a:gd name="T72" fmla="*/ 83 w 83"/>
                <a:gd name="T73" fmla="*/ 10 h 74"/>
                <a:gd name="T74" fmla="*/ 76 w 83"/>
                <a:gd name="T75" fmla="*/ 6 h 74"/>
                <a:gd name="T76" fmla="*/ 74 w 83"/>
                <a:gd name="T77" fmla="*/ 2 h 74"/>
                <a:gd name="T78" fmla="*/ 71 w 83"/>
                <a:gd name="T79" fmla="*/ 0 h 74"/>
                <a:gd name="T80" fmla="*/ 65 w 83"/>
                <a:gd name="T81" fmla="*/ 1 h 74"/>
                <a:gd name="T82" fmla="*/ 56 w 83"/>
                <a:gd name="T83" fmla="*/ 4 h 74"/>
                <a:gd name="T84" fmla="*/ 53 w 83"/>
                <a:gd name="T85" fmla="*/ 8 h 74"/>
                <a:gd name="T86" fmla="*/ 51 w 83"/>
                <a:gd name="T87" fmla="*/ 13 h 74"/>
                <a:gd name="T88" fmla="*/ 48 w 83"/>
                <a:gd name="T89" fmla="*/ 18 h 74"/>
                <a:gd name="T90" fmla="*/ 47 w 83"/>
                <a:gd name="T91" fmla="*/ 21 h 74"/>
                <a:gd name="T92" fmla="*/ 43 w 83"/>
                <a:gd name="T93" fmla="*/ 24 h 74"/>
                <a:gd name="T94" fmla="*/ 41 w 83"/>
                <a:gd name="T95" fmla="*/ 30 h 74"/>
                <a:gd name="T96" fmla="*/ 38 w 83"/>
                <a:gd name="T97" fmla="*/ 30 h 74"/>
                <a:gd name="T98" fmla="*/ 34 w 83"/>
                <a:gd name="T99" fmla="*/ 32 h 74"/>
                <a:gd name="T100" fmla="*/ 30 w 83"/>
                <a:gd name="T101" fmla="*/ 33 h 74"/>
                <a:gd name="T102" fmla="*/ 27 w 83"/>
                <a:gd name="T103" fmla="*/ 37 h 74"/>
                <a:gd name="T104" fmla="*/ 22 w 83"/>
                <a:gd name="T105" fmla="*/ 42 h 74"/>
                <a:gd name="T106" fmla="*/ 13 w 83"/>
                <a:gd name="T107" fmla="*/ 43 h 74"/>
                <a:gd name="T108" fmla="*/ 0 w 83"/>
                <a:gd name="T109" fmla="*/ 40 h 74"/>
                <a:gd name="T110" fmla="*/ 3 w 83"/>
                <a:gd name="T111" fmla="*/ 46 h 74"/>
                <a:gd name="T112" fmla="*/ 8 w 83"/>
                <a:gd name="T113" fmla="*/ 51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3" h="74">
                  <a:moveTo>
                    <a:pt x="8" y="51"/>
                  </a:moveTo>
                  <a:cubicBezTo>
                    <a:pt x="8" y="52"/>
                    <a:pt x="8" y="53"/>
                    <a:pt x="9" y="54"/>
                  </a:cubicBezTo>
                  <a:cubicBezTo>
                    <a:pt x="10" y="55"/>
                    <a:pt x="11" y="56"/>
                    <a:pt x="11" y="57"/>
                  </a:cubicBezTo>
                  <a:cubicBezTo>
                    <a:pt x="11" y="58"/>
                    <a:pt x="6" y="60"/>
                    <a:pt x="5" y="61"/>
                  </a:cubicBezTo>
                  <a:cubicBezTo>
                    <a:pt x="4" y="61"/>
                    <a:pt x="3" y="62"/>
                    <a:pt x="3" y="64"/>
                  </a:cubicBezTo>
                  <a:cubicBezTo>
                    <a:pt x="3" y="66"/>
                    <a:pt x="3" y="66"/>
                    <a:pt x="6" y="66"/>
                  </a:cubicBezTo>
                  <a:cubicBezTo>
                    <a:pt x="8" y="65"/>
                    <a:pt x="11" y="65"/>
                    <a:pt x="13" y="64"/>
                  </a:cubicBezTo>
                  <a:cubicBezTo>
                    <a:pt x="15" y="64"/>
                    <a:pt x="17" y="64"/>
                    <a:pt x="19" y="65"/>
                  </a:cubicBezTo>
                  <a:cubicBezTo>
                    <a:pt x="20" y="65"/>
                    <a:pt x="22" y="65"/>
                    <a:pt x="23" y="65"/>
                  </a:cubicBezTo>
                  <a:cubicBezTo>
                    <a:pt x="25" y="65"/>
                    <a:pt x="26" y="64"/>
                    <a:pt x="28" y="64"/>
                  </a:cubicBezTo>
                  <a:cubicBezTo>
                    <a:pt x="29" y="64"/>
                    <a:pt x="29" y="66"/>
                    <a:pt x="29" y="67"/>
                  </a:cubicBezTo>
                  <a:cubicBezTo>
                    <a:pt x="30" y="68"/>
                    <a:pt x="31" y="68"/>
                    <a:pt x="32" y="69"/>
                  </a:cubicBezTo>
                  <a:cubicBezTo>
                    <a:pt x="32" y="70"/>
                    <a:pt x="33" y="72"/>
                    <a:pt x="33" y="73"/>
                  </a:cubicBezTo>
                  <a:cubicBezTo>
                    <a:pt x="35" y="74"/>
                    <a:pt x="34" y="72"/>
                    <a:pt x="34" y="71"/>
                  </a:cubicBezTo>
                  <a:cubicBezTo>
                    <a:pt x="35" y="71"/>
                    <a:pt x="36" y="73"/>
                    <a:pt x="36" y="73"/>
                  </a:cubicBezTo>
                  <a:cubicBezTo>
                    <a:pt x="38" y="72"/>
                    <a:pt x="40" y="70"/>
                    <a:pt x="43" y="71"/>
                  </a:cubicBezTo>
                  <a:cubicBezTo>
                    <a:pt x="44" y="71"/>
                    <a:pt x="45" y="71"/>
                    <a:pt x="46" y="70"/>
                  </a:cubicBezTo>
                  <a:cubicBezTo>
                    <a:pt x="47" y="70"/>
                    <a:pt x="49" y="70"/>
                    <a:pt x="50" y="70"/>
                  </a:cubicBezTo>
                  <a:cubicBezTo>
                    <a:pt x="51" y="69"/>
                    <a:pt x="49" y="64"/>
                    <a:pt x="48" y="64"/>
                  </a:cubicBezTo>
                  <a:cubicBezTo>
                    <a:pt x="47" y="63"/>
                    <a:pt x="46" y="63"/>
                    <a:pt x="46" y="61"/>
                  </a:cubicBezTo>
                  <a:cubicBezTo>
                    <a:pt x="46" y="59"/>
                    <a:pt x="45" y="58"/>
                    <a:pt x="44" y="57"/>
                  </a:cubicBezTo>
                  <a:cubicBezTo>
                    <a:pt x="41" y="56"/>
                    <a:pt x="45" y="54"/>
                    <a:pt x="46" y="52"/>
                  </a:cubicBezTo>
                  <a:cubicBezTo>
                    <a:pt x="47" y="52"/>
                    <a:pt x="47" y="51"/>
                    <a:pt x="49" y="52"/>
                  </a:cubicBezTo>
                  <a:cubicBezTo>
                    <a:pt x="51" y="54"/>
                    <a:pt x="50" y="52"/>
                    <a:pt x="52" y="52"/>
                  </a:cubicBezTo>
                  <a:cubicBezTo>
                    <a:pt x="56" y="51"/>
                    <a:pt x="55" y="48"/>
                    <a:pt x="57" y="46"/>
                  </a:cubicBezTo>
                  <a:cubicBezTo>
                    <a:pt x="58" y="45"/>
                    <a:pt x="60" y="45"/>
                    <a:pt x="60" y="44"/>
                  </a:cubicBezTo>
                  <a:cubicBezTo>
                    <a:pt x="61" y="43"/>
                    <a:pt x="62" y="42"/>
                    <a:pt x="62" y="41"/>
                  </a:cubicBezTo>
                  <a:cubicBezTo>
                    <a:pt x="62" y="40"/>
                    <a:pt x="64" y="39"/>
                    <a:pt x="65" y="39"/>
                  </a:cubicBezTo>
                  <a:cubicBezTo>
                    <a:pt x="66" y="39"/>
                    <a:pt x="66" y="37"/>
                    <a:pt x="66" y="37"/>
                  </a:cubicBezTo>
                  <a:cubicBezTo>
                    <a:pt x="66" y="34"/>
                    <a:pt x="70" y="36"/>
                    <a:pt x="69" y="33"/>
                  </a:cubicBezTo>
                  <a:cubicBezTo>
                    <a:pt x="69" y="30"/>
                    <a:pt x="68" y="29"/>
                    <a:pt x="71" y="27"/>
                  </a:cubicBezTo>
                  <a:cubicBezTo>
                    <a:pt x="72" y="27"/>
                    <a:pt x="67" y="24"/>
                    <a:pt x="66" y="23"/>
                  </a:cubicBezTo>
                  <a:cubicBezTo>
                    <a:pt x="65" y="21"/>
                    <a:pt x="66" y="18"/>
                    <a:pt x="65" y="16"/>
                  </a:cubicBezTo>
                  <a:cubicBezTo>
                    <a:pt x="65" y="13"/>
                    <a:pt x="68" y="13"/>
                    <a:pt x="70" y="14"/>
                  </a:cubicBezTo>
                  <a:cubicBezTo>
                    <a:pt x="71" y="14"/>
                    <a:pt x="73" y="15"/>
                    <a:pt x="74" y="15"/>
                  </a:cubicBezTo>
                  <a:cubicBezTo>
                    <a:pt x="76" y="15"/>
                    <a:pt x="76" y="14"/>
                    <a:pt x="77" y="13"/>
                  </a:cubicBezTo>
                  <a:cubicBezTo>
                    <a:pt x="80" y="13"/>
                    <a:pt x="81" y="13"/>
                    <a:pt x="83" y="10"/>
                  </a:cubicBezTo>
                  <a:cubicBezTo>
                    <a:pt x="80" y="9"/>
                    <a:pt x="77" y="8"/>
                    <a:pt x="76" y="6"/>
                  </a:cubicBezTo>
                  <a:cubicBezTo>
                    <a:pt x="75" y="5"/>
                    <a:pt x="75" y="3"/>
                    <a:pt x="74" y="2"/>
                  </a:cubicBezTo>
                  <a:cubicBezTo>
                    <a:pt x="73" y="1"/>
                    <a:pt x="72" y="1"/>
                    <a:pt x="71" y="0"/>
                  </a:cubicBezTo>
                  <a:cubicBezTo>
                    <a:pt x="69" y="0"/>
                    <a:pt x="66" y="1"/>
                    <a:pt x="65" y="1"/>
                  </a:cubicBezTo>
                  <a:cubicBezTo>
                    <a:pt x="61" y="0"/>
                    <a:pt x="59" y="2"/>
                    <a:pt x="56" y="4"/>
                  </a:cubicBezTo>
                  <a:cubicBezTo>
                    <a:pt x="53" y="5"/>
                    <a:pt x="51" y="5"/>
                    <a:pt x="53" y="8"/>
                  </a:cubicBezTo>
                  <a:cubicBezTo>
                    <a:pt x="55" y="10"/>
                    <a:pt x="53" y="12"/>
                    <a:pt x="51" y="13"/>
                  </a:cubicBezTo>
                  <a:cubicBezTo>
                    <a:pt x="49" y="15"/>
                    <a:pt x="52" y="19"/>
                    <a:pt x="48" y="18"/>
                  </a:cubicBezTo>
                  <a:cubicBezTo>
                    <a:pt x="43" y="18"/>
                    <a:pt x="47" y="19"/>
                    <a:pt x="47" y="21"/>
                  </a:cubicBezTo>
                  <a:cubicBezTo>
                    <a:pt x="48" y="22"/>
                    <a:pt x="44" y="23"/>
                    <a:pt x="43" y="24"/>
                  </a:cubicBezTo>
                  <a:cubicBezTo>
                    <a:pt x="42" y="26"/>
                    <a:pt x="42" y="30"/>
                    <a:pt x="41" y="30"/>
                  </a:cubicBezTo>
                  <a:cubicBezTo>
                    <a:pt x="40" y="31"/>
                    <a:pt x="39" y="30"/>
                    <a:pt x="38" y="30"/>
                  </a:cubicBezTo>
                  <a:cubicBezTo>
                    <a:pt x="36" y="30"/>
                    <a:pt x="35" y="31"/>
                    <a:pt x="34" y="32"/>
                  </a:cubicBezTo>
                  <a:cubicBezTo>
                    <a:pt x="32" y="33"/>
                    <a:pt x="31" y="32"/>
                    <a:pt x="30" y="33"/>
                  </a:cubicBezTo>
                  <a:cubicBezTo>
                    <a:pt x="28" y="34"/>
                    <a:pt x="28" y="35"/>
                    <a:pt x="27" y="37"/>
                  </a:cubicBezTo>
                  <a:cubicBezTo>
                    <a:pt x="27" y="40"/>
                    <a:pt x="25" y="41"/>
                    <a:pt x="22" y="42"/>
                  </a:cubicBezTo>
                  <a:cubicBezTo>
                    <a:pt x="19" y="43"/>
                    <a:pt x="16" y="43"/>
                    <a:pt x="13" y="43"/>
                  </a:cubicBezTo>
                  <a:cubicBezTo>
                    <a:pt x="8" y="43"/>
                    <a:pt x="4" y="42"/>
                    <a:pt x="0" y="40"/>
                  </a:cubicBezTo>
                  <a:cubicBezTo>
                    <a:pt x="1" y="42"/>
                    <a:pt x="2" y="44"/>
                    <a:pt x="3" y="46"/>
                  </a:cubicBezTo>
                  <a:cubicBezTo>
                    <a:pt x="4" y="47"/>
                    <a:pt x="8" y="48"/>
                    <a:pt x="8" y="5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98" name="Freeform 698">
              <a:extLst>
                <a:ext uri="{FF2B5EF4-FFF2-40B4-BE49-F238E27FC236}">
                  <a16:creationId xmlns:a16="http://schemas.microsoft.com/office/drawing/2014/main" id="{1366CCD6-6B1D-EA17-240D-1F14C328F253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8013" y="3194754"/>
              <a:ext cx="393416" cy="295208"/>
            </a:xfrm>
            <a:custGeom>
              <a:avLst/>
              <a:gdLst>
                <a:gd name="T0" fmla="*/ 72 w 75"/>
                <a:gd name="T1" fmla="*/ 7 h 53"/>
                <a:gd name="T2" fmla="*/ 69 w 75"/>
                <a:gd name="T3" fmla="*/ 8 h 53"/>
                <a:gd name="T4" fmla="*/ 67 w 75"/>
                <a:gd name="T5" fmla="*/ 7 h 53"/>
                <a:gd name="T6" fmla="*/ 62 w 75"/>
                <a:gd name="T7" fmla="*/ 10 h 53"/>
                <a:gd name="T8" fmla="*/ 57 w 75"/>
                <a:gd name="T9" fmla="*/ 11 h 53"/>
                <a:gd name="T10" fmla="*/ 57 w 75"/>
                <a:gd name="T11" fmla="*/ 4 h 53"/>
                <a:gd name="T12" fmla="*/ 54 w 75"/>
                <a:gd name="T13" fmla="*/ 1 h 53"/>
                <a:gd name="T14" fmla="*/ 50 w 75"/>
                <a:gd name="T15" fmla="*/ 6 h 53"/>
                <a:gd name="T16" fmla="*/ 47 w 75"/>
                <a:gd name="T17" fmla="*/ 8 h 53"/>
                <a:gd name="T18" fmla="*/ 44 w 75"/>
                <a:gd name="T19" fmla="*/ 8 h 53"/>
                <a:gd name="T20" fmla="*/ 39 w 75"/>
                <a:gd name="T21" fmla="*/ 10 h 53"/>
                <a:gd name="T22" fmla="*/ 34 w 75"/>
                <a:gd name="T23" fmla="*/ 7 h 53"/>
                <a:gd name="T24" fmla="*/ 28 w 75"/>
                <a:gd name="T25" fmla="*/ 6 h 53"/>
                <a:gd name="T26" fmla="*/ 27 w 75"/>
                <a:gd name="T27" fmla="*/ 8 h 53"/>
                <a:gd name="T28" fmla="*/ 24 w 75"/>
                <a:gd name="T29" fmla="*/ 9 h 53"/>
                <a:gd name="T30" fmla="*/ 21 w 75"/>
                <a:gd name="T31" fmla="*/ 14 h 53"/>
                <a:gd name="T32" fmla="*/ 15 w 75"/>
                <a:gd name="T33" fmla="*/ 17 h 53"/>
                <a:gd name="T34" fmla="*/ 11 w 75"/>
                <a:gd name="T35" fmla="*/ 19 h 53"/>
                <a:gd name="T36" fmla="*/ 5 w 75"/>
                <a:gd name="T37" fmla="*/ 16 h 53"/>
                <a:gd name="T38" fmla="*/ 4 w 75"/>
                <a:gd name="T39" fmla="*/ 23 h 53"/>
                <a:gd name="T40" fmla="*/ 3 w 75"/>
                <a:gd name="T41" fmla="*/ 29 h 53"/>
                <a:gd name="T42" fmla="*/ 2 w 75"/>
                <a:gd name="T43" fmla="*/ 33 h 53"/>
                <a:gd name="T44" fmla="*/ 3 w 75"/>
                <a:gd name="T45" fmla="*/ 37 h 53"/>
                <a:gd name="T46" fmla="*/ 4 w 75"/>
                <a:gd name="T47" fmla="*/ 40 h 53"/>
                <a:gd name="T48" fmla="*/ 8 w 75"/>
                <a:gd name="T49" fmla="*/ 43 h 53"/>
                <a:gd name="T50" fmla="*/ 4 w 75"/>
                <a:gd name="T51" fmla="*/ 49 h 53"/>
                <a:gd name="T52" fmla="*/ 29 w 75"/>
                <a:gd name="T53" fmla="*/ 50 h 53"/>
                <a:gd name="T54" fmla="*/ 32 w 75"/>
                <a:gd name="T55" fmla="*/ 43 h 53"/>
                <a:gd name="T56" fmla="*/ 39 w 75"/>
                <a:gd name="T57" fmla="*/ 40 h 53"/>
                <a:gd name="T58" fmla="*/ 43 w 75"/>
                <a:gd name="T59" fmla="*/ 39 h 53"/>
                <a:gd name="T60" fmla="*/ 45 w 75"/>
                <a:gd name="T61" fmla="*/ 39 h 53"/>
                <a:gd name="T62" fmla="*/ 47 w 75"/>
                <a:gd name="T63" fmla="*/ 33 h 53"/>
                <a:gd name="T64" fmla="*/ 51 w 75"/>
                <a:gd name="T65" fmla="*/ 30 h 53"/>
                <a:gd name="T66" fmla="*/ 51 w 75"/>
                <a:gd name="T67" fmla="*/ 27 h 53"/>
                <a:gd name="T68" fmla="*/ 55 w 75"/>
                <a:gd name="T69" fmla="*/ 26 h 53"/>
                <a:gd name="T70" fmla="*/ 55 w 75"/>
                <a:gd name="T71" fmla="*/ 23 h 53"/>
                <a:gd name="T72" fmla="*/ 58 w 75"/>
                <a:gd name="T73" fmla="*/ 19 h 53"/>
                <a:gd name="T74" fmla="*/ 56 w 75"/>
                <a:gd name="T75" fmla="*/ 14 h 53"/>
                <a:gd name="T76" fmla="*/ 63 w 75"/>
                <a:gd name="T77" fmla="*/ 11 h 53"/>
                <a:gd name="T78" fmla="*/ 70 w 75"/>
                <a:gd name="T79" fmla="*/ 10 h 53"/>
                <a:gd name="T80" fmla="*/ 74 w 75"/>
                <a:gd name="T81" fmla="*/ 9 h 53"/>
                <a:gd name="T82" fmla="*/ 75 w 75"/>
                <a:gd name="T83" fmla="*/ 7 h 53"/>
                <a:gd name="T84" fmla="*/ 72 w 75"/>
                <a:gd name="T85" fmla="*/ 7 h 53"/>
                <a:gd name="T86" fmla="*/ 72 w 75"/>
                <a:gd name="T87" fmla="*/ 7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75" h="53">
                  <a:moveTo>
                    <a:pt x="72" y="7"/>
                  </a:moveTo>
                  <a:cubicBezTo>
                    <a:pt x="71" y="7"/>
                    <a:pt x="70" y="9"/>
                    <a:pt x="69" y="8"/>
                  </a:cubicBezTo>
                  <a:cubicBezTo>
                    <a:pt x="68" y="8"/>
                    <a:pt x="68" y="6"/>
                    <a:pt x="67" y="7"/>
                  </a:cubicBezTo>
                  <a:cubicBezTo>
                    <a:pt x="65" y="7"/>
                    <a:pt x="63" y="9"/>
                    <a:pt x="62" y="10"/>
                  </a:cubicBezTo>
                  <a:cubicBezTo>
                    <a:pt x="61" y="10"/>
                    <a:pt x="59" y="12"/>
                    <a:pt x="57" y="11"/>
                  </a:cubicBezTo>
                  <a:cubicBezTo>
                    <a:pt x="56" y="10"/>
                    <a:pt x="59" y="6"/>
                    <a:pt x="57" y="4"/>
                  </a:cubicBezTo>
                  <a:cubicBezTo>
                    <a:pt x="57" y="4"/>
                    <a:pt x="55" y="0"/>
                    <a:pt x="54" y="1"/>
                  </a:cubicBezTo>
                  <a:cubicBezTo>
                    <a:pt x="53" y="3"/>
                    <a:pt x="52" y="5"/>
                    <a:pt x="50" y="6"/>
                  </a:cubicBezTo>
                  <a:cubicBezTo>
                    <a:pt x="48" y="7"/>
                    <a:pt x="47" y="6"/>
                    <a:pt x="47" y="8"/>
                  </a:cubicBezTo>
                  <a:cubicBezTo>
                    <a:pt x="46" y="11"/>
                    <a:pt x="45" y="7"/>
                    <a:pt x="44" y="8"/>
                  </a:cubicBezTo>
                  <a:cubicBezTo>
                    <a:pt x="42" y="9"/>
                    <a:pt x="41" y="10"/>
                    <a:pt x="39" y="10"/>
                  </a:cubicBezTo>
                  <a:cubicBezTo>
                    <a:pt x="37" y="9"/>
                    <a:pt x="35" y="8"/>
                    <a:pt x="34" y="7"/>
                  </a:cubicBezTo>
                  <a:cubicBezTo>
                    <a:pt x="33" y="7"/>
                    <a:pt x="28" y="6"/>
                    <a:pt x="28" y="6"/>
                  </a:cubicBezTo>
                  <a:cubicBezTo>
                    <a:pt x="27" y="7"/>
                    <a:pt x="28" y="8"/>
                    <a:pt x="27" y="8"/>
                  </a:cubicBezTo>
                  <a:cubicBezTo>
                    <a:pt x="26" y="8"/>
                    <a:pt x="24" y="8"/>
                    <a:pt x="24" y="9"/>
                  </a:cubicBezTo>
                  <a:cubicBezTo>
                    <a:pt x="23" y="11"/>
                    <a:pt x="23" y="13"/>
                    <a:pt x="21" y="14"/>
                  </a:cubicBezTo>
                  <a:cubicBezTo>
                    <a:pt x="18" y="16"/>
                    <a:pt x="17" y="15"/>
                    <a:pt x="15" y="17"/>
                  </a:cubicBezTo>
                  <a:cubicBezTo>
                    <a:pt x="14" y="19"/>
                    <a:pt x="12" y="19"/>
                    <a:pt x="11" y="19"/>
                  </a:cubicBezTo>
                  <a:cubicBezTo>
                    <a:pt x="10" y="18"/>
                    <a:pt x="5" y="17"/>
                    <a:pt x="5" y="16"/>
                  </a:cubicBezTo>
                  <a:cubicBezTo>
                    <a:pt x="5" y="19"/>
                    <a:pt x="5" y="21"/>
                    <a:pt x="4" y="23"/>
                  </a:cubicBezTo>
                  <a:cubicBezTo>
                    <a:pt x="2" y="25"/>
                    <a:pt x="0" y="27"/>
                    <a:pt x="3" y="29"/>
                  </a:cubicBezTo>
                  <a:cubicBezTo>
                    <a:pt x="4" y="30"/>
                    <a:pt x="2" y="31"/>
                    <a:pt x="2" y="33"/>
                  </a:cubicBezTo>
                  <a:cubicBezTo>
                    <a:pt x="2" y="34"/>
                    <a:pt x="2" y="36"/>
                    <a:pt x="3" y="37"/>
                  </a:cubicBezTo>
                  <a:cubicBezTo>
                    <a:pt x="3" y="39"/>
                    <a:pt x="2" y="40"/>
                    <a:pt x="4" y="40"/>
                  </a:cubicBezTo>
                  <a:cubicBezTo>
                    <a:pt x="7" y="41"/>
                    <a:pt x="8" y="40"/>
                    <a:pt x="8" y="43"/>
                  </a:cubicBezTo>
                  <a:cubicBezTo>
                    <a:pt x="8" y="45"/>
                    <a:pt x="5" y="48"/>
                    <a:pt x="4" y="49"/>
                  </a:cubicBezTo>
                  <a:cubicBezTo>
                    <a:pt x="12" y="53"/>
                    <a:pt x="21" y="52"/>
                    <a:pt x="29" y="50"/>
                  </a:cubicBezTo>
                  <a:cubicBezTo>
                    <a:pt x="32" y="49"/>
                    <a:pt x="31" y="45"/>
                    <a:pt x="32" y="43"/>
                  </a:cubicBezTo>
                  <a:cubicBezTo>
                    <a:pt x="33" y="41"/>
                    <a:pt x="37" y="42"/>
                    <a:pt x="39" y="40"/>
                  </a:cubicBezTo>
                  <a:cubicBezTo>
                    <a:pt x="40" y="40"/>
                    <a:pt x="41" y="39"/>
                    <a:pt x="43" y="39"/>
                  </a:cubicBezTo>
                  <a:cubicBezTo>
                    <a:pt x="43" y="39"/>
                    <a:pt x="45" y="40"/>
                    <a:pt x="45" y="39"/>
                  </a:cubicBezTo>
                  <a:cubicBezTo>
                    <a:pt x="46" y="37"/>
                    <a:pt x="46" y="35"/>
                    <a:pt x="47" y="33"/>
                  </a:cubicBezTo>
                  <a:cubicBezTo>
                    <a:pt x="48" y="32"/>
                    <a:pt x="52" y="31"/>
                    <a:pt x="51" y="30"/>
                  </a:cubicBezTo>
                  <a:cubicBezTo>
                    <a:pt x="51" y="29"/>
                    <a:pt x="47" y="27"/>
                    <a:pt x="51" y="27"/>
                  </a:cubicBezTo>
                  <a:cubicBezTo>
                    <a:pt x="52" y="27"/>
                    <a:pt x="54" y="28"/>
                    <a:pt x="55" y="26"/>
                  </a:cubicBezTo>
                  <a:cubicBezTo>
                    <a:pt x="55" y="25"/>
                    <a:pt x="54" y="24"/>
                    <a:pt x="55" y="23"/>
                  </a:cubicBezTo>
                  <a:cubicBezTo>
                    <a:pt x="55" y="21"/>
                    <a:pt x="58" y="21"/>
                    <a:pt x="58" y="19"/>
                  </a:cubicBezTo>
                  <a:cubicBezTo>
                    <a:pt x="58" y="17"/>
                    <a:pt x="55" y="16"/>
                    <a:pt x="56" y="14"/>
                  </a:cubicBezTo>
                  <a:cubicBezTo>
                    <a:pt x="58" y="13"/>
                    <a:pt x="61" y="12"/>
                    <a:pt x="63" y="11"/>
                  </a:cubicBezTo>
                  <a:cubicBezTo>
                    <a:pt x="65" y="9"/>
                    <a:pt x="68" y="10"/>
                    <a:pt x="70" y="10"/>
                  </a:cubicBezTo>
                  <a:cubicBezTo>
                    <a:pt x="71" y="10"/>
                    <a:pt x="73" y="10"/>
                    <a:pt x="74" y="9"/>
                  </a:cubicBezTo>
                  <a:cubicBezTo>
                    <a:pt x="74" y="9"/>
                    <a:pt x="75" y="8"/>
                    <a:pt x="75" y="7"/>
                  </a:cubicBezTo>
                  <a:cubicBezTo>
                    <a:pt x="74" y="7"/>
                    <a:pt x="73" y="7"/>
                    <a:pt x="72" y="7"/>
                  </a:cubicBezTo>
                  <a:cubicBezTo>
                    <a:pt x="71" y="8"/>
                    <a:pt x="73" y="7"/>
                    <a:pt x="72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99" name="Freeform 699">
              <a:extLst>
                <a:ext uri="{FF2B5EF4-FFF2-40B4-BE49-F238E27FC236}">
                  <a16:creationId xmlns:a16="http://schemas.microsoft.com/office/drawing/2014/main" id="{55E710A3-5B55-CACD-3641-4CEB6314D6D0}"/>
                </a:ext>
              </a:extLst>
            </p:cNvPr>
            <p:cNvSpPr>
              <a:spLocks/>
            </p:cNvSpPr>
            <p:nvPr/>
          </p:nvSpPr>
          <p:spPr bwMode="auto">
            <a:xfrm>
              <a:off x="7352248" y="2956316"/>
              <a:ext cx="14306" cy="22709"/>
            </a:xfrm>
            <a:custGeom>
              <a:avLst/>
              <a:gdLst>
                <a:gd name="T0" fmla="*/ 3 w 3"/>
                <a:gd name="T1" fmla="*/ 2 h 4"/>
                <a:gd name="T2" fmla="*/ 1 w 3"/>
                <a:gd name="T3" fmla="*/ 1 h 4"/>
                <a:gd name="T4" fmla="*/ 3 w 3"/>
                <a:gd name="T5" fmla="*/ 4 h 4"/>
                <a:gd name="T6" fmla="*/ 3 w 3"/>
                <a:gd name="T7" fmla="*/ 2 h 4"/>
                <a:gd name="T8" fmla="*/ 3 w 3"/>
                <a:gd name="T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3" y="2"/>
                  </a:moveTo>
                  <a:cubicBezTo>
                    <a:pt x="2" y="2"/>
                    <a:pt x="1" y="0"/>
                    <a:pt x="1" y="1"/>
                  </a:cubicBezTo>
                  <a:cubicBezTo>
                    <a:pt x="0" y="2"/>
                    <a:pt x="2" y="3"/>
                    <a:pt x="3" y="4"/>
                  </a:cubicBezTo>
                  <a:cubicBezTo>
                    <a:pt x="3" y="3"/>
                    <a:pt x="3" y="2"/>
                    <a:pt x="3" y="2"/>
                  </a:cubicBezTo>
                  <a:cubicBezTo>
                    <a:pt x="2" y="1"/>
                    <a:pt x="3" y="2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00" name="Freeform 700">
              <a:extLst>
                <a:ext uri="{FF2B5EF4-FFF2-40B4-BE49-F238E27FC236}">
                  <a16:creationId xmlns:a16="http://schemas.microsoft.com/office/drawing/2014/main" id="{1B190E0E-52F8-A197-8356-FFC6E96D7AC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21421" y="2606229"/>
              <a:ext cx="1064011" cy="539325"/>
            </a:xfrm>
            <a:custGeom>
              <a:avLst/>
              <a:gdLst>
                <a:gd name="T0" fmla="*/ 194 w 203"/>
                <a:gd name="T1" fmla="*/ 37 h 97"/>
                <a:gd name="T2" fmla="*/ 177 w 203"/>
                <a:gd name="T3" fmla="*/ 31 h 97"/>
                <a:gd name="T4" fmla="*/ 163 w 203"/>
                <a:gd name="T5" fmla="*/ 19 h 97"/>
                <a:gd name="T6" fmla="*/ 154 w 203"/>
                <a:gd name="T7" fmla="*/ 7 h 97"/>
                <a:gd name="T8" fmla="*/ 137 w 203"/>
                <a:gd name="T9" fmla="*/ 10 h 97"/>
                <a:gd name="T10" fmla="*/ 129 w 203"/>
                <a:gd name="T11" fmla="*/ 8 h 97"/>
                <a:gd name="T12" fmla="*/ 112 w 203"/>
                <a:gd name="T13" fmla="*/ 2 h 97"/>
                <a:gd name="T14" fmla="*/ 76 w 203"/>
                <a:gd name="T15" fmla="*/ 10 h 97"/>
                <a:gd name="T16" fmla="*/ 75 w 203"/>
                <a:gd name="T17" fmla="*/ 20 h 97"/>
                <a:gd name="T18" fmla="*/ 74 w 203"/>
                <a:gd name="T19" fmla="*/ 31 h 97"/>
                <a:gd name="T20" fmla="*/ 60 w 203"/>
                <a:gd name="T21" fmla="*/ 29 h 97"/>
                <a:gd name="T22" fmla="*/ 48 w 203"/>
                <a:gd name="T23" fmla="*/ 32 h 97"/>
                <a:gd name="T24" fmla="*/ 37 w 203"/>
                <a:gd name="T25" fmla="*/ 27 h 97"/>
                <a:gd name="T26" fmla="*/ 22 w 203"/>
                <a:gd name="T27" fmla="*/ 25 h 97"/>
                <a:gd name="T28" fmla="*/ 13 w 203"/>
                <a:gd name="T29" fmla="*/ 32 h 97"/>
                <a:gd name="T30" fmla="*/ 3 w 203"/>
                <a:gd name="T31" fmla="*/ 38 h 97"/>
                <a:gd name="T32" fmla="*/ 4 w 203"/>
                <a:gd name="T33" fmla="*/ 47 h 97"/>
                <a:gd name="T34" fmla="*/ 14 w 203"/>
                <a:gd name="T35" fmla="*/ 57 h 97"/>
                <a:gd name="T36" fmla="*/ 17 w 203"/>
                <a:gd name="T37" fmla="*/ 57 h 97"/>
                <a:gd name="T38" fmla="*/ 36 w 203"/>
                <a:gd name="T39" fmla="*/ 63 h 97"/>
                <a:gd name="T40" fmla="*/ 33 w 203"/>
                <a:gd name="T41" fmla="*/ 66 h 97"/>
                <a:gd name="T42" fmla="*/ 22 w 203"/>
                <a:gd name="T43" fmla="*/ 72 h 97"/>
                <a:gd name="T44" fmla="*/ 31 w 203"/>
                <a:gd name="T45" fmla="*/ 82 h 97"/>
                <a:gd name="T46" fmla="*/ 48 w 203"/>
                <a:gd name="T47" fmla="*/ 90 h 97"/>
                <a:gd name="T48" fmla="*/ 50 w 203"/>
                <a:gd name="T49" fmla="*/ 68 h 97"/>
                <a:gd name="T50" fmla="*/ 64 w 203"/>
                <a:gd name="T51" fmla="*/ 62 h 97"/>
                <a:gd name="T52" fmla="*/ 72 w 203"/>
                <a:gd name="T53" fmla="*/ 66 h 97"/>
                <a:gd name="T54" fmla="*/ 84 w 203"/>
                <a:gd name="T55" fmla="*/ 76 h 97"/>
                <a:gd name="T56" fmla="*/ 100 w 203"/>
                <a:gd name="T57" fmla="*/ 81 h 97"/>
                <a:gd name="T58" fmla="*/ 107 w 203"/>
                <a:gd name="T59" fmla="*/ 91 h 97"/>
                <a:gd name="T60" fmla="*/ 123 w 203"/>
                <a:gd name="T61" fmla="*/ 85 h 97"/>
                <a:gd name="T62" fmla="*/ 137 w 203"/>
                <a:gd name="T63" fmla="*/ 83 h 97"/>
                <a:gd name="T64" fmla="*/ 153 w 203"/>
                <a:gd name="T65" fmla="*/ 81 h 97"/>
                <a:gd name="T66" fmla="*/ 172 w 203"/>
                <a:gd name="T67" fmla="*/ 76 h 97"/>
                <a:gd name="T68" fmla="*/ 175 w 203"/>
                <a:gd name="T69" fmla="*/ 66 h 97"/>
                <a:gd name="T70" fmla="*/ 182 w 203"/>
                <a:gd name="T71" fmla="*/ 60 h 97"/>
                <a:gd name="T72" fmla="*/ 193 w 203"/>
                <a:gd name="T73" fmla="*/ 56 h 97"/>
                <a:gd name="T74" fmla="*/ 202 w 203"/>
                <a:gd name="T75" fmla="*/ 44 h 97"/>
                <a:gd name="T76" fmla="*/ 201 w 203"/>
                <a:gd name="T77" fmla="*/ 39 h 97"/>
                <a:gd name="T78" fmla="*/ 140 w 203"/>
                <a:gd name="T79" fmla="*/ 65 h 97"/>
                <a:gd name="T80" fmla="*/ 141 w 203"/>
                <a:gd name="T81" fmla="*/ 59 h 97"/>
                <a:gd name="T82" fmla="*/ 148 w 203"/>
                <a:gd name="T83" fmla="*/ 58 h 97"/>
                <a:gd name="T84" fmla="*/ 156 w 203"/>
                <a:gd name="T85" fmla="*/ 58 h 97"/>
                <a:gd name="T86" fmla="*/ 165 w 203"/>
                <a:gd name="T87" fmla="*/ 59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03" h="97">
                  <a:moveTo>
                    <a:pt x="201" y="39"/>
                  </a:moveTo>
                  <a:cubicBezTo>
                    <a:pt x="201" y="38"/>
                    <a:pt x="197" y="39"/>
                    <a:pt x="197" y="39"/>
                  </a:cubicBezTo>
                  <a:cubicBezTo>
                    <a:pt x="195" y="39"/>
                    <a:pt x="194" y="38"/>
                    <a:pt x="194" y="37"/>
                  </a:cubicBezTo>
                  <a:cubicBezTo>
                    <a:pt x="193" y="35"/>
                    <a:pt x="191" y="35"/>
                    <a:pt x="191" y="34"/>
                  </a:cubicBezTo>
                  <a:cubicBezTo>
                    <a:pt x="190" y="33"/>
                    <a:pt x="189" y="30"/>
                    <a:pt x="186" y="30"/>
                  </a:cubicBezTo>
                  <a:cubicBezTo>
                    <a:pt x="183" y="30"/>
                    <a:pt x="180" y="33"/>
                    <a:pt x="177" y="31"/>
                  </a:cubicBezTo>
                  <a:cubicBezTo>
                    <a:pt x="176" y="30"/>
                    <a:pt x="175" y="29"/>
                    <a:pt x="174" y="28"/>
                  </a:cubicBezTo>
                  <a:cubicBezTo>
                    <a:pt x="173" y="28"/>
                    <a:pt x="171" y="31"/>
                    <a:pt x="170" y="31"/>
                  </a:cubicBezTo>
                  <a:cubicBezTo>
                    <a:pt x="169" y="32"/>
                    <a:pt x="163" y="21"/>
                    <a:pt x="163" y="19"/>
                  </a:cubicBezTo>
                  <a:cubicBezTo>
                    <a:pt x="161" y="17"/>
                    <a:pt x="160" y="14"/>
                    <a:pt x="157" y="13"/>
                  </a:cubicBezTo>
                  <a:cubicBezTo>
                    <a:pt x="156" y="12"/>
                    <a:pt x="155" y="11"/>
                    <a:pt x="154" y="11"/>
                  </a:cubicBezTo>
                  <a:cubicBezTo>
                    <a:pt x="152" y="10"/>
                    <a:pt x="154" y="8"/>
                    <a:pt x="154" y="7"/>
                  </a:cubicBezTo>
                  <a:cubicBezTo>
                    <a:pt x="154" y="6"/>
                    <a:pt x="147" y="10"/>
                    <a:pt x="146" y="11"/>
                  </a:cubicBezTo>
                  <a:cubicBezTo>
                    <a:pt x="145" y="11"/>
                    <a:pt x="137" y="14"/>
                    <a:pt x="137" y="13"/>
                  </a:cubicBezTo>
                  <a:cubicBezTo>
                    <a:pt x="137" y="11"/>
                    <a:pt x="139" y="10"/>
                    <a:pt x="137" y="10"/>
                  </a:cubicBezTo>
                  <a:cubicBezTo>
                    <a:pt x="136" y="9"/>
                    <a:pt x="135" y="8"/>
                    <a:pt x="134" y="9"/>
                  </a:cubicBezTo>
                  <a:cubicBezTo>
                    <a:pt x="134" y="9"/>
                    <a:pt x="134" y="10"/>
                    <a:pt x="133" y="9"/>
                  </a:cubicBezTo>
                  <a:cubicBezTo>
                    <a:pt x="131" y="8"/>
                    <a:pt x="132" y="7"/>
                    <a:pt x="129" y="8"/>
                  </a:cubicBezTo>
                  <a:cubicBezTo>
                    <a:pt x="126" y="10"/>
                    <a:pt x="126" y="7"/>
                    <a:pt x="126" y="5"/>
                  </a:cubicBezTo>
                  <a:cubicBezTo>
                    <a:pt x="127" y="1"/>
                    <a:pt x="121" y="0"/>
                    <a:pt x="118" y="0"/>
                  </a:cubicBezTo>
                  <a:cubicBezTo>
                    <a:pt x="116" y="0"/>
                    <a:pt x="114" y="1"/>
                    <a:pt x="112" y="2"/>
                  </a:cubicBezTo>
                  <a:cubicBezTo>
                    <a:pt x="110" y="3"/>
                    <a:pt x="108" y="4"/>
                    <a:pt x="105" y="4"/>
                  </a:cubicBezTo>
                  <a:cubicBezTo>
                    <a:pt x="97" y="6"/>
                    <a:pt x="89" y="9"/>
                    <a:pt x="81" y="9"/>
                  </a:cubicBezTo>
                  <a:cubicBezTo>
                    <a:pt x="79" y="9"/>
                    <a:pt x="77" y="9"/>
                    <a:pt x="76" y="10"/>
                  </a:cubicBezTo>
                  <a:cubicBezTo>
                    <a:pt x="75" y="11"/>
                    <a:pt x="77" y="14"/>
                    <a:pt x="79" y="14"/>
                  </a:cubicBezTo>
                  <a:cubicBezTo>
                    <a:pt x="83" y="17"/>
                    <a:pt x="76" y="16"/>
                    <a:pt x="74" y="17"/>
                  </a:cubicBezTo>
                  <a:cubicBezTo>
                    <a:pt x="72" y="18"/>
                    <a:pt x="75" y="19"/>
                    <a:pt x="75" y="20"/>
                  </a:cubicBezTo>
                  <a:cubicBezTo>
                    <a:pt x="75" y="22"/>
                    <a:pt x="71" y="22"/>
                    <a:pt x="71" y="23"/>
                  </a:cubicBezTo>
                  <a:cubicBezTo>
                    <a:pt x="71" y="26"/>
                    <a:pt x="79" y="25"/>
                    <a:pt x="78" y="29"/>
                  </a:cubicBezTo>
                  <a:cubicBezTo>
                    <a:pt x="77" y="30"/>
                    <a:pt x="76" y="31"/>
                    <a:pt x="74" y="31"/>
                  </a:cubicBezTo>
                  <a:cubicBezTo>
                    <a:pt x="73" y="31"/>
                    <a:pt x="70" y="31"/>
                    <a:pt x="69" y="31"/>
                  </a:cubicBezTo>
                  <a:cubicBezTo>
                    <a:pt x="67" y="32"/>
                    <a:pt x="68" y="33"/>
                    <a:pt x="66" y="32"/>
                  </a:cubicBezTo>
                  <a:cubicBezTo>
                    <a:pt x="64" y="31"/>
                    <a:pt x="62" y="29"/>
                    <a:pt x="60" y="29"/>
                  </a:cubicBezTo>
                  <a:cubicBezTo>
                    <a:pt x="59" y="28"/>
                    <a:pt x="57" y="30"/>
                    <a:pt x="56" y="30"/>
                  </a:cubicBezTo>
                  <a:cubicBezTo>
                    <a:pt x="54" y="29"/>
                    <a:pt x="53" y="29"/>
                    <a:pt x="51" y="30"/>
                  </a:cubicBezTo>
                  <a:cubicBezTo>
                    <a:pt x="50" y="31"/>
                    <a:pt x="49" y="33"/>
                    <a:pt x="48" y="32"/>
                  </a:cubicBezTo>
                  <a:cubicBezTo>
                    <a:pt x="47" y="32"/>
                    <a:pt x="44" y="29"/>
                    <a:pt x="43" y="30"/>
                  </a:cubicBezTo>
                  <a:cubicBezTo>
                    <a:pt x="42" y="30"/>
                    <a:pt x="42" y="33"/>
                    <a:pt x="41" y="31"/>
                  </a:cubicBezTo>
                  <a:cubicBezTo>
                    <a:pt x="40" y="29"/>
                    <a:pt x="39" y="28"/>
                    <a:pt x="37" y="27"/>
                  </a:cubicBezTo>
                  <a:cubicBezTo>
                    <a:pt x="35" y="26"/>
                    <a:pt x="33" y="26"/>
                    <a:pt x="32" y="25"/>
                  </a:cubicBezTo>
                  <a:cubicBezTo>
                    <a:pt x="29" y="24"/>
                    <a:pt x="29" y="26"/>
                    <a:pt x="27" y="26"/>
                  </a:cubicBezTo>
                  <a:cubicBezTo>
                    <a:pt x="25" y="27"/>
                    <a:pt x="24" y="24"/>
                    <a:pt x="22" y="25"/>
                  </a:cubicBezTo>
                  <a:cubicBezTo>
                    <a:pt x="21" y="26"/>
                    <a:pt x="21" y="27"/>
                    <a:pt x="20" y="27"/>
                  </a:cubicBezTo>
                  <a:cubicBezTo>
                    <a:pt x="19" y="28"/>
                    <a:pt x="17" y="28"/>
                    <a:pt x="16" y="28"/>
                  </a:cubicBezTo>
                  <a:cubicBezTo>
                    <a:pt x="15" y="29"/>
                    <a:pt x="13" y="31"/>
                    <a:pt x="13" y="32"/>
                  </a:cubicBezTo>
                  <a:cubicBezTo>
                    <a:pt x="12" y="33"/>
                    <a:pt x="14" y="36"/>
                    <a:pt x="12" y="36"/>
                  </a:cubicBezTo>
                  <a:cubicBezTo>
                    <a:pt x="10" y="37"/>
                    <a:pt x="7" y="31"/>
                    <a:pt x="6" y="34"/>
                  </a:cubicBezTo>
                  <a:cubicBezTo>
                    <a:pt x="5" y="36"/>
                    <a:pt x="4" y="36"/>
                    <a:pt x="3" y="38"/>
                  </a:cubicBezTo>
                  <a:cubicBezTo>
                    <a:pt x="2" y="40"/>
                    <a:pt x="6" y="40"/>
                    <a:pt x="4" y="42"/>
                  </a:cubicBezTo>
                  <a:cubicBezTo>
                    <a:pt x="3" y="43"/>
                    <a:pt x="0" y="45"/>
                    <a:pt x="2" y="46"/>
                  </a:cubicBezTo>
                  <a:cubicBezTo>
                    <a:pt x="3" y="46"/>
                    <a:pt x="4" y="47"/>
                    <a:pt x="4" y="47"/>
                  </a:cubicBezTo>
                  <a:cubicBezTo>
                    <a:pt x="5" y="48"/>
                    <a:pt x="4" y="49"/>
                    <a:pt x="5" y="50"/>
                  </a:cubicBezTo>
                  <a:cubicBezTo>
                    <a:pt x="7" y="51"/>
                    <a:pt x="9" y="49"/>
                    <a:pt x="11" y="51"/>
                  </a:cubicBezTo>
                  <a:cubicBezTo>
                    <a:pt x="12" y="52"/>
                    <a:pt x="14" y="55"/>
                    <a:pt x="14" y="57"/>
                  </a:cubicBezTo>
                  <a:cubicBezTo>
                    <a:pt x="13" y="57"/>
                    <a:pt x="10" y="56"/>
                    <a:pt x="13" y="58"/>
                  </a:cubicBezTo>
                  <a:cubicBezTo>
                    <a:pt x="14" y="59"/>
                    <a:pt x="14" y="60"/>
                    <a:pt x="16" y="58"/>
                  </a:cubicBezTo>
                  <a:cubicBezTo>
                    <a:pt x="16" y="57"/>
                    <a:pt x="16" y="57"/>
                    <a:pt x="17" y="57"/>
                  </a:cubicBezTo>
                  <a:cubicBezTo>
                    <a:pt x="22" y="57"/>
                    <a:pt x="24" y="54"/>
                    <a:pt x="29" y="56"/>
                  </a:cubicBezTo>
                  <a:cubicBezTo>
                    <a:pt x="31" y="57"/>
                    <a:pt x="33" y="54"/>
                    <a:pt x="34" y="56"/>
                  </a:cubicBezTo>
                  <a:cubicBezTo>
                    <a:pt x="35" y="57"/>
                    <a:pt x="37" y="61"/>
                    <a:pt x="36" y="63"/>
                  </a:cubicBezTo>
                  <a:cubicBezTo>
                    <a:pt x="35" y="63"/>
                    <a:pt x="33" y="64"/>
                    <a:pt x="35" y="64"/>
                  </a:cubicBezTo>
                  <a:cubicBezTo>
                    <a:pt x="35" y="65"/>
                    <a:pt x="35" y="65"/>
                    <a:pt x="35" y="65"/>
                  </a:cubicBezTo>
                  <a:cubicBezTo>
                    <a:pt x="34" y="66"/>
                    <a:pt x="33" y="66"/>
                    <a:pt x="33" y="66"/>
                  </a:cubicBezTo>
                  <a:cubicBezTo>
                    <a:pt x="30" y="66"/>
                    <a:pt x="22" y="64"/>
                    <a:pt x="24" y="69"/>
                  </a:cubicBezTo>
                  <a:cubicBezTo>
                    <a:pt x="25" y="71"/>
                    <a:pt x="24" y="71"/>
                    <a:pt x="22" y="70"/>
                  </a:cubicBezTo>
                  <a:cubicBezTo>
                    <a:pt x="20" y="69"/>
                    <a:pt x="21" y="71"/>
                    <a:pt x="22" y="72"/>
                  </a:cubicBezTo>
                  <a:cubicBezTo>
                    <a:pt x="24" y="72"/>
                    <a:pt x="24" y="75"/>
                    <a:pt x="25" y="76"/>
                  </a:cubicBezTo>
                  <a:cubicBezTo>
                    <a:pt x="27" y="77"/>
                    <a:pt x="24" y="79"/>
                    <a:pt x="27" y="79"/>
                  </a:cubicBezTo>
                  <a:cubicBezTo>
                    <a:pt x="28" y="79"/>
                    <a:pt x="30" y="81"/>
                    <a:pt x="31" y="82"/>
                  </a:cubicBezTo>
                  <a:cubicBezTo>
                    <a:pt x="34" y="82"/>
                    <a:pt x="31" y="85"/>
                    <a:pt x="31" y="87"/>
                  </a:cubicBezTo>
                  <a:cubicBezTo>
                    <a:pt x="34" y="85"/>
                    <a:pt x="38" y="82"/>
                    <a:pt x="42" y="85"/>
                  </a:cubicBezTo>
                  <a:cubicBezTo>
                    <a:pt x="44" y="87"/>
                    <a:pt x="45" y="90"/>
                    <a:pt x="48" y="90"/>
                  </a:cubicBezTo>
                  <a:cubicBezTo>
                    <a:pt x="50" y="90"/>
                    <a:pt x="49" y="88"/>
                    <a:pt x="49" y="87"/>
                  </a:cubicBezTo>
                  <a:cubicBezTo>
                    <a:pt x="49" y="84"/>
                    <a:pt x="49" y="81"/>
                    <a:pt x="49" y="78"/>
                  </a:cubicBezTo>
                  <a:cubicBezTo>
                    <a:pt x="49" y="76"/>
                    <a:pt x="48" y="68"/>
                    <a:pt x="50" y="68"/>
                  </a:cubicBezTo>
                  <a:cubicBezTo>
                    <a:pt x="52" y="67"/>
                    <a:pt x="55" y="66"/>
                    <a:pt x="57" y="65"/>
                  </a:cubicBezTo>
                  <a:cubicBezTo>
                    <a:pt x="59" y="65"/>
                    <a:pt x="61" y="64"/>
                    <a:pt x="62" y="64"/>
                  </a:cubicBezTo>
                  <a:cubicBezTo>
                    <a:pt x="63" y="63"/>
                    <a:pt x="62" y="61"/>
                    <a:pt x="64" y="62"/>
                  </a:cubicBezTo>
                  <a:cubicBezTo>
                    <a:pt x="65" y="62"/>
                    <a:pt x="68" y="64"/>
                    <a:pt x="68" y="62"/>
                  </a:cubicBezTo>
                  <a:cubicBezTo>
                    <a:pt x="68" y="61"/>
                    <a:pt x="70" y="60"/>
                    <a:pt x="71" y="62"/>
                  </a:cubicBezTo>
                  <a:cubicBezTo>
                    <a:pt x="72" y="63"/>
                    <a:pt x="71" y="64"/>
                    <a:pt x="72" y="66"/>
                  </a:cubicBezTo>
                  <a:cubicBezTo>
                    <a:pt x="72" y="67"/>
                    <a:pt x="73" y="69"/>
                    <a:pt x="72" y="70"/>
                  </a:cubicBezTo>
                  <a:cubicBezTo>
                    <a:pt x="73" y="71"/>
                    <a:pt x="74" y="71"/>
                    <a:pt x="75" y="72"/>
                  </a:cubicBezTo>
                  <a:cubicBezTo>
                    <a:pt x="78" y="75"/>
                    <a:pt x="80" y="77"/>
                    <a:pt x="84" y="76"/>
                  </a:cubicBezTo>
                  <a:cubicBezTo>
                    <a:pt x="86" y="76"/>
                    <a:pt x="88" y="77"/>
                    <a:pt x="90" y="77"/>
                  </a:cubicBezTo>
                  <a:cubicBezTo>
                    <a:pt x="92" y="77"/>
                    <a:pt x="93" y="75"/>
                    <a:pt x="95" y="75"/>
                  </a:cubicBezTo>
                  <a:cubicBezTo>
                    <a:pt x="97" y="76"/>
                    <a:pt x="99" y="79"/>
                    <a:pt x="100" y="81"/>
                  </a:cubicBezTo>
                  <a:cubicBezTo>
                    <a:pt x="101" y="82"/>
                    <a:pt x="100" y="83"/>
                    <a:pt x="100" y="85"/>
                  </a:cubicBezTo>
                  <a:cubicBezTo>
                    <a:pt x="100" y="87"/>
                    <a:pt x="103" y="88"/>
                    <a:pt x="103" y="90"/>
                  </a:cubicBezTo>
                  <a:cubicBezTo>
                    <a:pt x="103" y="91"/>
                    <a:pt x="106" y="91"/>
                    <a:pt x="107" y="91"/>
                  </a:cubicBezTo>
                  <a:cubicBezTo>
                    <a:pt x="109" y="91"/>
                    <a:pt x="109" y="91"/>
                    <a:pt x="110" y="93"/>
                  </a:cubicBezTo>
                  <a:cubicBezTo>
                    <a:pt x="112" y="97"/>
                    <a:pt x="114" y="92"/>
                    <a:pt x="116" y="90"/>
                  </a:cubicBezTo>
                  <a:cubicBezTo>
                    <a:pt x="117" y="87"/>
                    <a:pt x="121" y="87"/>
                    <a:pt x="123" y="85"/>
                  </a:cubicBezTo>
                  <a:cubicBezTo>
                    <a:pt x="125" y="85"/>
                    <a:pt x="125" y="85"/>
                    <a:pt x="126" y="84"/>
                  </a:cubicBezTo>
                  <a:cubicBezTo>
                    <a:pt x="127" y="81"/>
                    <a:pt x="128" y="82"/>
                    <a:pt x="130" y="82"/>
                  </a:cubicBezTo>
                  <a:cubicBezTo>
                    <a:pt x="132" y="82"/>
                    <a:pt x="136" y="85"/>
                    <a:pt x="137" y="83"/>
                  </a:cubicBezTo>
                  <a:cubicBezTo>
                    <a:pt x="137" y="81"/>
                    <a:pt x="137" y="80"/>
                    <a:pt x="139" y="79"/>
                  </a:cubicBezTo>
                  <a:cubicBezTo>
                    <a:pt x="141" y="78"/>
                    <a:pt x="143" y="80"/>
                    <a:pt x="145" y="80"/>
                  </a:cubicBezTo>
                  <a:cubicBezTo>
                    <a:pt x="147" y="81"/>
                    <a:pt x="151" y="81"/>
                    <a:pt x="153" y="81"/>
                  </a:cubicBezTo>
                  <a:cubicBezTo>
                    <a:pt x="159" y="81"/>
                    <a:pt x="164" y="83"/>
                    <a:pt x="170" y="84"/>
                  </a:cubicBezTo>
                  <a:cubicBezTo>
                    <a:pt x="169" y="82"/>
                    <a:pt x="171" y="81"/>
                    <a:pt x="173" y="79"/>
                  </a:cubicBezTo>
                  <a:cubicBezTo>
                    <a:pt x="174" y="78"/>
                    <a:pt x="173" y="78"/>
                    <a:pt x="172" y="76"/>
                  </a:cubicBezTo>
                  <a:cubicBezTo>
                    <a:pt x="171" y="75"/>
                    <a:pt x="171" y="73"/>
                    <a:pt x="171" y="71"/>
                  </a:cubicBezTo>
                  <a:cubicBezTo>
                    <a:pt x="170" y="71"/>
                    <a:pt x="170" y="67"/>
                    <a:pt x="169" y="68"/>
                  </a:cubicBezTo>
                  <a:cubicBezTo>
                    <a:pt x="170" y="67"/>
                    <a:pt x="173" y="67"/>
                    <a:pt x="175" y="66"/>
                  </a:cubicBezTo>
                  <a:cubicBezTo>
                    <a:pt x="178" y="66"/>
                    <a:pt x="180" y="68"/>
                    <a:pt x="182" y="66"/>
                  </a:cubicBezTo>
                  <a:cubicBezTo>
                    <a:pt x="183" y="66"/>
                    <a:pt x="181" y="65"/>
                    <a:pt x="181" y="64"/>
                  </a:cubicBezTo>
                  <a:cubicBezTo>
                    <a:pt x="180" y="63"/>
                    <a:pt x="181" y="61"/>
                    <a:pt x="182" y="60"/>
                  </a:cubicBezTo>
                  <a:cubicBezTo>
                    <a:pt x="183" y="59"/>
                    <a:pt x="184" y="53"/>
                    <a:pt x="185" y="54"/>
                  </a:cubicBezTo>
                  <a:cubicBezTo>
                    <a:pt x="187" y="55"/>
                    <a:pt x="188" y="56"/>
                    <a:pt x="190" y="56"/>
                  </a:cubicBezTo>
                  <a:cubicBezTo>
                    <a:pt x="191" y="55"/>
                    <a:pt x="192" y="57"/>
                    <a:pt x="193" y="56"/>
                  </a:cubicBezTo>
                  <a:cubicBezTo>
                    <a:pt x="194" y="56"/>
                    <a:pt x="196" y="55"/>
                    <a:pt x="197" y="54"/>
                  </a:cubicBezTo>
                  <a:cubicBezTo>
                    <a:pt x="198" y="53"/>
                    <a:pt x="196" y="51"/>
                    <a:pt x="196" y="49"/>
                  </a:cubicBezTo>
                  <a:cubicBezTo>
                    <a:pt x="197" y="46"/>
                    <a:pt x="200" y="47"/>
                    <a:pt x="202" y="44"/>
                  </a:cubicBezTo>
                  <a:cubicBezTo>
                    <a:pt x="202" y="43"/>
                    <a:pt x="202" y="43"/>
                    <a:pt x="203" y="42"/>
                  </a:cubicBezTo>
                  <a:cubicBezTo>
                    <a:pt x="203" y="41"/>
                    <a:pt x="202" y="40"/>
                    <a:pt x="201" y="39"/>
                  </a:cubicBezTo>
                  <a:cubicBezTo>
                    <a:pt x="201" y="38"/>
                    <a:pt x="202" y="39"/>
                    <a:pt x="201" y="39"/>
                  </a:cubicBezTo>
                  <a:close/>
                  <a:moveTo>
                    <a:pt x="148" y="58"/>
                  </a:moveTo>
                  <a:cubicBezTo>
                    <a:pt x="146" y="58"/>
                    <a:pt x="143" y="61"/>
                    <a:pt x="142" y="62"/>
                  </a:cubicBezTo>
                  <a:cubicBezTo>
                    <a:pt x="141" y="62"/>
                    <a:pt x="140" y="64"/>
                    <a:pt x="140" y="65"/>
                  </a:cubicBezTo>
                  <a:cubicBezTo>
                    <a:pt x="140" y="66"/>
                    <a:pt x="141" y="67"/>
                    <a:pt x="141" y="67"/>
                  </a:cubicBezTo>
                  <a:cubicBezTo>
                    <a:pt x="140" y="68"/>
                    <a:pt x="138" y="64"/>
                    <a:pt x="138" y="63"/>
                  </a:cubicBezTo>
                  <a:cubicBezTo>
                    <a:pt x="138" y="61"/>
                    <a:pt x="139" y="60"/>
                    <a:pt x="141" y="59"/>
                  </a:cubicBezTo>
                  <a:cubicBezTo>
                    <a:pt x="143" y="58"/>
                    <a:pt x="145" y="57"/>
                    <a:pt x="147" y="57"/>
                  </a:cubicBezTo>
                  <a:cubicBezTo>
                    <a:pt x="147" y="57"/>
                    <a:pt x="152" y="58"/>
                    <a:pt x="152" y="58"/>
                  </a:cubicBezTo>
                  <a:cubicBezTo>
                    <a:pt x="151" y="59"/>
                    <a:pt x="148" y="58"/>
                    <a:pt x="148" y="58"/>
                  </a:cubicBezTo>
                  <a:cubicBezTo>
                    <a:pt x="146" y="58"/>
                    <a:pt x="149" y="58"/>
                    <a:pt x="148" y="58"/>
                  </a:cubicBezTo>
                  <a:close/>
                  <a:moveTo>
                    <a:pt x="165" y="59"/>
                  </a:moveTo>
                  <a:cubicBezTo>
                    <a:pt x="164" y="61"/>
                    <a:pt x="157" y="60"/>
                    <a:pt x="156" y="58"/>
                  </a:cubicBezTo>
                  <a:cubicBezTo>
                    <a:pt x="156" y="58"/>
                    <a:pt x="160" y="58"/>
                    <a:pt x="160" y="58"/>
                  </a:cubicBezTo>
                  <a:cubicBezTo>
                    <a:pt x="162" y="58"/>
                    <a:pt x="163" y="58"/>
                    <a:pt x="165" y="57"/>
                  </a:cubicBezTo>
                  <a:cubicBezTo>
                    <a:pt x="165" y="57"/>
                    <a:pt x="165" y="59"/>
                    <a:pt x="165" y="59"/>
                  </a:cubicBezTo>
                  <a:cubicBezTo>
                    <a:pt x="164" y="60"/>
                    <a:pt x="165" y="58"/>
                    <a:pt x="165" y="5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01" name="Freeform 701">
              <a:extLst>
                <a:ext uri="{FF2B5EF4-FFF2-40B4-BE49-F238E27FC236}">
                  <a16:creationId xmlns:a16="http://schemas.microsoft.com/office/drawing/2014/main" id="{0E38C102-08D9-3016-00E3-6ADA7D6E68DA}"/>
                </a:ext>
              </a:extLst>
            </p:cNvPr>
            <p:cNvSpPr>
              <a:spLocks/>
            </p:cNvSpPr>
            <p:nvPr/>
          </p:nvSpPr>
          <p:spPr bwMode="auto">
            <a:xfrm>
              <a:off x="7597239" y="3278017"/>
              <a:ext cx="734972" cy="828855"/>
            </a:xfrm>
            <a:custGeom>
              <a:avLst/>
              <a:gdLst>
                <a:gd name="T0" fmla="*/ 121 w 140"/>
                <a:gd name="T1" fmla="*/ 66 h 149"/>
                <a:gd name="T2" fmla="*/ 129 w 140"/>
                <a:gd name="T3" fmla="*/ 54 h 149"/>
                <a:gd name="T4" fmla="*/ 137 w 140"/>
                <a:gd name="T5" fmla="*/ 46 h 149"/>
                <a:gd name="T6" fmla="*/ 135 w 140"/>
                <a:gd name="T7" fmla="*/ 41 h 149"/>
                <a:gd name="T8" fmla="*/ 127 w 140"/>
                <a:gd name="T9" fmla="*/ 37 h 149"/>
                <a:gd name="T10" fmla="*/ 119 w 140"/>
                <a:gd name="T11" fmla="*/ 43 h 149"/>
                <a:gd name="T12" fmla="*/ 106 w 140"/>
                <a:gd name="T13" fmla="*/ 51 h 149"/>
                <a:gd name="T14" fmla="*/ 100 w 140"/>
                <a:gd name="T15" fmla="*/ 45 h 149"/>
                <a:gd name="T16" fmla="*/ 92 w 140"/>
                <a:gd name="T17" fmla="*/ 52 h 149"/>
                <a:gd name="T18" fmla="*/ 77 w 140"/>
                <a:gd name="T19" fmla="*/ 47 h 149"/>
                <a:gd name="T20" fmla="*/ 62 w 140"/>
                <a:gd name="T21" fmla="*/ 41 h 149"/>
                <a:gd name="T22" fmla="*/ 63 w 140"/>
                <a:gd name="T23" fmla="*/ 32 h 149"/>
                <a:gd name="T24" fmla="*/ 52 w 140"/>
                <a:gd name="T25" fmla="*/ 22 h 149"/>
                <a:gd name="T26" fmla="*/ 55 w 140"/>
                <a:gd name="T27" fmla="*/ 12 h 149"/>
                <a:gd name="T28" fmla="*/ 50 w 140"/>
                <a:gd name="T29" fmla="*/ 2 h 149"/>
                <a:gd name="T30" fmla="*/ 40 w 140"/>
                <a:gd name="T31" fmla="*/ 8 h 149"/>
                <a:gd name="T32" fmla="*/ 30 w 140"/>
                <a:gd name="T33" fmla="*/ 12 h 149"/>
                <a:gd name="T34" fmla="*/ 33 w 140"/>
                <a:gd name="T35" fmla="*/ 22 h 149"/>
                <a:gd name="T36" fmla="*/ 29 w 140"/>
                <a:gd name="T37" fmla="*/ 33 h 149"/>
                <a:gd name="T38" fmla="*/ 19 w 140"/>
                <a:gd name="T39" fmla="*/ 44 h 149"/>
                <a:gd name="T40" fmla="*/ 7 w 140"/>
                <a:gd name="T41" fmla="*/ 50 h 149"/>
                <a:gd name="T42" fmla="*/ 14 w 140"/>
                <a:gd name="T43" fmla="*/ 64 h 149"/>
                <a:gd name="T44" fmla="*/ 5 w 140"/>
                <a:gd name="T45" fmla="*/ 64 h 149"/>
                <a:gd name="T46" fmla="*/ 11 w 140"/>
                <a:gd name="T47" fmla="*/ 72 h 149"/>
                <a:gd name="T48" fmla="*/ 11 w 140"/>
                <a:gd name="T49" fmla="*/ 82 h 149"/>
                <a:gd name="T50" fmla="*/ 19 w 140"/>
                <a:gd name="T51" fmla="*/ 78 h 149"/>
                <a:gd name="T52" fmla="*/ 23 w 140"/>
                <a:gd name="T53" fmla="*/ 75 h 149"/>
                <a:gd name="T54" fmla="*/ 22 w 140"/>
                <a:gd name="T55" fmla="*/ 78 h 149"/>
                <a:gd name="T56" fmla="*/ 24 w 140"/>
                <a:gd name="T57" fmla="*/ 82 h 149"/>
                <a:gd name="T58" fmla="*/ 24 w 140"/>
                <a:gd name="T59" fmla="*/ 95 h 149"/>
                <a:gd name="T60" fmla="*/ 26 w 140"/>
                <a:gd name="T61" fmla="*/ 107 h 149"/>
                <a:gd name="T62" fmla="*/ 39 w 140"/>
                <a:gd name="T63" fmla="*/ 134 h 149"/>
                <a:gd name="T64" fmla="*/ 50 w 140"/>
                <a:gd name="T65" fmla="*/ 143 h 149"/>
                <a:gd name="T66" fmla="*/ 57 w 140"/>
                <a:gd name="T67" fmla="*/ 132 h 149"/>
                <a:gd name="T68" fmla="*/ 65 w 140"/>
                <a:gd name="T69" fmla="*/ 107 h 149"/>
                <a:gd name="T70" fmla="*/ 81 w 140"/>
                <a:gd name="T71" fmla="*/ 93 h 149"/>
                <a:gd name="T72" fmla="*/ 91 w 140"/>
                <a:gd name="T73" fmla="*/ 84 h 149"/>
                <a:gd name="T74" fmla="*/ 98 w 140"/>
                <a:gd name="T75" fmla="*/ 74 h 149"/>
                <a:gd name="T76" fmla="*/ 101 w 140"/>
                <a:gd name="T77" fmla="*/ 78 h 149"/>
                <a:gd name="T78" fmla="*/ 100 w 140"/>
                <a:gd name="T79" fmla="*/ 58 h 149"/>
                <a:gd name="T80" fmla="*/ 104 w 140"/>
                <a:gd name="T81" fmla="*/ 57 h 149"/>
                <a:gd name="T82" fmla="*/ 114 w 140"/>
                <a:gd name="T83" fmla="*/ 60 h 149"/>
                <a:gd name="T84" fmla="*/ 115 w 140"/>
                <a:gd name="T85" fmla="*/ 68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0" h="149">
                  <a:moveTo>
                    <a:pt x="117" y="76"/>
                  </a:moveTo>
                  <a:cubicBezTo>
                    <a:pt x="121" y="77"/>
                    <a:pt x="119" y="73"/>
                    <a:pt x="120" y="71"/>
                  </a:cubicBezTo>
                  <a:cubicBezTo>
                    <a:pt x="120" y="69"/>
                    <a:pt x="121" y="67"/>
                    <a:pt x="121" y="66"/>
                  </a:cubicBezTo>
                  <a:cubicBezTo>
                    <a:pt x="122" y="65"/>
                    <a:pt x="124" y="67"/>
                    <a:pt x="125" y="65"/>
                  </a:cubicBezTo>
                  <a:cubicBezTo>
                    <a:pt x="126" y="63"/>
                    <a:pt x="126" y="61"/>
                    <a:pt x="126" y="59"/>
                  </a:cubicBezTo>
                  <a:cubicBezTo>
                    <a:pt x="127" y="57"/>
                    <a:pt x="129" y="56"/>
                    <a:pt x="129" y="54"/>
                  </a:cubicBezTo>
                  <a:cubicBezTo>
                    <a:pt x="129" y="52"/>
                    <a:pt x="132" y="50"/>
                    <a:pt x="133" y="49"/>
                  </a:cubicBezTo>
                  <a:cubicBezTo>
                    <a:pt x="136" y="46"/>
                    <a:pt x="135" y="49"/>
                    <a:pt x="137" y="50"/>
                  </a:cubicBezTo>
                  <a:cubicBezTo>
                    <a:pt x="137" y="50"/>
                    <a:pt x="137" y="46"/>
                    <a:pt x="137" y="46"/>
                  </a:cubicBezTo>
                  <a:cubicBezTo>
                    <a:pt x="137" y="45"/>
                    <a:pt x="140" y="45"/>
                    <a:pt x="138" y="43"/>
                  </a:cubicBezTo>
                  <a:cubicBezTo>
                    <a:pt x="137" y="43"/>
                    <a:pt x="135" y="43"/>
                    <a:pt x="134" y="43"/>
                  </a:cubicBezTo>
                  <a:cubicBezTo>
                    <a:pt x="134" y="42"/>
                    <a:pt x="135" y="41"/>
                    <a:pt x="135" y="41"/>
                  </a:cubicBezTo>
                  <a:cubicBezTo>
                    <a:pt x="136" y="40"/>
                    <a:pt x="135" y="39"/>
                    <a:pt x="134" y="38"/>
                  </a:cubicBezTo>
                  <a:cubicBezTo>
                    <a:pt x="133" y="37"/>
                    <a:pt x="133" y="37"/>
                    <a:pt x="132" y="38"/>
                  </a:cubicBezTo>
                  <a:cubicBezTo>
                    <a:pt x="130" y="39"/>
                    <a:pt x="129" y="38"/>
                    <a:pt x="127" y="37"/>
                  </a:cubicBezTo>
                  <a:cubicBezTo>
                    <a:pt x="126" y="37"/>
                    <a:pt x="124" y="39"/>
                    <a:pt x="124" y="40"/>
                  </a:cubicBezTo>
                  <a:cubicBezTo>
                    <a:pt x="123" y="41"/>
                    <a:pt x="122" y="40"/>
                    <a:pt x="121" y="41"/>
                  </a:cubicBezTo>
                  <a:cubicBezTo>
                    <a:pt x="120" y="41"/>
                    <a:pt x="119" y="42"/>
                    <a:pt x="119" y="43"/>
                  </a:cubicBezTo>
                  <a:cubicBezTo>
                    <a:pt x="117" y="45"/>
                    <a:pt x="116" y="46"/>
                    <a:pt x="114" y="45"/>
                  </a:cubicBezTo>
                  <a:cubicBezTo>
                    <a:pt x="113" y="46"/>
                    <a:pt x="114" y="48"/>
                    <a:pt x="115" y="49"/>
                  </a:cubicBezTo>
                  <a:cubicBezTo>
                    <a:pt x="117" y="53"/>
                    <a:pt x="108" y="50"/>
                    <a:pt x="106" y="51"/>
                  </a:cubicBezTo>
                  <a:cubicBezTo>
                    <a:pt x="105" y="52"/>
                    <a:pt x="102" y="51"/>
                    <a:pt x="101" y="50"/>
                  </a:cubicBezTo>
                  <a:cubicBezTo>
                    <a:pt x="100" y="49"/>
                    <a:pt x="101" y="47"/>
                    <a:pt x="101" y="47"/>
                  </a:cubicBezTo>
                  <a:cubicBezTo>
                    <a:pt x="101" y="47"/>
                    <a:pt x="101" y="44"/>
                    <a:pt x="100" y="45"/>
                  </a:cubicBezTo>
                  <a:cubicBezTo>
                    <a:pt x="98" y="45"/>
                    <a:pt x="96" y="45"/>
                    <a:pt x="96" y="48"/>
                  </a:cubicBezTo>
                  <a:cubicBezTo>
                    <a:pt x="97" y="49"/>
                    <a:pt x="98" y="52"/>
                    <a:pt x="97" y="52"/>
                  </a:cubicBezTo>
                  <a:cubicBezTo>
                    <a:pt x="95" y="52"/>
                    <a:pt x="94" y="54"/>
                    <a:pt x="92" y="52"/>
                  </a:cubicBezTo>
                  <a:cubicBezTo>
                    <a:pt x="91" y="50"/>
                    <a:pt x="90" y="53"/>
                    <a:pt x="89" y="52"/>
                  </a:cubicBezTo>
                  <a:cubicBezTo>
                    <a:pt x="86" y="51"/>
                    <a:pt x="85" y="51"/>
                    <a:pt x="82" y="50"/>
                  </a:cubicBezTo>
                  <a:cubicBezTo>
                    <a:pt x="80" y="49"/>
                    <a:pt x="79" y="47"/>
                    <a:pt x="77" y="47"/>
                  </a:cubicBezTo>
                  <a:cubicBezTo>
                    <a:pt x="74" y="48"/>
                    <a:pt x="74" y="47"/>
                    <a:pt x="72" y="46"/>
                  </a:cubicBezTo>
                  <a:cubicBezTo>
                    <a:pt x="70" y="45"/>
                    <a:pt x="68" y="46"/>
                    <a:pt x="67" y="45"/>
                  </a:cubicBezTo>
                  <a:cubicBezTo>
                    <a:pt x="65" y="43"/>
                    <a:pt x="63" y="42"/>
                    <a:pt x="62" y="41"/>
                  </a:cubicBezTo>
                  <a:cubicBezTo>
                    <a:pt x="60" y="40"/>
                    <a:pt x="59" y="40"/>
                    <a:pt x="60" y="38"/>
                  </a:cubicBezTo>
                  <a:cubicBezTo>
                    <a:pt x="61" y="37"/>
                    <a:pt x="60" y="35"/>
                    <a:pt x="62" y="34"/>
                  </a:cubicBezTo>
                  <a:cubicBezTo>
                    <a:pt x="64" y="33"/>
                    <a:pt x="65" y="34"/>
                    <a:pt x="63" y="32"/>
                  </a:cubicBezTo>
                  <a:cubicBezTo>
                    <a:pt x="61" y="31"/>
                    <a:pt x="59" y="29"/>
                    <a:pt x="57" y="28"/>
                  </a:cubicBezTo>
                  <a:cubicBezTo>
                    <a:pt x="56" y="28"/>
                    <a:pt x="55" y="26"/>
                    <a:pt x="53" y="26"/>
                  </a:cubicBezTo>
                  <a:cubicBezTo>
                    <a:pt x="53" y="26"/>
                    <a:pt x="53" y="23"/>
                    <a:pt x="52" y="22"/>
                  </a:cubicBezTo>
                  <a:cubicBezTo>
                    <a:pt x="47" y="17"/>
                    <a:pt x="57" y="23"/>
                    <a:pt x="57" y="19"/>
                  </a:cubicBezTo>
                  <a:cubicBezTo>
                    <a:pt x="57" y="17"/>
                    <a:pt x="56" y="17"/>
                    <a:pt x="54" y="15"/>
                  </a:cubicBezTo>
                  <a:cubicBezTo>
                    <a:pt x="53" y="14"/>
                    <a:pt x="53" y="13"/>
                    <a:pt x="55" y="12"/>
                  </a:cubicBezTo>
                  <a:cubicBezTo>
                    <a:pt x="57" y="12"/>
                    <a:pt x="56" y="9"/>
                    <a:pt x="58" y="8"/>
                  </a:cubicBezTo>
                  <a:cubicBezTo>
                    <a:pt x="59" y="7"/>
                    <a:pt x="61" y="6"/>
                    <a:pt x="60" y="4"/>
                  </a:cubicBezTo>
                  <a:cubicBezTo>
                    <a:pt x="58" y="1"/>
                    <a:pt x="53" y="0"/>
                    <a:pt x="50" y="2"/>
                  </a:cubicBezTo>
                  <a:cubicBezTo>
                    <a:pt x="49" y="3"/>
                    <a:pt x="49" y="3"/>
                    <a:pt x="47" y="4"/>
                  </a:cubicBezTo>
                  <a:cubicBezTo>
                    <a:pt x="46" y="4"/>
                    <a:pt x="46" y="6"/>
                    <a:pt x="45" y="7"/>
                  </a:cubicBezTo>
                  <a:cubicBezTo>
                    <a:pt x="43" y="8"/>
                    <a:pt x="41" y="7"/>
                    <a:pt x="40" y="8"/>
                  </a:cubicBezTo>
                  <a:cubicBezTo>
                    <a:pt x="39" y="9"/>
                    <a:pt x="37" y="9"/>
                    <a:pt x="35" y="8"/>
                  </a:cubicBezTo>
                  <a:cubicBezTo>
                    <a:pt x="33" y="8"/>
                    <a:pt x="32" y="7"/>
                    <a:pt x="30" y="8"/>
                  </a:cubicBezTo>
                  <a:cubicBezTo>
                    <a:pt x="28" y="8"/>
                    <a:pt x="29" y="11"/>
                    <a:pt x="30" y="12"/>
                  </a:cubicBezTo>
                  <a:cubicBezTo>
                    <a:pt x="30" y="14"/>
                    <a:pt x="30" y="16"/>
                    <a:pt x="30" y="17"/>
                  </a:cubicBezTo>
                  <a:cubicBezTo>
                    <a:pt x="31" y="19"/>
                    <a:pt x="33" y="19"/>
                    <a:pt x="35" y="20"/>
                  </a:cubicBezTo>
                  <a:cubicBezTo>
                    <a:pt x="36" y="22"/>
                    <a:pt x="34" y="22"/>
                    <a:pt x="33" y="22"/>
                  </a:cubicBezTo>
                  <a:cubicBezTo>
                    <a:pt x="32" y="24"/>
                    <a:pt x="33" y="26"/>
                    <a:pt x="33" y="28"/>
                  </a:cubicBezTo>
                  <a:cubicBezTo>
                    <a:pt x="33" y="29"/>
                    <a:pt x="31" y="29"/>
                    <a:pt x="31" y="29"/>
                  </a:cubicBezTo>
                  <a:cubicBezTo>
                    <a:pt x="29" y="30"/>
                    <a:pt x="31" y="33"/>
                    <a:pt x="29" y="33"/>
                  </a:cubicBezTo>
                  <a:cubicBezTo>
                    <a:pt x="27" y="34"/>
                    <a:pt x="26" y="35"/>
                    <a:pt x="26" y="36"/>
                  </a:cubicBezTo>
                  <a:cubicBezTo>
                    <a:pt x="25" y="38"/>
                    <a:pt x="24" y="38"/>
                    <a:pt x="22" y="39"/>
                  </a:cubicBezTo>
                  <a:cubicBezTo>
                    <a:pt x="20" y="40"/>
                    <a:pt x="20" y="43"/>
                    <a:pt x="19" y="44"/>
                  </a:cubicBezTo>
                  <a:cubicBezTo>
                    <a:pt x="18" y="46"/>
                    <a:pt x="16" y="45"/>
                    <a:pt x="15" y="47"/>
                  </a:cubicBezTo>
                  <a:cubicBezTo>
                    <a:pt x="13" y="48"/>
                    <a:pt x="12" y="44"/>
                    <a:pt x="11" y="46"/>
                  </a:cubicBezTo>
                  <a:cubicBezTo>
                    <a:pt x="10" y="47"/>
                    <a:pt x="6" y="49"/>
                    <a:pt x="7" y="50"/>
                  </a:cubicBezTo>
                  <a:cubicBezTo>
                    <a:pt x="7" y="52"/>
                    <a:pt x="10" y="52"/>
                    <a:pt x="10" y="54"/>
                  </a:cubicBezTo>
                  <a:cubicBezTo>
                    <a:pt x="9" y="57"/>
                    <a:pt x="11" y="57"/>
                    <a:pt x="13" y="58"/>
                  </a:cubicBezTo>
                  <a:cubicBezTo>
                    <a:pt x="13" y="60"/>
                    <a:pt x="14" y="62"/>
                    <a:pt x="14" y="64"/>
                  </a:cubicBezTo>
                  <a:cubicBezTo>
                    <a:pt x="14" y="64"/>
                    <a:pt x="11" y="64"/>
                    <a:pt x="10" y="64"/>
                  </a:cubicBezTo>
                  <a:cubicBezTo>
                    <a:pt x="9" y="64"/>
                    <a:pt x="8" y="65"/>
                    <a:pt x="7" y="65"/>
                  </a:cubicBezTo>
                  <a:cubicBezTo>
                    <a:pt x="7" y="65"/>
                    <a:pt x="6" y="64"/>
                    <a:pt x="5" y="64"/>
                  </a:cubicBezTo>
                  <a:cubicBezTo>
                    <a:pt x="4" y="64"/>
                    <a:pt x="0" y="66"/>
                    <a:pt x="0" y="67"/>
                  </a:cubicBezTo>
                  <a:cubicBezTo>
                    <a:pt x="2" y="69"/>
                    <a:pt x="3" y="70"/>
                    <a:pt x="5" y="72"/>
                  </a:cubicBezTo>
                  <a:cubicBezTo>
                    <a:pt x="5" y="72"/>
                    <a:pt x="11" y="72"/>
                    <a:pt x="11" y="72"/>
                  </a:cubicBezTo>
                  <a:cubicBezTo>
                    <a:pt x="11" y="73"/>
                    <a:pt x="9" y="74"/>
                    <a:pt x="8" y="74"/>
                  </a:cubicBezTo>
                  <a:cubicBezTo>
                    <a:pt x="7" y="75"/>
                    <a:pt x="4" y="73"/>
                    <a:pt x="4" y="75"/>
                  </a:cubicBezTo>
                  <a:cubicBezTo>
                    <a:pt x="4" y="77"/>
                    <a:pt x="9" y="80"/>
                    <a:pt x="11" y="82"/>
                  </a:cubicBezTo>
                  <a:cubicBezTo>
                    <a:pt x="12" y="83"/>
                    <a:pt x="13" y="83"/>
                    <a:pt x="15" y="83"/>
                  </a:cubicBezTo>
                  <a:cubicBezTo>
                    <a:pt x="17" y="82"/>
                    <a:pt x="20" y="81"/>
                    <a:pt x="21" y="79"/>
                  </a:cubicBezTo>
                  <a:cubicBezTo>
                    <a:pt x="21" y="79"/>
                    <a:pt x="20" y="78"/>
                    <a:pt x="19" y="78"/>
                  </a:cubicBezTo>
                  <a:cubicBezTo>
                    <a:pt x="19" y="77"/>
                    <a:pt x="20" y="77"/>
                    <a:pt x="20" y="77"/>
                  </a:cubicBezTo>
                  <a:cubicBezTo>
                    <a:pt x="21" y="76"/>
                    <a:pt x="20" y="75"/>
                    <a:pt x="21" y="75"/>
                  </a:cubicBezTo>
                  <a:cubicBezTo>
                    <a:pt x="21" y="75"/>
                    <a:pt x="23" y="75"/>
                    <a:pt x="23" y="75"/>
                  </a:cubicBezTo>
                  <a:cubicBezTo>
                    <a:pt x="23" y="76"/>
                    <a:pt x="21" y="76"/>
                    <a:pt x="22" y="77"/>
                  </a:cubicBezTo>
                  <a:cubicBezTo>
                    <a:pt x="22" y="77"/>
                    <a:pt x="23" y="77"/>
                    <a:pt x="23" y="77"/>
                  </a:cubicBezTo>
                  <a:cubicBezTo>
                    <a:pt x="23" y="78"/>
                    <a:pt x="22" y="78"/>
                    <a:pt x="22" y="78"/>
                  </a:cubicBezTo>
                  <a:cubicBezTo>
                    <a:pt x="21" y="78"/>
                    <a:pt x="23" y="78"/>
                    <a:pt x="23" y="78"/>
                  </a:cubicBezTo>
                  <a:cubicBezTo>
                    <a:pt x="23" y="79"/>
                    <a:pt x="22" y="79"/>
                    <a:pt x="22" y="80"/>
                  </a:cubicBezTo>
                  <a:cubicBezTo>
                    <a:pt x="21" y="80"/>
                    <a:pt x="23" y="81"/>
                    <a:pt x="24" y="82"/>
                  </a:cubicBezTo>
                  <a:cubicBezTo>
                    <a:pt x="25" y="83"/>
                    <a:pt x="23" y="85"/>
                    <a:pt x="22" y="87"/>
                  </a:cubicBezTo>
                  <a:cubicBezTo>
                    <a:pt x="22" y="88"/>
                    <a:pt x="23" y="89"/>
                    <a:pt x="24" y="90"/>
                  </a:cubicBezTo>
                  <a:cubicBezTo>
                    <a:pt x="24" y="92"/>
                    <a:pt x="24" y="93"/>
                    <a:pt x="24" y="95"/>
                  </a:cubicBezTo>
                  <a:cubicBezTo>
                    <a:pt x="24" y="97"/>
                    <a:pt x="23" y="100"/>
                    <a:pt x="23" y="101"/>
                  </a:cubicBezTo>
                  <a:cubicBezTo>
                    <a:pt x="23" y="101"/>
                    <a:pt x="24" y="99"/>
                    <a:pt x="24" y="99"/>
                  </a:cubicBezTo>
                  <a:cubicBezTo>
                    <a:pt x="25" y="100"/>
                    <a:pt x="26" y="106"/>
                    <a:pt x="26" y="107"/>
                  </a:cubicBezTo>
                  <a:cubicBezTo>
                    <a:pt x="27" y="109"/>
                    <a:pt x="29" y="112"/>
                    <a:pt x="30" y="115"/>
                  </a:cubicBezTo>
                  <a:cubicBezTo>
                    <a:pt x="31" y="118"/>
                    <a:pt x="31" y="121"/>
                    <a:pt x="32" y="124"/>
                  </a:cubicBezTo>
                  <a:cubicBezTo>
                    <a:pt x="34" y="128"/>
                    <a:pt x="37" y="131"/>
                    <a:pt x="39" y="134"/>
                  </a:cubicBezTo>
                  <a:cubicBezTo>
                    <a:pt x="40" y="137"/>
                    <a:pt x="40" y="140"/>
                    <a:pt x="41" y="143"/>
                  </a:cubicBezTo>
                  <a:cubicBezTo>
                    <a:pt x="43" y="146"/>
                    <a:pt x="45" y="149"/>
                    <a:pt x="48" y="146"/>
                  </a:cubicBezTo>
                  <a:cubicBezTo>
                    <a:pt x="50" y="145"/>
                    <a:pt x="50" y="144"/>
                    <a:pt x="50" y="143"/>
                  </a:cubicBezTo>
                  <a:cubicBezTo>
                    <a:pt x="50" y="141"/>
                    <a:pt x="52" y="140"/>
                    <a:pt x="53" y="139"/>
                  </a:cubicBezTo>
                  <a:cubicBezTo>
                    <a:pt x="54" y="138"/>
                    <a:pt x="56" y="138"/>
                    <a:pt x="57" y="137"/>
                  </a:cubicBezTo>
                  <a:cubicBezTo>
                    <a:pt x="58" y="136"/>
                    <a:pt x="57" y="133"/>
                    <a:pt x="57" y="132"/>
                  </a:cubicBezTo>
                  <a:cubicBezTo>
                    <a:pt x="56" y="128"/>
                    <a:pt x="61" y="125"/>
                    <a:pt x="60" y="122"/>
                  </a:cubicBezTo>
                  <a:cubicBezTo>
                    <a:pt x="59" y="119"/>
                    <a:pt x="58" y="116"/>
                    <a:pt x="58" y="113"/>
                  </a:cubicBezTo>
                  <a:cubicBezTo>
                    <a:pt x="58" y="109"/>
                    <a:pt x="62" y="108"/>
                    <a:pt x="65" y="107"/>
                  </a:cubicBezTo>
                  <a:cubicBezTo>
                    <a:pt x="66" y="106"/>
                    <a:pt x="69" y="106"/>
                    <a:pt x="69" y="105"/>
                  </a:cubicBezTo>
                  <a:cubicBezTo>
                    <a:pt x="70" y="103"/>
                    <a:pt x="71" y="102"/>
                    <a:pt x="72" y="101"/>
                  </a:cubicBezTo>
                  <a:cubicBezTo>
                    <a:pt x="75" y="98"/>
                    <a:pt x="78" y="95"/>
                    <a:pt x="81" y="93"/>
                  </a:cubicBezTo>
                  <a:cubicBezTo>
                    <a:pt x="82" y="92"/>
                    <a:pt x="83" y="90"/>
                    <a:pt x="84" y="89"/>
                  </a:cubicBezTo>
                  <a:cubicBezTo>
                    <a:pt x="85" y="88"/>
                    <a:pt x="87" y="88"/>
                    <a:pt x="88" y="87"/>
                  </a:cubicBezTo>
                  <a:cubicBezTo>
                    <a:pt x="89" y="86"/>
                    <a:pt x="90" y="85"/>
                    <a:pt x="91" y="84"/>
                  </a:cubicBezTo>
                  <a:cubicBezTo>
                    <a:pt x="92" y="83"/>
                    <a:pt x="90" y="82"/>
                    <a:pt x="90" y="81"/>
                  </a:cubicBezTo>
                  <a:cubicBezTo>
                    <a:pt x="91" y="79"/>
                    <a:pt x="94" y="79"/>
                    <a:pt x="95" y="78"/>
                  </a:cubicBezTo>
                  <a:cubicBezTo>
                    <a:pt x="96" y="78"/>
                    <a:pt x="98" y="75"/>
                    <a:pt x="98" y="74"/>
                  </a:cubicBezTo>
                  <a:cubicBezTo>
                    <a:pt x="98" y="76"/>
                    <a:pt x="96" y="76"/>
                    <a:pt x="97" y="78"/>
                  </a:cubicBezTo>
                  <a:cubicBezTo>
                    <a:pt x="99" y="79"/>
                    <a:pt x="100" y="76"/>
                    <a:pt x="100" y="76"/>
                  </a:cubicBezTo>
                  <a:cubicBezTo>
                    <a:pt x="101" y="77"/>
                    <a:pt x="100" y="78"/>
                    <a:pt x="101" y="78"/>
                  </a:cubicBezTo>
                  <a:cubicBezTo>
                    <a:pt x="102" y="75"/>
                    <a:pt x="101" y="72"/>
                    <a:pt x="99" y="69"/>
                  </a:cubicBezTo>
                  <a:cubicBezTo>
                    <a:pt x="98" y="67"/>
                    <a:pt x="96" y="65"/>
                    <a:pt x="97" y="62"/>
                  </a:cubicBezTo>
                  <a:cubicBezTo>
                    <a:pt x="98" y="59"/>
                    <a:pt x="103" y="61"/>
                    <a:pt x="100" y="58"/>
                  </a:cubicBezTo>
                  <a:cubicBezTo>
                    <a:pt x="99" y="57"/>
                    <a:pt x="97" y="56"/>
                    <a:pt x="98" y="54"/>
                  </a:cubicBezTo>
                  <a:cubicBezTo>
                    <a:pt x="99" y="53"/>
                    <a:pt x="100" y="54"/>
                    <a:pt x="102" y="55"/>
                  </a:cubicBezTo>
                  <a:cubicBezTo>
                    <a:pt x="103" y="56"/>
                    <a:pt x="104" y="55"/>
                    <a:pt x="104" y="57"/>
                  </a:cubicBezTo>
                  <a:cubicBezTo>
                    <a:pt x="104" y="58"/>
                    <a:pt x="104" y="59"/>
                    <a:pt x="106" y="60"/>
                  </a:cubicBezTo>
                  <a:cubicBezTo>
                    <a:pt x="107" y="60"/>
                    <a:pt x="109" y="60"/>
                    <a:pt x="110" y="60"/>
                  </a:cubicBezTo>
                  <a:cubicBezTo>
                    <a:pt x="111" y="60"/>
                    <a:pt x="113" y="61"/>
                    <a:pt x="114" y="60"/>
                  </a:cubicBezTo>
                  <a:cubicBezTo>
                    <a:pt x="119" y="59"/>
                    <a:pt x="115" y="65"/>
                    <a:pt x="113" y="66"/>
                  </a:cubicBezTo>
                  <a:cubicBezTo>
                    <a:pt x="110" y="66"/>
                    <a:pt x="112" y="70"/>
                    <a:pt x="112" y="71"/>
                  </a:cubicBezTo>
                  <a:cubicBezTo>
                    <a:pt x="113" y="71"/>
                    <a:pt x="115" y="67"/>
                    <a:pt x="115" y="68"/>
                  </a:cubicBezTo>
                  <a:cubicBezTo>
                    <a:pt x="115" y="71"/>
                    <a:pt x="117" y="74"/>
                    <a:pt x="117" y="7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02" name="Freeform 702">
              <a:extLst>
                <a:ext uri="{FF2B5EF4-FFF2-40B4-BE49-F238E27FC236}">
                  <a16:creationId xmlns:a16="http://schemas.microsoft.com/office/drawing/2014/main" id="{8D6873C5-EA71-7045-64B0-E4E44CF54CB8}"/>
                </a:ext>
              </a:extLst>
            </p:cNvPr>
            <p:cNvSpPr>
              <a:spLocks/>
            </p:cNvSpPr>
            <p:nvPr/>
          </p:nvSpPr>
          <p:spPr bwMode="auto">
            <a:xfrm>
              <a:off x="8201668" y="3506994"/>
              <a:ext cx="214590" cy="545001"/>
            </a:xfrm>
            <a:custGeom>
              <a:avLst/>
              <a:gdLst>
                <a:gd name="T0" fmla="*/ 37 w 41"/>
                <a:gd name="T1" fmla="*/ 37 h 98"/>
                <a:gd name="T2" fmla="*/ 34 w 41"/>
                <a:gd name="T3" fmla="*/ 35 h 98"/>
                <a:gd name="T4" fmla="*/ 31 w 41"/>
                <a:gd name="T5" fmla="*/ 29 h 98"/>
                <a:gd name="T6" fmla="*/ 32 w 41"/>
                <a:gd name="T7" fmla="*/ 25 h 98"/>
                <a:gd name="T8" fmla="*/ 25 w 41"/>
                <a:gd name="T9" fmla="*/ 22 h 98"/>
                <a:gd name="T10" fmla="*/ 30 w 41"/>
                <a:gd name="T11" fmla="*/ 10 h 98"/>
                <a:gd name="T12" fmla="*/ 28 w 41"/>
                <a:gd name="T13" fmla="*/ 6 h 98"/>
                <a:gd name="T14" fmla="*/ 23 w 41"/>
                <a:gd name="T15" fmla="*/ 2 h 98"/>
                <a:gd name="T16" fmla="*/ 22 w 41"/>
                <a:gd name="T17" fmla="*/ 9 h 98"/>
                <a:gd name="T18" fmla="*/ 18 w 41"/>
                <a:gd name="T19" fmla="*/ 9 h 98"/>
                <a:gd name="T20" fmla="*/ 13 w 41"/>
                <a:gd name="T21" fmla="*/ 15 h 98"/>
                <a:gd name="T22" fmla="*/ 11 w 41"/>
                <a:gd name="T23" fmla="*/ 21 h 98"/>
                <a:gd name="T24" fmla="*/ 6 w 41"/>
                <a:gd name="T25" fmla="*/ 25 h 98"/>
                <a:gd name="T26" fmla="*/ 2 w 41"/>
                <a:gd name="T27" fmla="*/ 35 h 98"/>
                <a:gd name="T28" fmla="*/ 0 w 41"/>
                <a:gd name="T29" fmla="*/ 40 h 98"/>
                <a:gd name="T30" fmla="*/ 4 w 41"/>
                <a:gd name="T31" fmla="*/ 44 h 98"/>
                <a:gd name="T32" fmla="*/ 7 w 41"/>
                <a:gd name="T33" fmla="*/ 52 h 98"/>
                <a:gd name="T34" fmla="*/ 11 w 41"/>
                <a:gd name="T35" fmla="*/ 58 h 98"/>
                <a:gd name="T36" fmla="*/ 11 w 41"/>
                <a:gd name="T37" fmla="*/ 64 h 98"/>
                <a:gd name="T38" fmla="*/ 12 w 41"/>
                <a:gd name="T39" fmla="*/ 66 h 98"/>
                <a:gd name="T40" fmla="*/ 14 w 41"/>
                <a:gd name="T41" fmla="*/ 66 h 98"/>
                <a:gd name="T42" fmla="*/ 17 w 41"/>
                <a:gd name="T43" fmla="*/ 65 h 98"/>
                <a:gd name="T44" fmla="*/ 22 w 41"/>
                <a:gd name="T45" fmla="*/ 64 h 98"/>
                <a:gd name="T46" fmla="*/ 25 w 41"/>
                <a:gd name="T47" fmla="*/ 72 h 98"/>
                <a:gd name="T48" fmla="*/ 29 w 41"/>
                <a:gd name="T49" fmla="*/ 80 h 98"/>
                <a:gd name="T50" fmla="*/ 30 w 41"/>
                <a:gd name="T51" fmla="*/ 85 h 98"/>
                <a:gd name="T52" fmla="*/ 29 w 41"/>
                <a:gd name="T53" fmla="*/ 88 h 98"/>
                <a:gd name="T54" fmla="*/ 29 w 41"/>
                <a:gd name="T55" fmla="*/ 98 h 98"/>
                <a:gd name="T56" fmla="*/ 34 w 41"/>
                <a:gd name="T57" fmla="*/ 85 h 98"/>
                <a:gd name="T58" fmla="*/ 28 w 41"/>
                <a:gd name="T59" fmla="*/ 71 h 98"/>
                <a:gd name="T60" fmla="*/ 30 w 41"/>
                <a:gd name="T61" fmla="*/ 65 h 98"/>
                <a:gd name="T62" fmla="*/ 26 w 41"/>
                <a:gd name="T63" fmla="*/ 49 h 98"/>
                <a:gd name="T64" fmla="*/ 34 w 41"/>
                <a:gd name="T65" fmla="*/ 44 h 98"/>
                <a:gd name="T66" fmla="*/ 41 w 41"/>
                <a:gd name="T67" fmla="*/ 3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1" h="98">
                  <a:moveTo>
                    <a:pt x="39" y="38"/>
                  </a:moveTo>
                  <a:cubicBezTo>
                    <a:pt x="38" y="38"/>
                    <a:pt x="37" y="39"/>
                    <a:pt x="37" y="37"/>
                  </a:cubicBezTo>
                  <a:cubicBezTo>
                    <a:pt x="37" y="37"/>
                    <a:pt x="37" y="36"/>
                    <a:pt x="37" y="36"/>
                  </a:cubicBezTo>
                  <a:cubicBezTo>
                    <a:pt x="37" y="35"/>
                    <a:pt x="34" y="35"/>
                    <a:pt x="34" y="35"/>
                  </a:cubicBezTo>
                  <a:cubicBezTo>
                    <a:pt x="33" y="34"/>
                    <a:pt x="34" y="32"/>
                    <a:pt x="34" y="31"/>
                  </a:cubicBezTo>
                  <a:cubicBezTo>
                    <a:pt x="35" y="29"/>
                    <a:pt x="32" y="30"/>
                    <a:pt x="31" y="29"/>
                  </a:cubicBezTo>
                  <a:cubicBezTo>
                    <a:pt x="31" y="28"/>
                    <a:pt x="30" y="28"/>
                    <a:pt x="30" y="27"/>
                  </a:cubicBezTo>
                  <a:cubicBezTo>
                    <a:pt x="30" y="26"/>
                    <a:pt x="32" y="25"/>
                    <a:pt x="32" y="25"/>
                  </a:cubicBezTo>
                  <a:cubicBezTo>
                    <a:pt x="31" y="23"/>
                    <a:pt x="25" y="26"/>
                    <a:pt x="24" y="25"/>
                  </a:cubicBezTo>
                  <a:cubicBezTo>
                    <a:pt x="24" y="25"/>
                    <a:pt x="25" y="23"/>
                    <a:pt x="25" y="22"/>
                  </a:cubicBezTo>
                  <a:cubicBezTo>
                    <a:pt x="24" y="21"/>
                    <a:pt x="27" y="19"/>
                    <a:pt x="27" y="18"/>
                  </a:cubicBezTo>
                  <a:cubicBezTo>
                    <a:pt x="29" y="15"/>
                    <a:pt x="31" y="13"/>
                    <a:pt x="30" y="10"/>
                  </a:cubicBezTo>
                  <a:cubicBezTo>
                    <a:pt x="30" y="9"/>
                    <a:pt x="31" y="8"/>
                    <a:pt x="31" y="7"/>
                  </a:cubicBezTo>
                  <a:cubicBezTo>
                    <a:pt x="31" y="5"/>
                    <a:pt x="29" y="7"/>
                    <a:pt x="28" y="6"/>
                  </a:cubicBezTo>
                  <a:cubicBezTo>
                    <a:pt x="28" y="4"/>
                    <a:pt x="27" y="3"/>
                    <a:pt x="27" y="2"/>
                  </a:cubicBezTo>
                  <a:cubicBezTo>
                    <a:pt x="25" y="0"/>
                    <a:pt x="25" y="3"/>
                    <a:pt x="23" y="2"/>
                  </a:cubicBezTo>
                  <a:cubicBezTo>
                    <a:pt x="24" y="4"/>
                    <a:pt x="22" y="4"/>
                    <a:pt x="22" y="5"/>
                  </a:cubicBezTo>
                  <a:cubicBezTo>
                    <a:pt x="22" y="5"/>
                    <a:pt x="22" y="9"/>
                    <a:pt x="22" y="9"/>
                  </a:cubicBezTo>
                  <a:cubicBezTo>
                    <a:pt x="21" y="9"/>
                    <a:pt x="21" y="7"/>
                    <a:pt x="21" y="7"/>
                  </a:cubicBezTo>
                  <a:cubicBezTo>
                    <a:pt x="19" y="7"/>
                    <a:pt x="18" y="8"/>
                    <a:pt x="18" y="9"/>
                  </a:cubicBezTo>
                  <a:cubicBezTo>
                    <a:pt x="17" y="10"/>
                    <a:pt x="15" y="10"/>
                    <a:pt x="14" y="11"/>
                  </a:cubicBezTo>
                  <a:cubicBezTo>
                    <a:pt x="13" y="12"/>
                    <a:pt x="14" y="14"/>
                    <a:pt x="13" y="15"/>
                  </a:cubicBezTo>
                  <a:cubicBezTo>
                    <a:pt x="13" y="16"/>
                    <a:pt x="12" y="17"/>
                    <a:pt x="11" y="18"/>
                  </a:cubicBezTo>
                  <a:cubicBezTo>
                    <a:pt x="11" y="19"/>
                    <a:pt x="11" y="20"/>
                    <a:pt x="11" y="21"/>
                  </a:cubicBezTo>
                  <a:cubicBezTo>
                    <a:pt x="11" y="23"/>
                    <a:pt x="10" y="25"/>
                    <a:pt x="9" y="25"/>
                  </a:cubicBezTo>
                  <a:cubicBezTo>
                    <a:pt x="8" y="25"/>
                    <a:pt x="7" y="25"/>
                    <a:pt x="6" y="25"/>
                  </a:cubicBezTo>
                  <a:cubicBezTo>
                    <a:pt x="5" y="27"/>
                    <a:pt x="6" y="35"/>
                    <a:pt x="4" y="35"/>
                  </a:cubicBezTo>
                  <a:cubicBezTo>
                    <a:pt x="4" y="35"/>
                    <a:pt x="2" y="35"/>
                    <a:pt x="2" y="35"/>
                  </a:cubicBezTo>
                  <a:cubicBezTo>
                    <a:pt x="2" y="36"/>
                    <a:pt x="2" y="37"/>
                    <a:pt x="2" y="37"/>
                  </a:cubicBezTo>
                  <a:cubicBezTo>
                    <a:pt x="2" y="38"/>
                    <a:pt x="1" y="39"/>
                    <a:pt x="0" y="40"/>
                  </a:cubicBezTo>
                  <a:cubicBezTo>
                    <a:pt x="0" y="41"/>
                    <a:pt x="4" y="46"/>
                    <a:pt x="5" y="47"/>
                  </a:cubicBezTo>
                  <a:cubicBezTo>
                    <a:pt x="5" y="47"/>
                    <a:pt x="4" y="44"/>
                    <a:pt x="4" y="44"/>
                  </a:cubicBezTo>
                  <a:cubicBezTo>
                    <a:pt x="4" y="44"/>
                    <a:pt x="7" y="48"/>
                    <a:pt x="7" y="48"/>
                  </a:cubicBezTo>
                  <a:cubicBezTo>
                    <a:pt x="8" y="50"/>
                    <a:pt x="6" y="50"/>
                    <a:pt x="7" y="52"/>
                  </a:cubicBezTo>
                  <a:cubicBezTo>
                    <a:pt x="6" y="51"/>
                    <a:pt x="8" y="51"/>
                    <a:pt x="9" y="52"/>
                  </a:cubicBezTo>
                  <a:cubicBezTo>
                    <a:pt x="10" y="54"/>
                    <a:pt x="11" y="56"/>
                    <a:pt x="11" y="58"/>
                  </a:cubicBezTo>
                  <a:cubicBezTo>
                    <a:pt x="11" y="58"/>
                    <a:pt x="10" y="67"/>
                    <a:pt x="10" y="67"/>
                  </a:cubicBezTo>
                  <a:cubicBezTo>
                    <a:pt x="11" y="67"/>
                    <a:pt x="11" y="64"/>
                    <a:pt x="11" y="64"/>
                  </a:cubicBezTo>
                  <a:cubicBezTo>
                    <a:pt x="11" y="64"/>
                    <a:pt x="11" y="67"/>
                    <a:pt x="11" y="67"/>
                  </a:cubicBezTo>
                  <a:cubicBezTo>
                    <a:pt x="11" y="67"/>
                    <a:pt x="12" y="66"/>
                    <a:pt x="12" y="66"/>
                  </a:cubicBezTo>
                  <a:cubicBezTo>
                    <a:pt x="12" y="66"/>
                    <a:pt x="12" y="68"/>
                    <a:pt x="12" y="68"/>
                  </a:cubicBezTo>
                  <a:cubicBezTo>
                    <a:pt x="13" y="68"/>
                    <a:pt x="13" y="66"/>
                    <a:pt x="14" y="66"/>
                  </a:cubicBezTo>
                  <a:cubicBezTo>
                    <a:pt x="14" y="66"/>
                    <a:pt x="14" y="67"/>
                    <a:pt x="14" y="67"/>
                  </a:cubicBezTo>
                  <a:cubicBezTo>
                    <a:pt x="14" y="67"/>
                    <a:pt x="17" y="66"/>
                    <a:pt x="17" y="65"/>
                  </a:cubicBezTo>
                  <a:cubicBezTo>
                    <a:pt x="18" y="65"/>
                    <a:pt x="23" y="62"/>
                    <a:pt x="21" y="61"/>
                  </a:cubicBezTo>
                  <a:cubicBezTo>
                    <a:pt x="22" y="61"/>
                    <a:pt x="21" y="63"/>
                    <a:pt x="22" y="64"/>
                  </a:cubicBezTo>
                  <a:cubicBezTo>
                    <a:pt x="23" y="64"/>
                    <a:pt x="24" y="64"/>
                    <a:pt x="24" y="65"/>
                  </a:cubicBezTo>
                  <a:cubicBezTo>
                    <a:pt x="25" y="67"/>
                    <a:pt x="25" y="70"/>
                    <a:pt x="25" y="72"/>
                  </a:cubicBezTo>
                  <a:cubicBezTo>
                    <a:pt x="26" y="75"/>
                    <a:pt x="26" y="77"/>
                    <a:pt x="28" y="79"/>
                  </a:cubicBezTo>
                  <a:cubicBezTo>
                    <a:pt x="28" y="79"/>
                    <a:pt x="29" y="80"/>
                    <a:pt x="29" y="80"/>
                  </a:cubicBezTo>
                  <a:cubicBezTo>
                    <a:pt x="29" y="82"/>
                    <a:pt x="30" y="82"/>
                    <a:pt x="30" y="82"/>
                  </a:cubicBezTo>
                  <a:cubicBezTo>
                    <a:pt x="31" y="83"/>
                    <a:pt x="29" y="85"/>
                    <a:pt x="30" y="85"/>
                  </a:cubicBezTo>
                  <a:cubicBezTo>
                    <a:pt x="30" y="85"/>
                    <a:pt x="30" y="85"/>
                    <a:pt x="31" y="85"/>
                  </a:cubicBezTo>
                  <a:cubicBezTo>
                    <a:pt x="31" y="86"/>
                    <a:pt x="29" y="87"/>
                    <a:pt x="29" y="88"/>
                  </a:cubicBezTo>
                  <a:cubicBezTo>
                    <a:pt x="29" y="90"/>
                    <a:pt x="30" y="88"/>
                    <a:pt x="31" y="89"/>
                  </a:cubicBezTo>
                  <a:cubicBezTo>
                    <a:pt x="31" y="89"/>
                    <a:pt x="29" y="97"/>
                    <a:pt x="29" y="98"/>
                  </a:cubicBezTo>
                  <a:cubicBezTo>
                    <a:pt x="31" y="96"/>
                    <a:pt x="32" y="92"/>
                    <a:pt x="33" y="90"/>
                  </a:cubicBezTo>
                  <a:cubicBezTo>
                    <a:pt x="34" y="88"/>
                    <a:pt x="35" y="87"/>
                    <a:pt x="34" y="85"/>
                  </a:cubicBezTo>
                  <a:cubicBezTo>
                    <a:pt x="33" y="83"/>
                    <a:pt x="33" y="82"/>
                    <a:pt x="33" y="80"/>
                  </a:cubicBezTo>
                  <a:cubicBezTo>
                    <a:pt x="32" y="78"/>
                    <a:pt x="27" y="74"/>
                    <a:pt x="28" y="71"/>
                  </a:cubicBezTo>
                  <a:cubicBezTo>
                    <a:pt x="28" y="71"/>
                    <a:pt x="30" y="70"/>
                    <a:pt x="30" y="69"/>
                  </a:cubicBezTo>
                  <a:cubicBezTo>
                    <a:pt x="29" y="67"/>
                    <a:pt x="30" y="67"/>
                    <a:pt x="30" y="65"/>
                  </a:cubicBezTo>
                  <a:cubicBezTo>
                    <a:pt x="31" y="62"/>
                    <a:pt x="27" y="60"/>
                    <a:pt x="26" y="58"/>
                  </a:cubicBezTo>
                  <a:cubicBezTo>
                    <a:pt x="23" y="56"/>
                    <a:pt x="25" y="52"/>
                    <a:pt x="26" y="49"/>
                  </a:cubicBezTo>
                  <a:cubicBezTo>
                    <a:pt x="26" y="47"/>
                    <a:pt x="27" y="47"/>
                    <a:pt x="29" y="47"/>
                  </a:cubicBezTo>
                  <a:cubicBezTo>
                    <a:pt x="31" y="47"/>
                    <a:pt x="33" y="45"/>
                    <a:pt x="34" y="44"/>
                  </a:cubicBezTo>
                  <a:cubicBezTo>
                    <a:pt x="36" y="43"/>
                    <a:pt x="37" y="44"/>
                    <a:pt x="39" y="42"/>
                  </a:cubicBezTo>
                  <a:cubicBezTo>
                    <a:pt x="40" y="40"/>
                    <a:pt x="41" y="39"/>
                    <a:pt x="41" y="38"/>
                  </a:cubicBezTo>
                  <a:cubicBezTo>
                    <a:pt x="41" y="38"/>
                    <a:pt x="40" y="38"/>
                    <a:pt x="39" y="3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03" name="Freeform 703">
              <a:extLst>
                <a:ext uri="{FF2B5EF4-FFF2-40B4-BE49-F238E27FC236}">
                  <a16:creationId xmlns:a16="http://schemas.microsoft.com/office/drawing/2014/main" id="{180E6168-397F-B1B4-24B0-0205E3B4A0B1}"/>
                </a:ext>
              </a:extLst>
            </p:cNvPr>
            <p:cNvSpPr>
              <a:spLocks/>
            </p:cNvSpPr>
            <p:nvPr/>
          </p:nvSpPr>
          <p:spPr bwMode="auto">
            <a:xfrm>
              <a:off x="8101526" y="3573225"/>
              <a:ext cx="119815" cy="155174"/>
            </a:xfrm>
            <a:custGeom>
              <a:avLst/>
              <a:gdLst>
                <a:gd name="T0" fmla="*/ 21 w 23"/>
                <a:gd name="T1" fmla="*/ 26 h 28"/>
                <a:gd name="T2" fmla="*/ 20 w 23"/>
                <a:gd name="T3" fmla="*/ 17 h 28"/>
                <a:gd name="T4" fmla="*/ 18 w 23"/>
                <a:gd name="T5" fmla="*/ 16 h 28"/>
                <a:gd name="T6" fmla="*/ 16 w 23"/>
                <a:gd name="T7" fmla="*/ 18 h 28"/>
                <a:gd name="T8" fmla="*/ 17 w 23"/>
                <a:gd name="T9" fmla="*/ 13 h 28"/>
                <a:gd name="T10" fmla="*/ 18 w 23"/>
                <a:gd name="T11" fmla="*/ 7 h 28"/>
                <a:gd name="T12" fmla="*/ 14 w 23"/>
                <a:gd name="T13" fmla="*/ 7 h 28"/>
                <a:gd name="T14" fmla="*/ 10 w 23"/>
                <a:gd name="T15" fmla="*/ 7 h 28"/>
                <a:gd name="T16" fmla="*/ 8 w 23"/>
                <a:gd name="T17" fmla="*/ 4 h 28"/>
                <a:gd name="T18" fmla="*/ 6 w 23"/>
                <a:gd name="T19" fmla="*/ 2 h 28"/>
                <a:gd name="T20" fmla="*/ 2 w 23"/>
                <a:gd name="T21" fmla="*/ 1 h 28"/>
                <a:gd name="T22" fmla="*/ 4 w 23"/>
                <a:gd name="T23" fmla="*/ 5 h 28"/>
                <a:gd name="T24" fmla="*/ 1 w 23"/>
                <a:gd name="T25" fmla="*/ 9 h 28"/>
                <a:gd name="T26" fmla="*/ 3 w 23"/>
                <a:gd name="T27" fmla="*/ 16 h 28"/>
                <a:gd name="T28" fmla="*/ 5 w 23"/>
                <a:gd name="T29" fmla="*/ 25 h 28"/>
                <a:gd name="T30" fmla="*/ 6 w 23"/>
                <a:gd name="T31" fmla="*/ 22 h 28"/>
                <a:gd name="T32" fmla="*/ 7 w 23"/>
                <a:gd name="T33" fmla="*/ 24 h 28"/>
                <a:gd name="T34" fmla="*/ 7 w 23"/>
                <a:gd name="T35" fmla="*/ 23 h 28"/>
                <a:gd name="T36" fmla="*/ 8 w 23"/>
                <a:gd name="T37" fmla="*/ 21 h 28"/>
                <a:gd name="T38" fmla="*/ 13 w 23"/>
                <a:gd name="T39" fmla="*/ 22 h 28"/>
                <a:gd name="T40" fmla="*/ 11 w 23"/>
                <a:gd name="T41" fmla="*/ 16 h 28"/>
                <a:gd name="T42" fmla="*/ 13 w 23"/>
                <a:gd name="T43" fmla="*/ 19 h 28"/>
                <a:gd name="T44" fmla="*/ 17 w 23"/>
                <a:gd name="T45" fmla="*/ 20 h 28"/>
                <a:gd name="T46" fmla="*/ 18 w 23"/>
                <a:gd name="T47" fmla="*/ 22 h 28"/>
                <a:gd name="T48" fmla="*/ 19 w 23"/>
                <a:gd name="T49" fmla="*/ 28 h 28"/>
                <a:gd name="T50" fmla="*/ 21 w 23"/>
                <a:gd name="T51" fmla="*/ 26 h 28"/>
                <a:gd name="T52" fmla="*/ 21 w 23"/>
                <a:gd name="T53" fmla="*/ 2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3" h="28">
                  <a:moveTo>
                    <a:pt x="21" y="26"/>
                  </a:moveTo>
                  <a:cubicBezTo>
                    <a:pt x="22" y="24"/>
                    <a:pt x="20" y="19"/>
                    <a:pt x="20" y="17"/>
                  </a:cubicBezTo>
                  <a:cubicBezTo>
                    <a:pt x="20" y="17"/>
                    <a:pt x="19" y="13"/>
                    <a:pt x="18" y="16"/>
                  </a:cubicBezTo>
                  <a:cubicBezTo>
                    <a:pt x="18" y="16"/>
                    <a:pt x="17" y="17"/>
                    <a:pt x="16" y="18"/>
                  </a:cubicBezTo>
                  <a:cubicBezTo>
                    <a:pt x="16" y="17"/>
                    <a:pt x="14" y="13"/>
                    <a:pt x="17" y="13"/>
                  </a:cubicBezTo>
                  <a:cubicBezTo>
                    <a:pt x="19" y="12"/>
                    <a:pt x="23" y="6"/>
                    <a:pt x="18" y="7"/>
                  </a:cubicBezTo>
                  <a:cubicBezTo>
                    <a:pt x="17" y="8"/>
                    <a:pt x="15" y="7"/>
                    <a:pt x="14" y="7"/>
                  </a:cubicBezTo>
                  <a:cubicBezTo>
                    <a:pt x="13" y="7"/>
                    <a:pt x="11" y="7"/>
                    <a:pt x="10" y="7"/>
                  </a:cubicBezTo>
                  <a:cubicBezTo>
                    <a:pt x="8" y="6"/>
                    <a:pt x="8" y="5"/>
                    <a:pt x="8" y="4"/>
                  </a:cubicBezTo>
                  <a:cubicBezTo>
                    <a:pt x="8" y="2"/>
                    <a:pt x="7" y="3"/>
                    <a:pt x="6" y="2"/>
                  </a:cubicBezTo>
                  <a:cubicBezTo>
                    <a:pt x="4" y="1"/>
                    <a:pt x="3" y="0"/>
                    <a:pt x="2" y="1"/>
                  </a:cubicBezTo>
                  <a:cubicBezTo>
                    <a:pt x="1" y="3"/>
                    <a:pt x="3" y="4"/>
                    <a:pt x="4" y="5"/>
                  </a:cubicBezTo>
                  <a:cubicBezTo>
                    <a:pt x="7" y="8"/>
                    <a:pt x="2" y="6"/>
                    <a:pt x="1" y="9"/>
                  </a:cubicBezTo>
                  <a:cubicBezTo>
                    <a:pt x="0" y="12"/>
                    <a:pt x="2" y="14"/>
                    <a:pt x="3" y="16"/>
                  </a:cubicBezTo>
                  <a:cubicBezTo>
                    <a:pt x="5" y="19"/>
                    <a:pt x="6" y="22"/>
                    <a:pt x="5" y="25"/>
                  </a:cubicBezTo>
                  <a:cubicBezTo>
                    <a:pt x="6" y="26"/>
                    <a:pt x="6" y="23"/>
                    <a:pt x="6" y="22"/>
                  </a:cubicBezTo>
                  <a:cubicBezTo>
                    <a:pt x="6" y="23"/>
                    <a:pt x="6" y="24"/>
                    <a:pt x="7" y="24"/>
                  </a:cubicBezTo>
                  <a:cubicBezTo>
                    <a:pt x="7" y="24"/>
                    <a:pt x="7" y="23"/>
                    <a:pt x="7" y="23"/>
                  </a:cubicBezTo>
                  <a:cubicBezTo>
                    <a:pt x="8" y="26"/>
                    <a:pt x="8" y="23"/>
                    <a:pt x="8" y="21"/>
                  </a:cubicBezTo>
                  <a:cubicBezTo>
                    <a:pt x="8" y="22"/>
                    <a:pt x="12" y="25"/>
                    <a:pt x="13" y="22"/>
                  </a:cubicBezTo>
                  <a:cubicBezTo>
                    <a:pt x="13" y="21"/>
                    <a:pt x="12" y="16"/>
                    <a:pt x="11" y="16"/>
                  </a:cubicBezTo>
                  <a:cubicBezTo>
                    <a:pt x="12" y="16"/>
                    <a:pt x="13" y="18"/>
                    <a:pt x="13" y="19"/>
                  </a:cubicBezTo>
                  <a:cubicBezTo>
                    <a:pt x="14" y="20"/>
                    <a:pt x="17" y="18"/>
                    <a:pt x="17" y="20"/>
                  </a:cubicBezTo>
                  <a:cubicBezTo>
                    <a:pt x="17" y="21"/>
                    <a:pt x="18" y="20"/>
                    <a:pt x="18" y="22"/>
                  </a:cubicBezTo>
                  <a:cubicBezTo>
                    <a:pt x="18" y="24"/>
                    <a:pt x="18" y="26"/>
                    <a:pt x="19" y="28"/>
                  </a:cubicBezTo>
                  <a:cubicBezTo>
                    <a:pt x="20" y="27"/>
                    <a:pt x="20" y="27"/>
                    <a:pt x="21" y="26"/>
                  </a:cubicBezTo>
                  <a:cubicBezTo>
                    <a:pt x="22" y="25"/>
                    <a:pt x="20" y="27"/>
                    <a:pt x="21" y="2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04" name="Freeform 704">
              <a:extLst>
                <a:ext uri="{FF2B5EF4-FFF2-40B4-BE49-F238E27FC236}">
                  <a16:creationId xmlns:a16="http://schemas.microsoft.com/office/drawing/2014/main" id="{12DBE3CC-BC6C-F292-55EC-7772F1B88FC2}"/>
                </a:ext>
              </a:extLst>
            </p:cNvPr>
            <p:cNvSpPr>
              <a:spLocks/>
            </p:cNvSpPr>
            <p:nvPr/>
          </p:nvSpPr>
          <p:spPr bwMode="auto">
            <a:xfrm>
              <a:off x="8326846" y="3745431"/>
              <a:ext cx="219956" cy="427675"/>
            </a:xfrm>
            <a:custGeom>
              <a:avLst/>
              <a:gdLst>
                <a:gd name="T0" fmla="*/ 40 w 42"/>
                <a:gd name="T1" fmla="*/ 30 h 77"/>
                <a:gd name="T2" fmla="*/ 41 w 42"/>
                <a:gd name="T3" fmla="*/ 27 h 77"/>
                <a:gd name="T4" fmla="*/ 39 w 42"/>
                <a:gd name="T5" fmla="*/ 24 h 77"/>
                <a:gd name="T6" fmla="*/ 36 w 42"/>
                <a:gd name="T7" fmla="*/ 20 h 77"/>
                <a:gd name="T8" fmla="*/ 35 w 42"/>
                <a:gd name="T9" fmla="*/ 15 h 77"/>
                <a:gd name="T10" fmla="*/ 30 w 42"/>
                <a:gd name="T11" fmla="*/ 12 h 77"/>
                <a:gd name="T12" fmla="*/ 25 w 42"/>
                <a:gd name="T13" fmla="*/ 14 h 77"/>
                <a:gd name="T14" fmla="*/ 21 w 42"/>
                <a:gd name="T15" fmla="*/ 14 h 77"/>
                <a:gd name="T16" fmla="*/ 17 w 42"/>
                <a:gd name="T17" fmla="*/ 16 h 77"/>
                <a:gd name="T18" fmla="*/ 19 w 42"/>
                <a:gd name="T19" fmla="*/ 12 h 77"/>
                <a:gd name="T20" fmla="*/ 19 w 42"/>
                <a:gd name="T21" fmla="*/ 9 h 77"/>
                <a:gd name="T22" fmla="*/ 18 w 42"/>
                <a:gd name="T23" fmla="*/ 5 h 77"/>
                <a:gd name="T24" fmla="*/ 15 w 42"/>
                <a:gd name="T25" fmla="*/ 4 h 77"/>
                <a:gd name="T26" fmla="*/ 9 w 42"/>
                <a:gd name="T27" fmla="*/ 1 h 77"/>
                <a:gd name="T28" fmla="*/ 4 w 42"/>
                <a:gd name="T29" fmla="*/ 4 h 77"/>
                <a:gd name="T30" fmla="*/ 1 w 42"/>
                <a:gd name="T31" fmla="*/ 8 h 77"/>
                <a:gd name="T32" fmla="*/ 0 w 42"/>
                <a:gd name="T33" fmla="*/ 13 h 77"/>
                <a:gd name="T34" fmla="*/ 3 w 42"/>
                <a:gd name="T35" fmla="*/ 16 h 77"/>
                <a:gd name="T36" fmla="*/ 6 w 42"/>
                <a:gd name="T37" fmla="*/ 20 h 77"/>
                <a:gd name="T38" fmla="*/ 5 w 42"/>
                <a:gd name="T39" fmla="*/ 24 h 77"/>
                <a:gd name="T40" fmla="*/ 5 w 42"/>
                <a:gd name="T41" fmla="*/ 27 h 77"/>
                <a:gd name="T42" fmla="*/ 4 w 42"/>
                <a:gd name="T43" fmla="*/ 28 h 77"/>
                <a:gd name="T44" fmla="*/ 6 w 42"/>
                <a:gd name="T45" fmla="*/ 33 h 77"/>
                <a:gd name="T46" fmla="*/ 9 w 42"/>
                <a:gd name="T47" fmla="*/ 37 h 77"/>
                <a:gd name="T48" fmla="*/ 10 w 42"/>
                <a:gd name="T49" fmla="*/ 42 h 77"/>
                <a:gd name="T50" fmla="*/ 6 w 42"/>
                <a:gd name="T51" fmla="*/ 52 h 77"/>
                <a:gd name="T52" fmla="*/ 5 w 42"/>
                <a:gd name="T53" fmla="*/ 55 h 77"/>
                <a:gd name="T54" fmla="*/ 4 w 42"/>
                <a:gd name="T55" fmla="*/ 58 h 77"/>
                <a:gd name="T56" fmla="*/ 5 w 42"/>
                <a:gd name="T57" fmla="*/ 62 h 77"/>
                <a:gd name="T58" fmla="*/ 11 w 42"/>
                <a:gd name="T59" fmla="*/ 69 h 77"/>
                <a:gd name="T60" fmla="*/ 13 w 42"/>
                <a:gd name="T61" fmla="*/ 72 h 77"/>
                <a:gd name="T62" fmla="*/ 16 w 42"/>
                <a:gd name="T63" fmla="*/ 72 h 77"/>
                <a:gd name="T64" fmla="*/ 18 w 42"/>
                <a:gd name="T65" fmla="*/ 74 h 77"/>
                <a:gd name="T66" fmla="*/ 19 w 42"/>
                <a:gd name="T67" fmla="*/ 76 h 77"/>
                <a:gd name="T68" fmla="*/ 21 w 42"/>
                <a:gd name="T69" fmla="*/ 76 h 77"/>
                <a:gd name="T70" fmla="*/ 23 w 42"/>
                <a:gd name="T71" fmla="*/ 74 h 77"/>
                <a:gd name="T72" fmla="*/ 16 w 42"/>
                <a:gd name="T73" fmla="*/ 69 h 77"/>
                <a:gd name="T74" fmla="*/ 13 w 42"/>
                <a:gd name="T75" fmla="*/ 67 h 77"/>
                <a:gd name="T76" fmla="*/ 15 w 42"/>
                <a:gd name="T77" fmla="*/ 67 h 77"/>
                <a:gd name="T78" fmla="*/ 12 w 42"/>
                <a:gd name="T79" fmla="*/ 60 h 77"/>
                <a:gd name="T80" fmla="*/ 11 w 42"/>
                <a:gd name="T81" fmla="*/ 58 h 77"/>
                <a:gd name="T82" fmla="*/ 9 w 42"/>
                <a:gd name="T83" fmla="*/ 56 h 77"/>
                <a:gd name="T84" fmla="*/ 11 w 42"/>
                <a:gd name="T85" fmla="*/ 48 h 77"/>
                <a:gd name="T86" fmla="*/ 13 w 42"/>
                <a:gd name="T87" fmla="*/ 43 h 77"/>
                <a:gd name="T88" fmla="*/ 14 w 42"/>
                <a:gd name="T89" fmla="*/ 36 h 77"/>
                <a:gd name="T90" fmla="*/ 17 w 42"/>
                <a:gd name="T91" fmla="*/ 40 h 77"/>
                <a:gd name="T92" fmla="*/ 22 w 42"/>
                <a:gd name="T93" fmla="*/ 41 h 77"/>
                <a:gd name="T94" fmla="*/ 27 w 42"/>
                <a:gd name="T95" fmla="*/ 44 h 77"/>
                <a:gd name="T96" fmla="*/ 24 w 42"/>
                <a:gd name="T97" fmla="*/ 38 h 77"/>
                <a:gd name="T98" fmla="*/ 28 w 42"/>
                <a:gd name="T99" fmla="*/ 33 h 77"/>
                <a:gd name="T100" fmla="*/ 34 w 42"/>
                <a:gd name="T101" fmla="*/ 32 h 77"/>
                <a:gd name="T102" fmla="*/ 38 w 42"/>
                <a:gd name="T103" fmla="*/ 33 h 77"/>
                <a:gd name="T104" fmla="*/ 40 w 42"/>
                <a:gd name="T105" fmla="*/ 30 h 77"/>
                <a:gd name="T106" fmla="*/ 40 w 42"/>
                <a:gd name="T107" fmla="*/ 3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2" h="77">
                  <a:moveTo>
                    <a:pt x="40" y="30"/>
                  </a:moveTo>
                  <a:cubicBezTo>
                    <a:pt x="41" y="30"/>
                    <a:pt x="40" y="28"/>
                    <a:pt x="41" y="27"/>
                  </a:cubicBezTo>
                  <a:cubicBezTo>
                    <a:pt x="42" y="26"/>
                    <a:pt x="40" y="24"/>
                    <a:pt x="39" y="24"/>
                  </a:cubicBezTo>
                  <a:cubicBezTo>
                    <a:pt x="38" y="23"/>
                    <a:pt x="36" y="22"/>
                    <a:pt x="36" y="20"/>
                  </a:cubicBezTo>
                  <a:cubicBezTo>
                    <a:pt x="36" y="18"/>
                    <a:pt x="37" y="17"/>
                    <a:pt x="35" y="15"/>
                  </a:cubicBezTo>
                  <a:cubicBezTo>
                    <a:pt x="34" y="14"/>
                    <a:pt x="32" y="12"/>
                    <a:pt x="30" y="12"/>
                  </a:cubicBezTo>
                  <a:cubicBezTo>
                    <a:pt x="28" y="12"/>
                    <a:pt x="27" y="14"/>
                    <a:pt x="25" y="14"/>
                  </a:cubicBezTo>
                  <a:cubicBezTo>
                    <a:pt x="23" y="13"/>
                    <a:pt x="23" y="13"/>
                    <a:pt x="21" y="14"/>
                  </a:cubicBezTo>
                  <a:cubicBezTo>
                    <a:pt x="21" y="14"/>
                    <a:pt x="18" y="17"/>
                    <a:pt x="17" y="16"/>
                  </a:cubicBezTo>
                  <a:cubicBezTo>
                    <a:pt x="17" y="15"/>
                    <a:pt x="20" y="13"/>
                    <a:pt x="19" y="12"/>
                  </a:cubicBezTo>
                  <a:cubicBezTo>
                    <a:pt x="17" y="11"/>
                    <a:pt x="19" y="10"/>
                    <a:pt x="19" y="9"/>
                  </a:cubicBezTo>
                  <a:cubicBezTo>
                    <a:pt x="19" y="8"/>
                    <a:pt x="19" y="5"/>
                    <a:pt x="18" y="5"/>
                  </a:cubicBezTo>
                  <a:cubicBezTo>
                    <a:pt x="16" y="6"/>
                    <a:pt x="14" y="6"/>
                    <a:pt x="15" y="4"/>
                  </a:cubicBezTo>
                  <a:cubicBezTo>
                    <a:pt x="16" y="0"/>
                    <a:pt x="11" y="0"/>
                    <a:pt x="9" y="1"/>
                  </a:cubicBezTo>
                  <a:cubicBezTo>
                    <a:pt x="8" y="3"/>
                    <a:pt x="6" y="4"/>
                    <a:pt x="4" y="4"/>
                  </a:cubicBezTo>
                  <a:cubicBezTo>
                    <a:pt x="2" y="4"/>
                    <a:pt x="1" y="7"/>
                    <a:pt x="1" y="8"/>
                  </a:cubicBezTo>
                  <a:cubicBezTo>
                    <a:pt x="1" y="10"/>
                    <a:pt x="0" y="11"/>
                    <a:pt x="0" y="13"/>
                  </a:cubicBezTo>
                  <a:cubicBezTo>
                    <a:pt x="0" y="15"/>
                    <a:pt x="1" y="15"/>
                    <a:pt x="3" y="16"/>
                  </a:cubicBezTo>
                  <a:cubicBezTo>
                    <a:pt x="4" y="18"/>
                    <a:pt x="5" y="19"/>
                    <a:pt x="6" y="20"/>
                  </a:cubicBezTo>
                  <a:cubicBezTo>
                    <a:pt x="7" y="22"/>
                    <a:pt x="5" y="23"/>
                    <a:pt x="5" y="24"/>
                  </a:cubicBezTo>
                  <a:cubicBezTo>
                    <a:pt x="5" y="25"/>
                    <a:pt x="6" y="26"/>
                    <a:pt x="5" y="27"/>
                  </a:cubicBezTo>
                  <a:cubicBezTo>
                    <a:pt x="5" y="27"/>
                    <a:pt x="4" y="27"/>
                    <a:pt x="4" y="28"/>
                  </a:cubicBezTo>
                  <a:cubicBezTo>
                    <a:pt x="3" y="29"/>
                    <a:pt x="5" y="32"/>
                    <a:pt x="6" y="33"/>
                  </a:cubicBezTo>
                  <a:cubicBezTo>
                    <a:pt x="7" y="34"/>
                    <a:pt x="8" y="35"/>
                    <a:pt x="9" y="37"/>
                  </a:cubicBezTo>
                  <a:cubicBezTo>
                    <a:pt x="9" y="39"/>
                    <a:pt x="9" y="40"/>
                    <a:pt x="10" y="42"/>
                  </a:cubicBezTo>
                  <a:cubicBezTo>
                    <a:pt x="11" y="46"/>
                    <a:pt x="8" y="49"/>
                    <a:pt x="6" y="52"/>
                  </a:cubicBezTo>
                  <a:cubicBezTo>
                    <a:pt x="6" y="53"/>
                    <a:pt x="5" y="54"/>
                    <a:pt x="5" y="55"/>
                  </a:cubicBezTo>
                  <a:cubicBezTo>
                    <a:pt x="4" y="56"/>
                    <a:pt x="4" y="57"/>
                    <a:pt x="4" y="58"/>
                  </a:cubicBezTo>
                  <a:cubicBezTo>
                    <a:pt x="4" y="59"/>
                    <a:pt x="3" y="62"/>
                    <a:pt x="5" y="62"/>
                  </a:cubicBezTo>
                  <a:cubicBezTo>
                    <a:pt x="8" y="64"/>
                    <a:pt x="9" y="67"/>
                    <a:pt x="11" y="69"/>
                  </a:cubicBezTo>
                  <a:cubicBezTo>
                    <a:pt x="12" y="70"/>
                    <a:pt x="12" y="71"/>
                    <a:pt x="13" y="72"/>
                  </a:cubicBezTo>
                  <a:cubicBezTo>
                    <a:pt x="14" y="72"/>
                    <a:pt x="15" y="72"/>
                    <a:pt x="16" y="72"/>
                  </a:cubicBezTo>
                  <a:cubicBezTo>
                    <a:pt x="17" y="73"/>
                    <a:pt x="18" y="73"/>
                    <a:pt x="18" y="74"/>
                  </a:cubicBezTo>
                  <a:cubicBezTo>
                    <a:pt x="18" y="75"/>
                    <a:pt x="18" y="76"/>
                    <a:pt x="19" y="76"/>
                  </a:cubicBezTo>
                  <a:cubicBezTo>
                    <a:pt x="19" y="77"/>
                    <a:pt x="20" y="76"/>
                    <a:pt x="21" y="76"/>
                  </a:cubicBezTo>
                  <a:cubicBezTo>
                    <a:pt x="22" y="76"/>
                    <a:pt x="23" y="74"/>
                    <a:pt x="23" y="74"/>
                  </a:cubicBezTo>
                  <a:cubicBezTo>
                    <a:pt x="21" y="71"/>
                    <a:pt x="20" y="70"/>
                    <a:pt x="16" y="69"/>
                  </a:cubicBezTo>
                  <a:cubicBezTo>
                    <a:pt x="15" y="69"/>
                    <a:pt x="14" y="68"/>
                    <a:pt x="13" y="67"/>
                  </a:cubicBezTo>
                  <a:cubicBezTo>
                    <a:pt x="13" y="65"/>
                    <a:pt x="14" y="67"/>
                    <a:pt x="15" y="67"/>
                  </a:cubicBezTo>
                  <a:cubicBezTo>
                    <a:pt x="14" y="67"/>
                    <a:pt x="12" y="61"/>
                    <a:pt x="12" y="60"/>
                  </a:cubicBezTo>
                  <a:cubicBezTo>
                    <a:pt x="12" y="59"/>
                    <a:pt x="12" y="59"/>
                    <a:pt x="11" y="58"/>
                  </a:cubicBezTo>
                  <a:cubicBezTo>
                    <a:pt x="10" y="58"/>
                    <a:pt x="9" y="57"/>
                    <a:pt x="9" y="56"/>
                  </a:cubicBezTo>
                  <a:cubicBezTo>
                    <a:pt x="8" y="53"/>
                    <a:pt x="10" y="50"/>
                    <a:pt x="11" y="48"/>
                  </a:cubicBezTo>
                  <a:cubicBezTo>
                    <a:pt x="11" y="46"/>
                    <a:pt x="13" y="44"/>
                    <a:pt x="13" y="43"/>
                  </a:cubicBezTo>
                  <a:cubicBezTo>
                    <a:pt x="13" y="41"/>
                    <a:pt x="12" y="37"/>
                    <a:pt x="14" y="36"/>
                  </a:cubicBezTo>
                  <a:cubicBezTo>
                    <a:pt x="17" y="36"/>
                    <a:pt x="17" y="37"/>
                    <a:pt x="17" y="40"/>
                  </a:cubicBezTo>
                  <a:cubicBezTo>
                    <a:pt x="16" y="42"/>
                    <a:pt x="20" y="41"/>
                    <a:pt x="22" y="41"/>
                  </a:cubicBezTo>
                  <a:cubicBezTo>
                    <a:pt x="23" y="41"/>
                    <a:pt x="26" y="43"/>
                    <a:pt x="27" y="44"/>
                  </a:cubicBezTo>
                  <a:cubicBezTo>
                    <a:pt x="27" y="42"/>
                    <a:pt x="25" y="41"/>
                    <a:pt x="24" y="38"/>
                  </a:cubicBezTo>
                  <a:cubicBezTo>
                    <a:pt x="24" y="36"/>
                    <a:pt x="26" y="35"/>
                    <a:pt x="28" y="33"/>
                  </a:cubicBezTo>
                  <a:cubicBezTo>
                    <a:pt x="29" y="32"/>
                    <a:pt x="32" y="32"/>
                    <a:pt x="34" y="32"/>
                  </a:cubicBezTo>
                  <a:cubicBezTo>
                    <a:pt x="36" y="32"/>
                    <a:pt x="37" y="32"/>
                    <a:pt x="38" y="33"/>
                  </a:cubicBezTo>
                  <a:cubicBezTo>
                    <a:pt x="40" y="33"/>
                    <a:pt x="39" y="32"/>
                    <a:pt x="40" y="30"/>
                  </a:cubicBezTo>
                  <a:cubicBezTo>
                    <a:pt x="41" y="30"/>
                    <a:pt x="40" y="31"/>
                    <a:pt x="40" y="3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05" name="Freeform 705">
              <a:extLst>
                <a:ext uri="{FF2B5EF4-FFF2-40B4-BE49-F238E27FC236}">
                  <a16:creationId xmlns:a16="http://schemas.microsoft.com/office/drawing/2014/main" id="{307BFA58-6F14-662F-77FA-7968CBC46089}"/>
                </a:ext>
              </a:extLst>
            </p:cNvPr>
            <p:cNvSpPr>
              <a:spLocks/>
            </p:cNvSpPr>
            <p:nvPr/>
          </p:nvSpPr>
          <p:spPr bwMode="auto">
            <a:xfrm>
              <a:off x="8446659" y="3656490"/>
              <a:ext cx="200284" cy="433352"/>
            </a:xfrm>
            <a:custGeom>
              <a:avLst/>
              <a:gdLst>
                <a:gd name="T0" fmla="*/ 37 w 38"/>
                <a:gd name="T1" fmla="*/ 55 h 78"/>
                <a:gd name="T2" fmla="*/ 36 w 38"/>
                <a:gd name="T3" fmla="*/ 49 h 78"/>
                <a:gd name="T4" fmla="*/ 32 w 38"/>
                <a:gd name="T5" fmla="*/ 41 h 78"/>
                <a:gd name="T6" fmla="*/ 28 w 38"/>
                <a:gd name="T7" fmla="*/ 37 h 78"/>
                <a:gd name="T8" fmla="*/ 22 w 38"/>
                <a:gd name="T9" fmla="*/ 31 h 78"/>
                <a:gd name="T10" fmla="*/ 18 w 38"/>
                <a:gd name="T11" fmla="*/ 26 h 78"/>
                <a:gd name="T12" fmla="*/ 19 w 38"/>
                <a:gd name="T13" fmla="*/ 20 h 78"/>
                <a:gd name="T14" fmla="*/ 23 w 38"/>
                <a:gd name="T15" fmla="*/ 15 h 78"/>
                <a:gd name="T16" fmla="*/ 29 w 38"/>
                <a:gd name="T17" fmla="*/ 11 h 78"/>
                <a:gd name="T18" fmla="*/ 23 w 38"/>
                <a:gd name="T19" fmla="*/ 7 h 78"/>
                <a:gd name="T20" fmla="*/ 24 w 38"/>
                <a:gd name="T21" fmla="*/ 4 h 78"/>
                <a:gd name="T22" fmla="*/ 19 w 38"/>
                <a:gd name="T23" fmla="*/ 3 h 78"/>
                <a:gd name="T24" fmla="*/ 14 w 38"/>
                <a:gd name="T25" fmla="*/ 3 h 78"/>
                <a:gd name="T26" fmla="*/ 11 w 38"/>
                <a:gd name="T27" fmla="*/ 5 h 78"/>
                <a:gd name="T28" fmla="*/ 8 w 38"/>
                <a:gd name="T29" fmla="*/ 5 h 78"/>
                <a:gd name="T30" fmla="*/ 5 w 38"/>
                <a:gd name="T31" fmla="*/ 5 h 78"/>
                <a:gd name="T32" fmla="*/ 3 w 38"/>
                <a:gd name="T33" fmla="*/ 5 h 78"/>
                <a:gd name="T34" fmla="*/ 0 w 38"/>
                <a:gd name="T35" fmla="*/ 6 h 78"/>
                <a:gd name="T36" fmla="*/ 4 w 38"/>
                <a:gd name="T37" fmla="*/ 9 h 78"/>
                <a:gd name="T38" fmla="*/ 5 w 38"/>
                <a:gd name="T39" fmla="*/ 13 h 78"/>
                <a:gd name="T40" fmla="*/ 9 w 38"/>
                <a:gd name="T41" fmla="*/ 14 h 78"/>
                <a:gd name="T42" fmla="*/ 12 w 38"/>
                <a:gd name="T43" fmla="*/ 17 h 78"/>
                <a:gd name="T44" fmla="*/ 13 w 38"/>
                <a:gd name="T45" fmla="*/ 21 h 78"/>
                <a:gd name="T46" fmla="*/ 10 w 38"/>
                <a:gd name="T47" fmla="*/ 22 h 78"/>
                <a:gd name="T48" fmla="*/ 14 w 38"/>
                <a:gd name="T49" fmla="*/ 25 h 78"/>
                <a:gd name="T50" fmla="*/ 19 w 38"/>
                <a:gd name="T51" fmla="*/ 31 h 78"/>
                <a:gd name="T52" fmla="*/ 23 w 38"/>
                <a:gd name="T53" fmla="*/ 35 h 78"/>
                <a:gd name="T54" fmla="*/ 26 w 38"/>
                <a:gd name="T55" fmla="*/ 39 h 78"/>
                <a:gd name="T56" fmla="*/ 28 w 38"/>
                <a:gd name="T57" fmla="*/ 43 h 78"/>
                <a:gd name="T58" fmla="*/ 27 w 38"/>
                <a:gd name="T59" fmla="*/ 48 h 78"/>
                <a:gd name="T60" fmla="*/ 28 w 38"/>
                <a:gd name="T61" fmla="*/ 52 h 78"/>
                <a:gd name="T62" fmla="*/ 28 w 38"/>
                <a:gd name="T63" fmla="*/ 57 h 78"/>
                <a:gd name="T64" fmla="*/ 23 w 38"/>
                <a:gd name="T65" fmla="*/ 60 h 78"/>
                <a:gd name="T66" fmla="*/ 20 w 38"/>
                <a:gd name="T67" fmla="*/ 62 h 78"/>
                <a:gd name="T68" fmla="*/ 20 w 38"/>
                <a:gd name="T69" fmla="*/ 65 h 78"/>
                <a:gd name="T70" fmla="*/ 18 w 38"/>
                <a:gd name="T71" fmla="*/ 66 h 78"/>
                <a:gd name="T72" fmla="*/ 14 w 38"/>
                <a:gd name="T73" fmla="*/ 67 h 78"/>
                <a:gd name="T74" fmla="*/ 15 w 38"/>
                <a:gd name="T75" fmla="*/ 70 h 78"/>
                <a:gd name="T76" fmla="*/ 14 w 38"/>
                <a:gd name="T77" fmla="*/ 74 h 78"/>
                <a:gd name="T78" fmla="*/ 14 w 38"/>
                <a:gd name="T79" fmla="*/ 77 h 78"/>
                <a:gd name="T80" fmla="*/ 18 w 38"/>
                <a:gd name="T81" fmla="*/ 75 h 78"/>
                <a:gd name="T82" fmla="*/ 19 w 38"/>
                <a:gd name="T83" fmla="*/ 71 h 78"/>
                <a:gd name="T84" fmla="*/ 22 w 38"/>
                <a:gd name="T85" fmla="*/ 72 h 78"/>
                <a:gd name="T86" fmla="*/ 21 w 38"/>
                <a:gd name="T87" fmla="*/ 70 h 78"/>
                <a:gd name="T88" fmla="*/ 23 w 38"/>
                <a:gd name="T89" fmla="*/ 71 h 78"/>
                <a:gd name="T90" fmla="*/ 24 w 38"/>
                <a:gd name="T91" fmla="*/ 67 h 78"/>
                <a:gd name="T92" fmla="*/ 26 w 38"/>
                <a:gd name="T93" fmla="*/ 68 h 78"/>
                <a:gd name="T94" fmla="*/ 30 w 38"/>
                <a:gd name="T95" fmla="*/ 66 h 78"/>
                <a:gd name="T96" fmla="*/ 36 w 38"/>
                <a:gd name="T97" fmla="*/ 61 h 78"/>
                <a:gd name="T98" fmla="*/ 36 w 38"/>
                <a:gd name="T99" fmla="*/ 57 h 78"/>
                <a:gd name="T100" fmla="*/ 37 w 38"/>
                <a:gd name="T101" fmla="*/ 55 h 78"/>
                <a:gd name="T102" fmla="*/ 37 w 38"/>
                <a:gd name="T103" fmla="*/ 55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8" h="78">
                  <a:moveTo>
                    <a:pt x="37" y="55"/>
                  </a:moveTo>
                  <a:cubicBezTo>
                    <a:pt x="36" y="54"/>
                    <a:pt x="36" y="52"/>
                    <a:pt x="36" y="49"/>
                  </a:cubicBezTo>
                  <a:cubicBezTo>
                    <a:pt x="35" y="46"/>
                    <a:pt x="34" y="44"/>
                    <a:pt x="32" y="41"/>
                  </a:cubicBezTo>
                  <a:cubicBezTo>
                    <a:pt x="31" y="39"/>
                    <a:pt x="30" y="38"/>
                    <a:pt x="28" y="37"/>
                  </a:cubicBezTo>
                  <a:cubicBezTo>
                    <a:pt x="26" y="35"/>
                    <a:pt x="23" y="34"/>
                    <a:pt x="22" y="31"/>
                  </a:cubicBezTo>
                  <a:cubicBezTo>
                    <a:pt x="22" y="29"/>
                    <a:pt x="20" y="28"/>
                    <a:pt x="18" y="26"/>
                  </a:cubicBezTo>
                  <a:cubicBezTo>
                    <a:pt x="17" y="25"/>
                    <a:pt x="18" y="21"/>
                    <a:pt x="19" y="20"/>
                  </a:cubicBezTo>
                  <a:cubicBezTo>
                    <a:pt x="21" y="19"/>
                    <a:pt x="23" y="17"/>
                    <a:pt x="23" y="15"/>
                  </a:cubicBezTo>
                  <a:cubicBezTo>
                    <a:pt x="24" y="14"/>
                    <a:pt x="28" y="12"/>
                    <a:pt x="29" y="11"/>
                  </a:cubicBezTo>
                  <a:cubicBezTo>
                    <a:pt x="27" y="10"/>
                    <a:pt x="25" y="9"/>
                    <a:pt x="23" y="7"/>
                  </a:cubicBezTo>
                  <a:cubicBezTo>
                    <a:pt x="21" y="6"/>
                    <a:pt x="24" y="6"/>
                    <a:pt x="24" y="4"/>
                  </a:cubicBezTo>
                  <a:cubicBezTo>
                    <a:pt x="24" y="4"/>
                    <a:pt x="19" y="3"/>
                    <a:pt x="19" y="3"/>
                  </a:cubicBezTo>
                  <a:cubicBezTo>
                    <a:pt x="17" y="2"/>
                    <a:pt x="15" y="0"/>
                    <a:pt x="14" y="3"/>
                  </a:cubicBezTo>
                  <a:cubicBezTo>
                    <a:pt x="13" y="4"/>
                    <a:pt x="12" y="4"/>
                    <a:pt x="11" y="5"/>
                  </a:cubicBezTo>
                  <a:cubicBezTo>
                    <a:pt x="9" y="8"/>
                    <a:pt x="9" y="4"/>
                    <a:pt x="8" y="5"/>
                  </a:cubicBezTo>
                  <a:cubicBezTo>
                    <a:pt x="6" y="6"/>
                    <a:pt x="6" y="5"/>
                    <a:pt x="5" y="5"/>
                  </a:cubicBezTo>
                  <a:cubicBezTo>
                    <a:pt x="4" y="6"/>
                    <a:pt x="3" y="6"/>
                    <a:pt x="3" y="5"/>
                  </a:cubicBezTo>
                  <a:cubicBezTo>
                    <a:pt x="3" y="4"/>
                    <a:pt x="1" y="6"/>
                    <a:pt x="0" y="6"/>
                  </a:cubicBezTo>
                  <a:cubicBezTo>
                    <a:pt x="0" y="7"/>
                    <a:pt x="3" y="9"/>
                    <a:pt x="4" y="9"/>
                  </a:cubicBezTo>
                  <a:cubicBezTo>
                    <a:pt x="5" y="11"/>
                    <a:pt x="4" y="12"/>
                    <a:pt x="5" y="13"/>
                  </a:cubicBezTo>
                  <a:cubicBezTo>
                    <a:pt x="5" y="15"/>
                    <a:pt x="8" y="15"/>
                    <a:pt x="9" y="14"/>
                  </a:cubicBezTo>
                  <a:cubicBezTo>
                    <a:pt x="11" y="13"/>
                    <a:pt x="12" y="16"/>
                    <a:pt x="12" y="17"/>
                  </a:cubicBezTo>
                  <a:cubicBezTo>
                    <a:pt x="13" y="19"/>
                    <a:pt x="15" y="19"/>
                    <a:pt x="13" y="21"/>
                  </a:cubicBezTo>
                  <a:cubicBezTo>
                    <a:pt x="11" y="22"/>
                    <a:pt x="10" y="19"/>
                    <a:pt x="10" y="22"/>
                  </a:cubicBezTo>
                  <a:cubicBezTo>
                    <a:pt x="10" y="24"/>
                    <a:pt x="13" y="24"/>
                    <a:pt x="14" y="25"/>
                  </a:cubicBezTo>
                  <a:cubicBezTo>
                    <a:pt x="16" y="27"/>
                    <a:pt x="17" y="29"/>
                    <a:pt x="19" y="31"/>
                  </a:cubicBezTo>
                  <a:cubicBezTo>
                    <a:pt x="20" y="33"/>
                    <a:pt x="22" y="33"/>
                    <a:pt x="23" y="35"/>
                  </a:cubicBezTo>
                  <a:cubicBezTo>
                    <a:pt x="24" y="37"/>
                    <a:pt x="24" y="38"/>
                    <a:pt x="26" y="39"/>
                  </a:cubicBezTo>
                  <a:cubicBezTo>
                    <a:pt x="27" y="40"/>
                    <a:pt x="26" y="42"/>
                    <a:pt x="28" y="43"/>
                  </a:cubicBezTo>
                  <a:cubicBezTo>
                    <a:pt x="29" y="44"/>
                    <a:pt x="28" y="47"/>
                    <a:pt x="27" y="48"/>
                  </a:cubicBezTo>
                  <a:cubicBezTo>
                    <a:pt x="26" y="49"/>
                    <a:pt x="27" y="51"/>
                    <a:pt x="28" y="52"/>
                  </a:cubicBezTo>
                  <a:cubicBezTo>
                    <a:pt x="28" y="54"/>
                    <a:pt x="28" y="55"/>
                    <a:pt x="28" y="57"/>
                  </a:cubicBezTo>
                  <a:cubicBezTo>
                    <a:pt x="26" y="59"/>
                    <a:pt x="26" y="59"/>
                    <a:pt x="23" y="60"/>
                  </a:cubicBezTo>
                  <a:cubicBezTo>
                    <a:pt x="21" y="60"/>
                    <a:pt x="24" y="63"/>
                    <a:pt x="20" y="62"/>
                  </a:cubicBezTo>
                  <a:cubicBezTo>
                    <a:pt x="18" y="62"/>
                    <a:pt x="20" y="64"/>
                    <a:pt x="20" y="65"/>
                  </a:cubicBezTo>
                  <a:cubicBezTo>
                    <a:pt x="21" y="67"/>
                    <a:pt x="19" y="66"/>
                    <a:pt x="18" y="66"/>
                  </a:cubicBezTo>
                  <a:cubicBezTo>
                    <a:pt x="16" y="66"/>
                    <a:pt x="15" y="66"/>
                    <a:pt x="14" y="67"/>
                  </a:cubicBezTo>
                  <a:cubicBezTo>
                    <a:pt x="11" y="69"/>
                    <a:pt x="13" y="69"/>
                    <a:pt x="15" y="70"/>
                  </a:cubicBezTo>
                  <a:cubicBezTo>
                    <a:pt x="16" y="70"/>
                    <a:pt x="14" y="73"/>
                    <a:pt x="14" y="74"/>
                  </a:cubicBezTo>
                  <a:cubicBezTo>
                    <a:pt x="13" y="74"/>
                    <a:pt x="13" y="78"/>
                    <a:pt x="14" y="77"/>
                  </a:cubicBezTo>
                  <a:cubicBezTo>
                    <a:pt x="16" y="76"/>
                    <a:pt x="17" y="75"/>
                    <a:pt x="18" y="75"/>
                  </a:cubicBezTo>
                  <a:cubicBezTo>
                    <a:pt x="22" y="74"/>
                    <a:pt x="20" y="73"/>
                    <a:pt x="19" y="71"/>
                  </a:cubicBezTo>
                  <a:cubicBezTo>
                    <a:pt x="20" y="71"/>
                    <a:pt x="21" y="73"/>
                    <a:pt x="22" y="72"/>
                  </a:cubicBezTo>
                  <a:cubicBezTo>
                    <a:pt x="23" y="71"/>
                    <a:pt x="21" y="70"/>
                    <a:pt x="21" y="70"/>
                  </a:cubicBezTo>
                  <a:cubicBezTo>
                    <a:pt x="21" y="69"/>
                    <a:pt x="23" y="71"/>
                    <a:pt x="23" y="71"/>
                  </a:cubicBezTo>
                  <a:cubicBezTo>
                    <a:pt x="22" y="71"/>
                    <a:pt x="23" y="67"/>
                    <a:pt x="24" y="67"/>
                  </a:cubicBezTo>
                  <a:cubicBezTo>
                    <a:pt x="24" y="66"/>
                    <a:pt x="26" y="68"/>
                    <a:pt x="26" y="68"/>
                  </a:cubicBezTo>
                  <a:cubicBezTo>
                    <a:pt x="28" y="68"/>
                    <a:pt x="29" y="67"/>
                    <a:pt x="30" y="66"/>
                  </a:cubicBezTo>
                  <a:cubicBezTo>
                    <a:pt x="31" y="65"/>
                    <a:pt x="36" y="63"/>
                    <a:pt x="36" y="61"/>
                  </a:cubicBezTo>
                  <a:cubicBezTo>
                    <a:pt x="36" y="60"/>
                    <a:pt x="35" y="59"/>
                    <a:pt x="36" y="57"/>
                  </a:cubicBezTo>
                  <a:cubicBezTo>
                    <a:pt x="36" y="56"/>
                    <a:pt x="38" y="57"/>
                    <a:pt x="37" y="55"/>
                  </a:cubicBezTo>
                  <a:cubicBezTo>
                    <a:pt x="36" y="54"/>
                    <a:pt x="38" y="56"/>
                    <a:pt x="37" y="5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06" name="Freeform 706">
              <a:extLst>
                <a:ext uri="{FF2B5EF4-FFF2-40B4-BE49-F238E27FC236}">
                  <a16:creationId xmlns:a16="http://schemas.microsoft.com/office/drawing/2014/main" id="{A2CEBE6E-13DD-4080-67AE-875FA77C45DA}"/>
                </a:ext>
              </a:extLst>
            </p:cNvPr>
            <p:cNvSpPr>
              <a:spLocks/>
            </p:cNvSpPr>
            <p:nvPr/>
          </p:nvSpPr>
          <p:spPr bwMode="auto">
            <a:xfrm>
              <a:off x="8400164" y="3690553"/>
              <a:ext cx="193132" cy="249792"/>
            </a:xfrm>
            <a:custGeom>
              <a:avLst/>
              <a:gdLst>
                <a:gd name="T0" fmla="*/ 37 w 37"/>
                <a:gd name="T1" fmla="*/ 38 h 45"/>
                <a:gd name="T2" fmla="*/ 35 w 37"/>
                <a:gd name="T3" fmla="*/ 35 h 45"/>
                <a:gd name="T4" fmla="*/ 33 w 37"/>
                <a:gd name="T5" fmla="*/ 32 h 45"/>
                <a:gd name="T6" fmla="*/ 30 w 37"/>
                <a:gd name="T7" fmla="*/ 28 h 45"/>
                <a:gd name="T8" fmla="*/ 26 w 37"/>
                <a:gd name="T9" fmla="*/ 22 h 45"/>
                <a:gd name="T10" fmla="*/ 22 w 37"/>
                <a:gd name="T11" fmla="*/ 18 h 45"/>
                <a:gd name="T12" fmla="*/ 19 w 37"/>
                <a:gd name="T13" fmla="*/ 15 h 45"/>
                <a:gd name="T14" fmla="*/ 22 w 37"/>
                <a:gd name="T15" fmla="*/ 14 h 45"/>
                <a:gd name="T16" fmla="*/ 21 w 37"/>
                <a:gd name="T17" fmla="*/ 10 h 45"/>
                <a:gd name="T18" fmla="*/ 14 w 37"/>
                <a:gd name="T19" fmla="*/ 8 h 45"/>
                <a:gd name="T20" fmla="*/ 13 w 37"/>
                <a:gd name="T21" fmla="*/ 4 h 45"/>
                <a:gd name="T22" fmla="*/ 9 w 37"/>
                <a:gd name="T23" fmla="*/ 0 h 45"/>
                <a:gd name="T24" fmla="*/ 7 w 37"/>
                <a:gd name="T25" fmla="*/ 0 h 45"/>
                <a:gd name="T26" fmla="*/ 8 w 37"/>
                <a:gd name="T27" fmla="*/ 4 h 45"/>
                <a:gd name="T28" fmla="*/ 8 w 37"/>
                <a:gd name="T29" fmla="*/ 7 h 45"/>
                <a:gd name="T30" fmla="*/ 4 w 37"/>
                <a:gd name="T31" fmla="*/ 5 h 45"/>
                <a:gd name="T32" fmla="*/ 0 w 37"/>
                <a:gd name="T33" fmla="*/ 10 h 45"/>
                <a:gd name="T34" fmla="*/ 4 w 37"/>
                <a:gd name="T35" fmla="*/ 15 h 45"/>
                <a:gd name="T36" fmla="*/ 4 w 37"/>
                <a:gd name="T37" fmla="*/ 22 h 45"/>
                <a:gd name="T38" fmla="*/ 3 w 37"/>
                <a:gd name="T39" fmla="*/ 26 h 45"/>
                <a:gd name="T40" fmla="*/ 7 w 37"/>
                <a:gd name="T41" fmla="*/ 25 h 45"/>
                <a:gd name="T42" fmla="*/ 10 w 37"/>
                <a:gd name="T43" fmla="*/ 23 h 45"/>
                <a:gd name="T44" fmla="*/ 15 w 37"/>
                <a:gd name="T45" fmla="*/ 22 h 45"/>
                <a:gd name="T46" fmla="*/ 23 w 37"/>
                <a:gd name="T47" fmla="*/ 28 h 45"/>
                <a:gd name="T48" fmla="*/ 27 w 37"/>
                <a:gd name="T49" fmla="*/ 36 h 45"/>
                <a:gd name="T50" fmla="*/ 27 w 37"/>
                <a:gd name="T51" fmla="*/ 39 h 45"/>
                <a:gd name="T52" fmla="*/ 25 w 37"/>
                <a:gd name="T53" fmla="*/ 43 h 45"/>
                <a:gd name="T54" fmla="*/ 29 w 37"/>
                <a:gd name="T55" fmla="*/ 43 h 45"/>
                <a:gd name="T56" fmla="*/ 32 w 37"/>
                <a:gd name="T57" fmla="*/ 42 h 45"/>
                <a:gd name="T58" fmla="*/ 35 w 37"/>
                <a:gd name="T59" fmla="*/ 42 h 45"/>
                <a:gd name="T60" fmla="*/ 37 w 37"/>
                <a:gd name="T61" fmla="*/ 38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7" h="45">
                  <a:moveTo>
                    <a:pt x="37" y="38"/>
                  </a:moveTo>
                  <a:cubicBezTo>
                    <a:pt x="37" y="37"/>
                    <a:pt x="36" y="37"/>
                    <a:pt x="35" y="35"/>
                  </a:cubicBezTo>
                  <a:cubicBezTo>
                    <a:pt x="35" y="33"/>
                    <a:pt x="34" y="34"/>
                    <a:pt x="33" y="32"/>
                  </a:cubicBezTo>
                  <a:cubicBezTo>
                    <a:pt x="32" y="30"/>
                    <a:pt x="32" y="29"/>
                    <a:pt x="30" y="28"/>
                  </a:cubicBezTo>
                  <a:cubicBezTo>
                    <a:pt x="28" y="26"/>
                    <a:pt x="27" y="24"/>
                    <a:pt x="26" y="22"/>
                  </a:cubicBezTo>
                  <a:cubicBezTo>
                    <a:pt x="25" y="21"/>
                    <a:pt x="23" y="19"/>
                    <a:pt x="22" y="18"/>
                  </a:cubicBezTo>
                  <a:cubicBezTo>
                    <a:pt x="20" y="17"/>
                    <a:pt x="19" y="18"/>
                    <a:pt x="19" y="15"/>
                  </a:cubicBezTo>
                  <a:cubicBezTo>
                    <a:pt x="19" y="14"/>
                    <a:pt x="21" y="16"/>
                    <a:pt x="22" y="14"/>
                  </a:cubicBezTo>
                  <a:cubicBezTo>
                    <a:pt x="24" y="13"/>
                    <a:pt x="22" y="12"/>
                    <a:pt x="21" y="10"/>
                  </a:cubicBezTo>
                  <a:cubicBezTo>
                    <a:pt x="19" y="5"/>
                    <a:pt x="16" y="11"/>
                    <a:pt x="14" y="8"/>
                  </a:cubicBezTo>
                  <a:cubicBezTo>
                    <a:pt x="13" y="7"/>
                    <a:pt x="14" y="5"/>
                    <a:pt x="13" y="4"/>
                  </a:cubicBezTo>
                  <a:cubicBezTo>
                    <a:pt x="12" y="3"/>
                    <a:pt x="10" y="2"/>
                    <a:pt x="9" y="0"/>
                  </a:cubicBezTo>
                  <a:cubicBezTo>
                    <a:pt x="9" y="0"/>
                    <a:pt x="7" y="0"/>
                    <a:pt x="7" y="0"/>
                  </a:cubicBezTo>
                  <a:cubicBezTo>
                    <a:pt x="6" y="1"/>
                    <a:pt x="8" y="3"/>
                    <a:pt x="8" y="4"/>
                  </a:cubicBezTo>
                  <a:cubicBezTo>
                    <a:pt x="8" y="5"/>
                    <a:pt x="9" y="7"/>
                    <a:pt x="8" y="7"/>
                  </a:cubicBezTo>
                  <a:cubicBezTo>
                    <a:pt x="6" y="7"/>
                    <a:pt x="6" y="5"/>
                    <a:pt x="4" y="5"/>
                  </a:cubicBezTo>
                  <a:cubicBezTo>
                    <a:pt x="3" y="4"/>
                    <a:pt x="0" y="10"/>
                    <a:pt x="0" y="10"/>
                  </a:cubicBezTo>
                  <a:cubicBezTo>
                    <a:pt x="1" y="13"/>
                    <a:pt x="0" y="17"/>
                    <a:pt x="4" y="15"/>
                  </a:cubicBezTo>
                  <a:cubicBezTo>
                    <a:pt x="6" y="14"/>
                    <a:pt x="4" y="22"/>
                    <a:pt x="4" y="22"/>
                  </a:cubicBezTo>
                  <a:cubicBezTo>
                    <a:pt x="6" y="23"/>
                    <a:pt x="4" y="24"/>
                    <a:pt x="3" y="26"/>
                  </a:cubicBezTo>
                  <a:cubicBezTo>
                    <a:pt x="3" y="27"/>
                    <a:pt x="6" y="25"/>
                    <a:pt x="7" y="25"/>
                  </a:cubicBezTo>
                  <a:cubicBezTo>
                    <a:pt x="7" y="24"/>
                    <a:pt x="9" y="23"/>
                    <a:pt x="10" y="23"/>
                  </a:cubicBezTo>
                  <a:cubicBezTo>
                    <a:pt x="12" y="24"/>
                    <a:pt x="13" y="24"/>
                    <a:pt x="15" y="22"/>
                  </a:cubicBezTo>
                  <a:cubicBezTo>
                    <a:pt x="17" y="21"/>
                    <a:pt x="24" y="25"/>
                    <a:pt x="23" y="28"/>
                  </a:cubicBezTo>
                  <a:cubicBezTo>
                    <a:pt x="21" y="32"/>
                    <a:pt x="25" y="33"/>
                    <a:pt x="27" y="36"/>
                  </a:cubicBezTo>
                  <a:cubicBezTo>
                    <a:pt x="27" y="37"/>
                    <a:pt x="27" y="38"/>
                    <a:pt x="27" y="39"/>
                  </a:cubicBezTo>
                  <a:cubicBezTo>
                    <a:pt x="27" y="40"/>
                    <a:pt x="26" y="42"/>
                    <a:pt x="25" y="43"/>
                  </a:cubicBezTo>
                  <a:cubicBezTo>
                    <a:pt x="26" y="43"/>
                    <a:pt x="29" y="45"/>
                    <a:pt x="29" y="43"/>
                  </a:cubicBezTo>
                  <a:cubicBezTo>
                    <a:pt x="29" y="42"/>
                    <a:pt x="31" y="41"/>
                    <a:pt x="32" y="42"/>
                  </a:cubicBezTo>
                  <a:cubicBezTo>
                    <a:pt x="33" y="43"/>
                    <a:pt x="34" y="43"/>
                    <a:pt x="35" y="42"/>
                  </a:cubicBezTo>
                  <a:cubicBezTo>
                    <a:pt x="37" y="42"/>
                    <a:pt x="37" y="40"/>
                    <a:pt x="37" y="3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07" name="Freeform 707">
              <a:extLst>
                <a:ext uri="{FF2B5EF4-FFF2-40B4-BE49-F238E27FC236}">
                  <a16:creationId xmlns:a16="http://schemas.microsoft.com/office/drawing/2014/main" id="{AAEE951C-145B-6ADF-691F-28D24E1E607F}"/>
                </a:ext>
              </a:extLst>
            </p:cNvPr>
            <p:cNvSpPr>
              <a:spLocks/>
            </p:cNvSpPr>
            <p:nvPr/>
          </p:nvSpPr>
          <p:spPr bwMode="auto">
            <a:xfrm>
              <a:off x="9228125" y="4368018"/>
              <a:ext cx="236050" cy="211945"/>
            </a:xfrm>
            <a:custGeom>
              <a:avLst/>
              <a:gdLst>
                <a:gd name="T0" fmla="*/ 45 w 45"/>
                <a:gd name="T1" fmla="*/ 29 h 38"/>
                <a:gd name="T2" fmla="*/ 45 w 45"/>
                <a:gd name="T3" fmla="*/ 26 h 38"/>
                <a:gd name="T4" fmla="*/ 45 w 45"/>
                <a:gd name="T5" fmla="*/ 24 h 38"/>
                <a:gd name="T6" fmla="*/ 45 w 45"/>
                <a:gd name="T7" fmla="*/ 15 h 38"/>
                <a:gd name="T8" fmla="*/ 45 w 45"/>
                <a:gd name="T9" fmla="*/ 6 h 38"/>
                <a:gd name="T10" fmla="*/ 35 w 45"/>
                <a:gd name="T11" fmla="*/ 3 h 38"/>
                <a:gd name="T12" fmla="*/ 30 w 45"/>
                <a:gd name="T13" fmla="*/ 0 h 38"/>
                <a:gd name="T14" fmla="*/ 26 w 45"/>
                <a:gd name="T15" fmla="*/ 3 h 38"/>
                <a:gd name="T16" fmla="*/ 22 w 45"/>
                <a:gd name="T17" fmla="*/ 5 h 38"/>
                <a:gd name="T18" fmla="*/ 18 w 45"/>
                <a:gd name="T19" fmla="*/ 10 h 38"/>
                <a:gd name="T20" fmla="*/ 14 w 45"/>
                <a:gd name="T21" fmla="*/ 8 h 38"/>
                <a:gd name="T22" fmla="*/ 11 w 45"/>
                <a:gd name="T23" fmla="*/ 5 h 38"/>
                <a:gd name="T24" fmla="*/ 9 w 45"/>
                <a:gd name="T25" fmla="*/ 6 h 38"/>
                <a:gd name="T26" fmla="*/ 7 w 45"/>
                <a:gd name="T27" fmla="*/ 5 h 38"/>
                <a:gd name="T28" fmla="*/ 4 w 45"/>
                <a:gd name="T29" fmla="*/ 6 h 38"/>
                <a:gd name="T30" fmla="*/ 0 w 45"/>
                <a:gd name="T31" fmla="*/ 7 h 38"/>
                <a:gd name="T32" fmla="*/ 3 w 45"/>
                <a:gd name="T33" fmla="*/ 8 h 38"/>
                <a:gd name="T34" fmla="*/ 4 w 45"/>
                <a:gd name="T35" fmla="*/ 11 h 38"/>
                <a:gd name="T36" fmla="*/ 7 w 45"/>
                <a:gd name="T37" fmla="*/ 14 h 38"/>
                <a:gd name="T38" fmla="*/ 9 w 45"/>
                <a:gd name="T39" fmla="*/ 8 h 38"/>
                <a:gd name="T40" fmla="*/ 10 w 45"/>
                <a:gd name="T41" fmla="*/ 12 h 38"/>
                <a:gd name="T42" fmla="*/ 15 w 45"/>
                <a:gd name="T43" fmla="*/ 12 h 38"/>
                <a:gd name="T44" fmla="*/ 18 w 45"/>
                <a:gd name="T45" fmla="*/ 15 h 38"/>
                <a:gd name="T46" fmla="*/ 27 w 45"/>
                <a:gd name="T47" fmla="*/ 19 h 38"/>
                <a:gd name="T48" fmla="*/ 32 w 45"/>
                <a:gd name="T49" fmla="*/ 22 h 38"/>
                <a:gd name="T50" fmla="*/ 34 w 45"/>
                <a:gd name="T51" fmla="*/ 26 h 38"/>
                <a:gd name="T52" fmla="*/ 36 w 45"/>
                <a:gd name="T53" fmla="*/ 27 h 38"/>
                <a:gd name="T54" fmla="*/ 34 w 45"/>
                <a:gd name="T55" fmla="*/ 28 h 38"/>
                <a:gd name="T56" fmla="*/ 36 w 45"/>
                <a:gd name="T57" fmla="*/ 29 h 38"/>
                <a:gd name="T58" fmla="*/ 35 w 45"/>
                <a:gd name="T59" fmla="*/ 30 h 38"/>
                <a:gd name="T60" fmla="*/ 32 w 45"/>
                <a:gd name="T61" fmla="*/ 31 h 38"/>
                <a:gd name="T62" fmla="*/ 29 w 45"/>
                <a:gd name="T63" fmla="*/ 34 h 38"/>
                <a:gd name="T64" fmla="*/ 34 w 45"/>
                <a:gd name="T65" fmla="*/ 35 h 38"/>
                <a:gd name="T66" fmla="*/ 36 w 45"/>
                <a:gd name="T67" fmla="*/ 31 h 38"/>
                <a:gd name="T68" fmla="*/ 36 w 45"/>
                <a:gd name="T69" fmla="*/ 33 h 38"/>
                <a:gd name="T70" fmla="*/ 40 w 45"/>
                <a:gd name="T71" fmla="*/ 32 h 38"/>
                <a:gd name="T72" fmla="*/ 45 w 45"/>
                <a:gd name="T73" fmla="*/ 38 h 38"/>
                <a:gd name="T74" fmla="*/ 45 w 45"/>
                <a:gd name="T75" fmla="*/ 2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5" h="38">
                  <a:moveTo>
                    <a:pt x="45" y="29"/>
                  </a:moveTo>
                  <a:cubicBezTo>
                    <a:pt x="45" y="28"/>
                    <a:pt x="44" y="27"/>
                    <a:pt x="45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1"/>
                    <a:pt x="45" y="18"/>
                    <a:pt x="45" y="15"/>
                  </a:cubicBezTo>
                  <a:cubicBezTo>
                    <a:pt x="45" y="12"/>
                    <a:pt x="45" y="9"/>
                    <a:pt x="45" y="6"/>
                  </a:cubicBezTo>
                  <a:cubicBezTo>
                    <a:pt x="45" y="6"/>
                    <a:pt x="36" y="3"/>
                    <a:pt x="35" y="3"/>
                  </a:cubicBezTo>
                  <a:cubicBezTo>
                    <a:pt x="33" y="2"/>
                    <a:pt x="32" y="1"/>
                    <a:pt x="30" y="0"/>
                  </a:cubicBezTo>
                  <a:cubicBezTo>
                    <a:pt x="27" y="0"/>
                    <a:pt x="27" y="2"/>
                    <a:pt x="26" y="3"/>
                  </a:cubicBezTo>
                  <a:cubicBezTo>
                    <a:pt x="26" y="4"/>
                    <a:pt x="23" y="4"/>
                    <a:pt x="22" y="5"/>
                  </a:cubicBezTo>
                  <a:cubicBezTo>
                    <a:pt x="21" y="7"/>
                    <a:pt x="20" y="9"/>
                    <a:pt x="18" y="10"/>
                  </a:cubicBezTo>
                  <a:cubicBezTo>
                    <a:pt x="16" y="11"/>
                    <a:pt x="14" y="10"/>
                    <a:pt x="14" y="8"/>
                  </a:cubicBezTo>
                  <a:cubicBezTo>
                    <a:pt x="13" y="6"/>
                    <a:pt x="12" y="6"/>
                    <a:pt x="11" y="5"/>
                  </a:cubicBezTo>
                  <a:cubicBezTo>
                    <a:pt x="11" y="3"/>
                    <a:pt x="10" y="5"/>
                    <a:pt x="9" y="6"/>
                  </a:cubicBezTo>
                  <a:cubicBezTo>
                    <a:pt x="8" y="6"/>
                    <a:pt x="7" y="5"/>
                    <a:pt x="7" y="5"/>
                  </a:cubicBezTo>
                  <a:cubicBezTo>
                    <a:pt x="6" y="5"/>
                    <a:pt x="5" y="6"/>
                    <a:pt x="4" y="6"/>
                  </a:cubicBezTo>
                  <a:cubicBezTo>
                    <a:pt x="4" y="7"/>
                    <a:pt x="0" y="6"/>
                    <a:pt x="0" y="7"/>
                  </a:cubicBezTo>
                  <a:cubicBezTo>
                    <a:pt x="0" y="8"/>
                    <a:pt x="2" y="8"/>
                    <a:pt x="3" y="8"/>
                  </a:cubicBezTo>
                  <a:cubicBezTo>
                    <a:pt x="4" y="9"/>
                    <a:pt x="4" y="10"/>
                    <a:pt x="4" y="11"/>
                  </a:cubicBezTo>
                  <a:cubicBezTo>
                    <a:pt x="4" y="13"/>
                    <a:pt x="7" y="13"/>
                    <a:pt x="7" y="14"/>
                  </a:cubicBezTo>
                  <a:cubicBezTo>
                    <a:pt x="7" y="12"/>
                    <a:pt x="7" y="9"/>
                    <a:pt x="9" y="8"/>
                  </a:cubicBezTo>
                  <a:cubicBezTo>
                    <a:pt x="7" y="9"/>
                    <a:pt x="8" y="11"/>
                    <a:pt x="10" y="12"/>
                  </a:cubicBezTo>
                  <a:cubicBezTo>
                    <a:pt x="12" y="13"/>
                    <a:pt x="13" y="13"/>
                    <a:pt x="15" y="12"/>
                  </a:cubicBezTo>
                  <a:cubicBezTo>
                    <a:pt x="12" y="13"/>
                    <a:pt x="17" y="15"/>
                    <a:pt x="18" y="15"/>
                  </a:cubicBezTo>
                  <a:cubicBezTo>
                    <a:pt x="21" y="16"/>
                    <a:pt x="24" y="18"/>
                    <a:pt x="27" y="19"/>
                  </a:cubicBezTo>
                  <a:cubicBezTo>
                    <a:pt x="29" y="20"/>
                    <a:pt x="31" y="21"/>
                    <a:pt x="32" y="22"/>
                  </a:cubicBezTo>
                  <a:cubicBezTo>
                    <a:pt x="32" y="24"/>
                    <a:pt x="33" y="25"/>
                    <a:pt x="34" y="26"/>
                  </a:cubicBezTo>
                  <a:cubicBezTo>
                    <a:pt x="34" y="26"/>
                    <a:pt x="36" y="27"/>
                    <a:pt x="36" y="27"/>
                  </a:cubicBezTo>
                  <a:cubicBezTo>
                    <a:pt x="36" y="27"/>
                    <a:pt x="34" y="28"/>
                    <a:pt x="34" y="28"/>
                  </a:cubicBezTo>
                  <a:cubicBezTo>
                    <a:pt x="34" y="28"/>
                    <a:pt x="36" y="28"/>
                    <a:pt x="36" y="29"/>
                  </a:cubicBezTo>
                  <a:cubicBezTo>
                    <a:pt x="36" y="28"/>
                    <a:pt x="35" y="29"/>
                    <a:pt x="35" y="30"/>
                  </a:cubicBezTo>
                  <a:cubicBezTo>
                    <a:pt x="34" y="31"/>
                    <a:pt x="33" y="30"/>
                    <a:pt x="32" y="31"/>
                  </a:cubicBezTo>
                  <a:cubicBezTo>
                    <a:pt x="31" y="31"/>
                    <a:pt x="28" y="34"/>
                    <a:pt x="29" y="34"/>
                  </a:cubicBezTo>
                  <a:cubicBezTo>
                    <a:pt x="30" y="35"/>
                    <a:pt x="32" y="35"/>
                    <a:pt x="34" y="35"/>
                  </a:cubicBezTo>
                  <a:cubicBezTo>
                    <a:pt x="34" y="34"/>
                    <a:pt x="35" y="30"/>
                    <a:pt x="36" y="31"/>
                  </a:cubicBezTo>
                  <a:cubicBezTo>
                    <a:pt x="36" y="32"/>
                    <a:pt x="33" y="33"/>
                    <a:pt x="36" y="33"/>
                  </a:cubicBezTo>
                  <a:cubicBezTo>
                    <a:pt x="38" y="34"/>
                    <a:pt x="39" y="34"/>
                    <a:pt x="40" y="32"/>
                  </a:cubicBezTo>
                  <a:cubicBezTo>
                    <a:pt x="39" y="34"/>
                    <a:pt x="44" y="37"/>
                    <a:pt x="45" y="38"/>
                  </a:cubicBezTo>
                  <a:cubicBezTo>
                    <a:pt x="45" y="35"/>
                    <a:pt x="45" y="32"/>
                    <a:pt x="45" y="2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08" name="Freeform 709">
              <a:extLst>
                <a:ext uri="{FF2B5EF4-FFF2-40B4-BE49-F238E27FC236}">
                  <a16:creationId xmlns:a16="http://schemas.microsoft.com/office/drawing/2014/main" id="{2B35A994-531E-91CF-8C0A-184F8304116C}"/>
                </a:ext>
              </a:extLst>
            </p:cNvPr>
            <p:cNvSpPr>
              <a:spLocks/>
            </p:cNvSpPr>
            <p:nvPr/>
          </p:nvSpPr>
          <p:spPr bwMode="auto">
            <a:xfrm>
              <a:off x="8625484" y="4195815"/>
              <a:ext cx="268238" cy="249792"/>
            </a:xfrm>
            <a:custGeom>
              <a:avLst/>
              <a:gdLst>
                <a:gd name="T0" fmla="*/ 33 w 51"/>
                <a:gd name="T1" fmla="*/ 5 h 45"/>
                <a:gd name="T2" fmla="*/ 29 w 51"/>
                <a:gd name="T3" fmla="*/ 13 h 45"/>
                <a:gd name="T4" fmla="*/ 20 w 51"/>
                <a:gd name="T5" fmla="*/ 16 h 45"/>
                <a:gd name="T6" fmla="*/ 15 w 51"/>
                <a:gd name="T7" fmla="*/ 18 h 45"/>
                <a:gd name="T8" fmla="*/ 10 w 51"/>
                <a:gd name="T9" fmla="*/ 19 h 45"/>
                <a:gd name="T10" fmla="*/ 7 w 51"/>
                <a:gd name="T11" fmla="*/ 18 h 45"/>
                <a:gd name="T12" fmla="*/ 3 w 51"/>
                <a:gd name="T13" fmla="*/ 14 h 45"/>
                <a:gd name="T14" fmla="*/ 0 w 51"/>
                <a:gd name="T15" fmla="*/ 20 h 45"/>
                <a:gd name="T16" fmla="*/ 4 w 51"/>
                <a:gd name="T17" fmla="*/ 29 h 45"/>
                <a:gd name="T18" fmla="*/ 8 w 51"/>
                <a:gd name="T19" fmla="*/ 37 h 45"/>
                <a:gd name="T20" fmla="*/ 13 w 51"/>
                <a:gd name="T21" fmla="*/ 39 h 45"/>
                <a:gd name="T22" fmla="*/ 14 w 51"/>
                <a:gd name="T23" fmla="*/ 41 h 45"/>
                <a:gd name="T24" fmla="*/ 19 w 51"/>
                <a:gd name="T25" fmla="*/ 41 h 45"/>
                <a:gd name="T26" fmla="*/ 21 w 51"/>
                <a:gd name="T27" fmla="*/ 39 h 45"/>
                <a:gd name="T28" fmla="*/ 25 w 51"/>
                <a:gd name="T29" fmla="*/ 40 h 45"/>
                <a:gd name="T30" fmla="*/ 28 w 51"/>
                <a:gd name="T31" fmla="*/ 40 h 45"/>
                <a:gd name="T32" fmla="*/ 31 w 51"/>
                <a:gd name="T33" fmla="*/ 43 h 45"/>
                <a:gd name="T34" fmla="*/ 34 w 51"/>
                <a:gd name="T35" fmla="*/ 42 h 45"/>
                <a:gd name="T36" fmla="*/ 36 w 51"/>
                <a:gd name="T37" fmla="*/ 43 h 45"/>
                <a:gd name="T38" fmla="*/ 37 w 51"/>
                <a:gd name="T39" fmla="*/ 37 h 45"/>
                <a:gd name="T40" fmla="*/ 37 w 51"/>
                <a:gd name="T41" fmla="*/ 33 h 45"/>
                <a:gd name="T42" fmla="*/ 39 w 51"/>
                <a:gd name="T43" fmla="*/ 30 h 45"/>
                <a:gd name="T44" fmla="*/ 42 w 51"/>
                <a:gd name="T45" fmla="*/ 24 h 45"/>
                <a:gd name="T46" fmla="*/ 47 w 51"/>
                <a:gd name="T47" fmla="*/ 19 h 45"/>
                <a:gd name="T48" fmla="*/ 49 w 51"/>
                <a:gd name="T49" fmla="*/ 18 h 45"/>
                <a:gd name="T50" fmla="*/ 45 w 51"/>
                <a:gd name="T51" fmla="*/ 13 h 45"/>
                <a:gd name="T52" fmla="*/ 42 w 51"/>
                <a:gd name="T53" fmla="*/ 7 h 45"/>
                <a:gd name="T54" fmla="*/ 44 w 51"/>
                <a:gd name="T55" fmla="*/ 6 h 45"/>
                <a:gd name="T56" fmla="*/ 44 w 51"/>
                <a:gd name="T57" fmla="*/ 3 h 45"/>
                <a:gd name="T58" fmla="*/ 33 w 51"/>
                <a:gd name="T59" fmla="*/ 5 h 45"/>
                <a:gd name="T60" fmla="*/ 33 w 51"/>
                <a:gd name="T61" fmla="*/ 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1" h="45">
                  <a:moveTo>
                    <a:pt x="33" y="5"/>
                  </a:moveTo>
                  <a:cubicBezTo>
                    <a:pt x="32" y="8"/>
                    <a:pt x="31" y="10"/>
                    <a:pt x="29" y="13"/>
                  </a:cubicBezTo>
                  <a:cubicBezTo>
                    <a:pt x="28" y="17"/>
                    <a:pt x="23" y="17"/>
                    <a:pt x="20" y="16"/>
                  </a:cubicBezTo>
                  <a:cubicBezTo>
                    <a:pt x="18" y="15"/>
                    <a:pt x="16" y="17"/>
                    <a:pt x="15" y="18"/>
                  </a:cubicBezTo>
                  <a:cubicBezTo>
                    <a:pt x="14" y="19"/>
                    <a:pt x="11" y="18"/>
                    <a:pt x="10" y="19"/>
                  </a:cubicBezTo>
                  <a:cubicBezTo>
                    <a:pt x="8" y="20"/>
                    <a:pt x="8" y="20"/>
                    <a:pt x="7" y="18"/>
                  </a:cubicBezTo>
                  <a:cubicBezTo>
                    <a:pt x="5" y="17"/>
                    <a:pt x="4" y="16"/>
                    <a:pt x="3" y="14"/>
                  </a:cubicBezTo>
                  <a:cubicBezTo>
                    <a:pt x="2" y="13"/>
                    <a:pt x="0" y="19"/>
                    <a:pt x="0" y="20"/>
                  </a:cubicBezTo>
                  <a:cubicBezTo>
                    <a:pt x="0" y="23"/>
                    <a:pt x="3" y="26"/>
                    <a:pt x="4" y="29"/>
                  </a:cubicBezTo>
                  <a:cubicBezTo>
                    <a:pt x="6" y="32"/>
                    <a:pt x="5" y="35"/>
                    <a:pt x="8" y="37"/>
                  </a:cubicBezTo>
                  <a:cubicBezTo>
                    <a:pt x="10" y="38"/>
                    <a:pt x="12" y="39"/>
                    <a:pt x="13" y="39"/>
                  </a:cubicBezTo>
                  <a:cubicBezTo>
                    <a:pt x="16" y="38"/>
                    <a:pt x="13" y="40"/>
                    <a:pt x="14" y="41"/>
                  </a:cubicBezTo>
                  <a:cubicBezTo>
                    <a:pt x="15" y="41"/>
                    <a:pt x="18" y="41"/>
                    <a:pt x="19" y="41"/>
                  </a:cubicBezTo>
                  <a:cubicBezTo>
                    <a:pt x="20" y="40"/>
                    <a:pt x="20" y="38"/>
                    <a:pt x="21" y="39"/>
                  </a:cubicBezTo>
                  <a:cubicBezTo>
                    <a:pt x="22" y="40"/>
                    <a:pt x="24" y="41"/>
                    <a:pt x="25" y="40"/>
                  </a:cubicBezTo>
                  <a:cubicBezTo>
                    <a:pt x="26" y="40"/>
                    <a:pt x="28" y="39"/>
                    <a:pt x="28" y="40"/>
                  </a:cubicBezTo>
                  <a:cubicBezTo>
                    <a:pt x="29" y="43"/>
                    <a:pt x="27" y="45"/>
                    <a:pt x="31" y="43"/>
                  </a:cubicBezTo>
                  <a:cubicBezTo>
                    <a:pt x="32" y="43"/>
                    <a:pt x="33" y="42"/>
                    <a:pt x="34" y="42"/>
                  </a:cubicBezTo>
                  <a:cubicBezTo>
                    <a:pt x="35" y="42"/>
                    <a:pt x="36" y="43"/>
                    <a:pt x="36" y="43"/>
                  </a:cubicBezTo>
                  <a:cubicBezTo>
                    <a:pt x="37" y="41"/>
                    <a:pt x="35" y="39"/>
                    <a:pt x="37" y="37"/>
                  </a:cubicBezTo>
                  <a:cubicBezTo>
                    <a:pt x="38" y="36"/>
                    <a:pt x="37" y="35"/>
                    <a:pt x="37" y="33"/>
                  </a:cubicBezTo>
                  <a:cubicBezTo>
                    <a:pt x="37" y="32"/>
                    <a:pt x="38" y="31"/>
                    <a:pt x="39" y="30"/>
                  </a:cubicBezTo>
                  <a:cubicBezTo>
                    <a:pt x="41" y="28"/>
                    <a:pt x="43" y="27"/>
                    <a:pt x="42" y="24"/>
                  </a:cubicBezTo>
                  <a:cubicBezTo>
                    <a:pt x="42" y="22"/>
                    <a:pt x="45" y="18"/>
                    <a:pt x="47" y="19"/>
                  </a:cubicBezTo>
                  <a:cubicBezTo>
                    <a:pt x="48" y="20"/>
                    <a:pt x="51" y="19"/>
                    <a:pt x="49" y="18"/>
                  </a:cubicBezTo>
                  <a:cubicBezTo>
                    <a:pt x="48" y="16"/>
                    <a:pt x="45" y="15"/>
                    <a:pt x="45" y="13"/>
                  </a:cubicBezTo>
                  <a:cubicBezTo>
                    <a:pt x="45" y="11"/>
                    <a:pt x="43" y="9"/>
                    <a:pt x="42" y="7"/>
                  </a:cubicBezTo>
                  <a:cubicBezTo>
                    <a:pt x="41" y="4"/>
                    <a:pt x="44" y="7"/>
                    <a:pt x="44" y="6"/>
                  </a:cubicBezTo>
                  <a:cubicBezTo>
                    <a:pt x="45" y="5"/>
                    <a:pt x="41" y="4"/>
                    <a:pt x="44" y="3"/>
                  </a:cubicBezTo>
                  <a:cubicBezTo>
                    <a:pt x="40" y="2"/>
                    <a:pt x="34" y="0"/>
                    <a:pt x="33" y="5"/>
                  </a:cubicBezTo>
                  <a:cubicBezTo>
                    <a:pt x="32" y="7"/>
                    <a:pt x="34" y="3"/>
                    <a:pt x="33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09" name="Freeform 710">
              <a:extLst>
                <a:ext uri="{FF2B5EF4-FFF2-40B4-BE49-F238E27FC236}">
                  <a16:creationId xmlns:a16="http://schemas.microsoft.com/office/drawing/2014/main" id="{24EEA7F9-1418-D7D0-C6FF-57D21801491C}"/>
                </a:ext>
              </a:extLst>
            </p:cNvPr>
            <p:cNvSpPr>
              <a:spLocks/>
            </p:cNvSpPr>
            <p:nvPr/>
          </p:nvSpPr>
          <p:spPr bwMode="auto">
            <a:xfrm>
              <a:off x="8641578" y="4129580"/>
              <a:ext cx="257509" cy="177883"/>
            </a:xfrm>
            <a:custGeom>
              <a:avLst/>
              <a:gdLst>
                <a:gd name="T0" fmla="*/ 45 w 49"/>
                <a:gd name="T1" fmla="*/ 10 h 32"/>
                <a:gd name="T2" fmla="*/ 47 w 49"/>
                <a:gd name="T3" fmla="*/ 8 h 32"/>
                <a:gd name="T4" fmla="*/ 43 w 49"/>
                <a:gd name="T5" fmla="*/ 7 h 32"/>
                <a:gd name="T6" fmla="*/ 42 w 49"/>
                <a:gd name="T7" fmla="*/ 6 h 32"/>
                <a:gd name="T8" fmla="*/ 41 w 49"/>
                <a:gd name="T9" fmla="*/ 6 h 32"/>
                <a:gd name="T10" fmla="*/ 41 w 49"/>
                <a:gd name="T11" fmla="*/ 4 h 32"/>
                <a:gd name="T12" fmla="*/ 39 w 49"/>
                <a:gd name="T13" fmla="*/ 2 h 32"/>
                <a:gd name="T14" fmla="*/ 37 w 49"/>
                <a:gd name="T15" fmla="*/ 2 h 32"/>
                <a:gd name="T16" fmla="*/ 36 w 49"/>
                <a:gd name="T17" fmla="*/ 1 h 32"/>
                <a:gd name="T18" fmla="*/ 32 w 49"/>
                <a:gd name="T19" fmla="*/ 6 h 32"/>
                <a:gd name="T20" fmla="*/ 30 w 49"/>
                <a:gd name="T21" fmla="*/ 8 h 32"/>
                <a:gd name="T22" fmla="*/ 29 w 49"/>
                <a:gd name="T23" fmla="*/ 9 h 32"/>
                <a:gd name="T24" fmla="*/ 29 w 49"/>
                <a:gd name="T25" fmla="*/ 10 h 32"/>
                <a:gd name="T26" fmla="*/ 25 w 49"/>
                <a:gd name="T27" fmla="*/ 12 h 32"/>
                <a:gd name="T28" fmla="*/ 25 w 49"/>
                <a:gd name="T29" fmla="*/ 15 h 32"/>
                <a:gd name="T30" fmla="*/ 27 w 49"/>
                <a:gd name="T31" fmla="*/ 14 h 32"/>
                <a:gd name="T32" fmla="*/ 29 w 49"/>
                <a:gd name="T33" fmla="*/ 13 h 32"/>
                <a:gd name="T34" fmla="*/ 28 w 49"/>
                <a:gd name="T35" fmla="*/ 11 h 32"/>
                <a:gd name="T36" fmla="*/ 29 w 49"/>
                <a:gd name="T37" fmla="*/ 13 h 32"/>
                <a:gd name="T38" fmla="*/ 26 w 49"/>
                <a:gd name="T39" fmla="*/ 14 h 32"/>
                <a:gd name="T40" fmla="*/ 23 w 49"/>
                <a:gd name="T41" fmla="*/ 13 h 32"/>
                <a:gd name="T42" fmla="*/ 14 w 49"/>
                <a:gd name="T43" fmla="*/ 20 h 32"/>
                <a:gd name="T44" fmla="*/ 9 w 49"/>
                <a:gd name="T45" fmla="*/ 23 h 32"/>
                <a:gd name="T46" fmla="*/ 7 w 49"/>
                <a:gd name="T47" fmla="*/ 26 h 32"/>
                <a:gd name="T48" fmla="*/ 9 w 49"/>
                <a:gd name="T49" fmla="*/ 28 h 32"/>
                <a:gd name="T50" fmla="*/ 0 w 49"/>
                <a:gd name="T51" fmla="*/ 26 h 32"/>
                <a:gd name="T52" fmla="*/ 5 w 49"/>
                <a:gd name="T53" fmla="*/ 32 h 32"/>
                <a:gd name="T54" fmla="*/ 7 w 49"/>
                <a:gd name="T55" fmla="*/ 31 h 32"/>
                <a:gd name="T56" fmla="*/ 12 w 49"/>
                <a:gd name="T57" fmla="*/ 30 h 32"/>
                <a:gd name="T58" fmla="*/ 20 w 49"/>
                <a:gd name="T59" fmla="*/ 29 h 32"/>
                <a:gd name="T60" fmla="*/ 27 w 49"/>
                <a:gd name="T61" fmla="*/ 24 h 32"/>
                <a:gd name="T62" fmla="*/ 30 w 49"/>
                <a:gd name="T63" fmla="*/ 18 h 32"/>
                <a:gd name="T64" fmla="*/ 34 w 49"/>
                <a:gd name="T65" fmla="*/ 14 h 32"/>
                <a:gd name="T66" fmla="*/ 43 w 49"/>
                <a:gd name="T67" fmla="*/ 14 h 32"/>
                <a:gd name="T68" fmla="*/ 45 w 49"/>
                <a:gd name="T69" fmla="*/ 1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9" h="32">
                  <a:moveTo>
                    <a:pt x="45" y="10"/>
                  </a:moveTo>
                  <a:cubicBezTo>
                    <a:pt x="48" y="10"/>
                    <a:pt x="49" y="9"/>
                    <a:pt x="47" y="8"/>
                  </a:cubicBezTo>
                  <a:cubicBezTo>
                    <a:pt x="45" y="7"/>
                    <a:pt x="45" y="6"/>
                    <a:pt x="43" y="7"/>
                  </a:cubicBezTo>
                  <a:cubicBezTo>
                    <a:pt x="42" y="8"/>
                    <a:pt x="43" y="7"/>
                    <a:pt x="42" y="6"/>
                  </a:cubicBezTo>
                  <a:cubicBezTo>
                    <a:pt x="42" y="6"/>
                    <a:pt x="41" y="6"/>
                    <a:pt x="41" y="6"/>
                  </a:cubicBezTo>
                  <a:cubicBezTo>
                    <a:pt x="41" y="6"/>
                    <a:pt x="41" y="4"/>
                    <a:pt x="41" y="4"/>
                  </a:cubicBezTo>
                  <a:cubicBezTo>
                    <a:pt x="40" y="3"/>
                    <a:pt x="39" y="2"/>
                    <a:pt x="39" y="2"/>
                  </a:cubicBezTo>
                  <a:cubicBezTo>
                    <a:pt x="37" y="0"/>
                    <a:pt x="38" y="1"/>
                    <a:pt x="37" y="2"/>
                  </a:cubicBezTo>
                  <a:cubicBezTo>
                    <a:pt x="36" y="3"/>
                    <a:pt x="36" y="1"/>
                    <a:pt x="36" y="1"/>
                  </a:cubicBezTo>
                  <a:cubicBezTo>
                    <a:pt x="35" y="1"/>
                    <a:pt x="32" y="5"/>
                    <a:pt x="32" y="6"/>
                  </a:cubicBezTo>
                  <a:cubicBezTo>
                    <a:pt x="31" y="6"/>
                    <a:pt x="30" y="7"/>
                    <a:pt x="30" y="8"/>
                  </a:cubicBezTo>
                  <a:cubicBezTo>
                    <a:pt x="29" y="8"/>
                    <a:pt x="29" y="9"/>
                    <a:pt x="29" y="9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29" y="11"/>
                    <a:pt x="26" y="11"/>
                    <a:pt x="25" y="12"/>
                  </a:cubicBezTo>
                  <a:cubicBezTo>
                    <a:pt x="22" y="12"/>
                    <a:pt x="23" y="14"/>
                    <a:pt x="25" y="15"/>
                  </a:cubicBezTo>
                  <a:cubicBezTo>
                    <a:pt x="27" y="17"/>
                    <a:pt x="26" y="15"/>
                    <a:pt x="27" y="14"/>
                  </a:cubicBezTo>
                  <a:cubicBezTo>
                    <a:pt x="27" y="13"/>
                    <a:pt x="29" y="13"/>
                    <a:pt x="29" y="13"/>
                  </a:cubicBezTo>
                  <a:cubicBezTo>
                    <a:pt x="29" y="13"/>
                    <a:pt x="28" y="12"/>
                    <a:pt x="28" y="11"/>
                  </a:cubicBezTo>
                  <a:cubicBezTo>
                    <a:pt x="28" y="12"/>
                    <a:pt x="29" y="13"/>
                    <a:pt x="29" y="13"/>
                  </a:cubicBezTo>
                  <a:cubicBezTo>
                    <a:pt x="29" y="13"/>
                    <a:pt x="27" y="13"/>
                    <a:pt x="26" y="14"/>
                  </a:cubicBezTo>
                  <a:cubicBezTo>
                    <a:pt x="26" y="17"/>
                    <a:pt x="24" y="14"/>
                    <a:pt x="23" y="13"/>
                  </a:cubicBezTo>
                  <a:cubicBezTo>
                    <a:pt x="20" y="16"/>
                    <a:pt x="18" y="19"/>
                    <a:pt x="14" y="20"/>
                  </a:cubicBezTo>
                  <a:cubicBezTo>
                    <a:pt x="12" y="21"/>
                    <a:pt x="10" y="21"/>
                    <a:pt x="9" y="23"/>
                  </a:cubicBezTo>
                  <a:cubicBezTo>
                    <a:pt x="8" y="24"/>
                    <a:pt x="8" y="25"/>
                    <a:pt x="7" y="26"/>
                  </a:cubicBezTo>
                  <a:cubicBezTo>
                    <a:pt x="7" y="27"/>
                    <a:pt x="9" y="28"/>
                    <a:pt x="9" y="28"/>
                  </a:cubicBezTo>
                  <a:cubicBezTo>
                    <a:pt x="8" y="29"/>
                    <a:pt x="1" y="26"/>
                    <a:pt x="0" y="26"/>
                  </a:cubicBezTo>
                  <a:cubicBezTo>
                    <a:pt x="1" y="28"/>
                    <a:pt x="3" y="31"/>
                    <a:pt x="5" y="32"/>
                  </a:cubicBezTo>
                  <a:cubicBezTo>
                    <a:pt x="6" y="32"/>
                    <a:pt x="7" y="31"/>
                    <a:pt x="7" y="31"/>
                  </a:cubicBezTo>
                  <a:cubicBezTo>
                    <a:pt x="9" y="30"/>
                    <a:pt x="12" y="31"/>
                    <a:pt x="12" y="30"/>
                  </a:cubicBezTo>
                  <a:cubicBezTo>
                    <a:pt x="15" y="27"/>
                    <a:pt x="17" y="28"/>
                    <a:pt x="20" y="29"/>
                  </a:cubicBezTo>
                  <a:cubicBezTo>
                    <a:pt x="23" y="29"/>
                    <a:pt x="26" y="27"/>
                    <a:pt x="27" y="24"/>
                  </a:cubicBezTo>
                  <a:cubicBezTo>
                    <a:pt x="28" y="22"/>
                    <a:pt x="29" y="20"/>
                    <a:pt x="30" y="18"/>
                  </a:cubicBezTo>
                  <a:cubicBezTo>
                    <a:pt x="30" y="15"/>
                    <a:pt x="31" y="14"/>
                    <a:pt x="34" y="14"/>
                  </a:cubicBezTo>
                  <a:cubicBezTo>
                    <a:pt x="37" y="14"/>
                    <a:pt x="40" y="15"/>
                    <a:pt x="43" y="14"/>
                  </a:cubicBezTo>
                  <a:cubicBezTo>
                    <a:pt x="47" y="13"/>
                    <a:pt x="40" y="10"/>
                    <a:pt x="45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10" name="Freeform 711">
              <a:extLst>
                <a:ext uri="{FF2B5EF4-FFF2-40B4-BE49-F238E27FC236}">
                  <a16:creationId xmlns:a16="http://schemas.microsoft.com/office/drawing/2014/main" id="{85D005CE-CFA8-6CCB-A488-B7977CDDB0F1}"/>
                </a:ext>
              </a:extLst>
            </p:cNvPr>
            <p:cNvSpPr>
              <a:spLocks/>
            </p:cNvSpPr>
            <p:nvPr/>
          </p:nvSpPr>
          <p:spPr bwMode="auto">
            <a:xfrm>
              <a:off x="8117621" y="3512670"/>
              <a:ext cx="89412" cy="54878"/>
            </a:xfrm>
            <a:custGeom>
              <a:avLst/>
              <a:gdLst>
                <a:gd name="T0" fmla="*/ 2 w 17"/>
                <a:gd name="T1" fmla="*/ 8 h 10"/>
                <a:gd name="T2" fmla="*/ 7 w 17"/>
                <a:gd name="T3" fmla="*/ 9 h 10"/>
                <a:gd name="T4" fmla="*/ 12 w 17"/>
                <a:gd name="T5" fmla="*/ 9 h 10"/>
                <a:gd name="T6" fmla="*/ 16 w 17"/>
                <a:gd name="T7" fmla="*/ 8 h 10"/>
                <a:gd name="T8" fmla="*/ 15 w 17"/>
                <a:gd name="T9" fmla="*/ 3 h 10"/>
                <a:gd name="T10" fmla="*/ 10 w 17"/>
                <a:gd name="T11" fmla="*/ 3 h 10"/>
                <a:gd name="T12" fmla="*/ 6 w 17"/>
                <a:gd name="T13" fmla="*/ 1 h 10"/>
                <a:gd name="T14" fmla="*/ 2 w 17"/>
                <a:gd name="T15" fmla="*/ 8 h 10"/>
                <a:gd name="T16" fmla="*/ 2 w 17"/>
                <a:gd name="T17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10">
                  <a:moveTo>
                    <a:pt x="2" y="8"/>
                  </a:moveTo>
                  <a:cubicBezTo>
                    <a:pt x="3" y="9"/>
                    <a:pt x="6" y="10"/>
                    <a:pt x="7" y="9"/>
                  </a:cubicBezTo>
                  <a:cubicBezTo>
                    <a:pt x="9" y="8"/>
                    <a:pt x="10" y="10"/>
                    <a:pt x="12" y="9"/>
                  </a:cubicBezTo>
                  <a:cubicBezTo>
                    <a:pt x="13" y="9"/>
                    <a:pt x="17" y="9"/>
                    <a:pt x="16" y="8"/>
                  </a:cubicBezTo>
                  <a:cubicBezTo>
                    <a:pt x="15" y="6"/>
                    <a:pt x="14" y="5"/>
                    <a:pt x="15" y="3"/>
                  </a:cubicBezTo>
                  <a:cubicBezTo>
                    <a:pt x="13" y="2"/>
                    <a:pt x="11" y="4"/>
                    <a:pt x="10" y="3"/>
                  </a:cubicBezTo>
                  <a:cubicBezTo>
                    <a:pt x="9" y="2"/>
                    <a:pt x="7" y="0"/>
                    <a:pt x="6" y="1"/>
                  </a:cubicBezTo>
                  <a:cubicBezTo>
                    <a:pt x="4" y="3"/>
                    <a:pt x="0" y="6"/>
                    <a:pt x="2" y="8"/>
                  </a:cubicBezTo>
                  <a:cubicBezTo>
                    <a:pt x="3" y="9"/>
                    <a:pt x="1" y="7"/>
                    <a:pt x="2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11" name="Freeform 712">
              <a:extLst>
                <a:ext uri="{FF2B5EF4-FFF2-40B4-BE49-F238E27FC236}">
                  <a16:creationId xmlns:a16="http://schemas.microsoft.com/office/drawing/2014/main" id="{3FDBFEBC-7E90-98E0-9621-5EE738ED9904}"/>
                </a:ext>
              </a:extLst>
            </p:cNvPr>
            <p:cNvSpPr>
              <a:spLocks/>
            </p:cNvSpPr>
            <p:nvPr/>
          </p:nvSpPr>
          <p:spPr bwMode="auto">
            <a:xfrm>
              <a:off x="7911972" y="3450223"/>
              <a:ext cx="194918" cy="128679"/>
            </a:xfrm>
            <a:custGeom>
              <a:avLst/>
              <a:gdLst>
                <a:gd name="T0" fmla="*/ 1 w 37"/>
                <a:gd name="T1" fmla="*/ 3 h 23"/>
                <a:gd name="T2" fmla="*/ 0 w 37"/>
                <a:gd name="T3" fmla="*/ 9 h 23"/>
                <a:gd name="T4" fmla="*/ 5 w 37"/>
                <a:gd name="T5" fmla="*/ 13 h 23"/>
                <a:gd name="T6" fmla="*/ 7 w 37"/>
                <a:gd name="T7" fmla="*/ 14 h 23"/>
                <a:gd name="T8" fmla="*/ 12 w 37"/>
                <a:gd name="T9" fmla="*/ 15 h 23"/>
                <a:gd name="T10" fmla="*/ 15 w 37"/>
                <a:gd name="T11" fmla="*/ 16 h 23"/>
                <a:gd name="T12" fmla="*/ 19 w 37"/>
                <a:gd name="T13" fmla="*/ 16 h 23"/>
                <a:gd name="T14" fmla="*/ 22 w 37"/>
                <a:gd name="T15" fmla="*/ 19 h 23"/>
                <a:gd name="T16" fmla="*/ 26 w 37"/>
                <a:gd name="T17" fmla="*/ 20 h 23"/>
                <a:gd name="T18" fmla="*/ 29 w 37"/>
                <a:gd name="T19" fmla="*/ 22 h 23"/>
                <a:gd name="T20" fmla="*/ 32 w 37"/>
                <a:gd name="T21" fmla="*/ 20 h 23"/>
                <a:gd name="T22" fmla="*/ 35 w 37"/>
                <a:gd name="T23" fmla="*/ 22 h 23"/>
                <a:gd name="T24" fmla="*/ 37 w 37"/>
                <a:gd name="T25" fmla="*/ 21 h 23"/>
                <a:gd name="T26" fmla="*/ 37 w 37"/>
                <a:gd name="T27" fmla="*/ 18 h 23"/>
                <a:gd name="T28" fmla="*/ 37 w 37"/>
                <a:gd name="T29" fmla="*/ 14 h 23"/>
                <a:gd name="T30" fmla="*/ 32 w 37"/>
                <a:gd name="T31" fmla="*/ 14 h 23"/>
                <a:gd name="T32" fmla="*/ 31 w 37"/>
                <a:gd name="T33" fmla="*/ 13 h 23"/>
                <a:gd name="T34" fmla="*/ 28 w 37"/>
                <a:gd name="T35" fmla="*/ 13 h 23"/>
                <a:gd name="T36" fmla="*/ 26 w 37"/>
                <a:gd name="T37" fmla="*/ 12 h 23"/>
                <a:gd name="T38" fmla="*/ 24 w 37"/>
                <a:gd name="T39" fmla="*/ 12 h 23"/>
                <a:gd name="T40" fmla="*/ 20 w 37"/>
                <a:gd name="T41" fmla="*/ 10 h 23"/>
                <a:gd name="T42" fmla="*/ 18 w 37"/>
                <a:gd name="T43" fmla="*/ 8 h 23"/>
                <a:gd name="T44" fmla="*/ 16 w 37"/>
                <a:gd name="T45" fmla="*/ 7 h 23"/>
                <a:gd name="T46" fmla="*/ 10 w 37"/>
                <a:gd name="T47" fmla="*/ 2 h 23"/>
                <a:gd name="T48" fmla="*/ 8 w 37"/>
                <a:gd name="T49" fmla="*/ 0 h 23"/>
                <a:gd name="T50" fmla="*/ 5 w 37"/>
                <a:gd name="T51" fmla="*/ 2 h 23"/>
                <a:gd name="T52" fmla="*/ 4 w 37"/>
                <a:gd name="T53" fmla="*/ 2 h 23"/>
                <a:gd name="T54" fmla="*/ 1 w 37"/>
                <a:gd name="T55" fmla="*/ 3 h 23"/>
                <a:gd name="T56" fmla="*/ 1 w 37"/>
                <a:gd name="T57" fmla="*/ 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7" h="23">
                  <a:moveTo>
                    <a:pt x="1" y="3"/>
                  </a:moveTo>
                  <a:cubicBezTo>
                    <a:pt x="0" y="4"/>
                    <a:pt x="0" y="8"/>
                    <a:pt x="0" y="9"/>
                  </a:cubicBezTo>
                  <a:cubicBezTo>
                    <a:pt x="1" y="10"/>
                    <a:pt x="4" y="11"/>
                    <a:pt x="5" y="13"/>
                  </a:cubicBezTo>
                  <a:cubicBezTo>
                    <a:pt x="6" y="13"/>
                    <a:pt x="7" y="14"/>
                    <a:pt x="7" y="14"/>
                  </a:cubicBezTo>
                  <a:cubicBezTo>
                    <a:pt x="9" y="15"/>
                    <a:pt x="10" y="14"/>
                    <a:pt x="12" y="15"/>
                  </a:cubicBezTo>
                  <a:cubicBezTo>
                    <a:pt x="13" y="15"/>
                    <a:pt x="14" y="16"/>
                    <a:pt x="15" y="16"/>
                  </a:cubicBezTo>
                  <a:cubicBezTo>
                    <a:pt x="16" y="16"/>
                    <a:pt x="18" y="16"/>
                    <a:pt x="19" y="16"/>
                  </a:cubicBezTo>
                  <a:cubicBezTo>
                    <a:pt x="20" y="17"/>
                    <a:pt x="21" y="18"/>
                    <a:pt x="22" y="19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0"/>
                    <a:pt x="28" y="22"/>
                    <a:pt x="29" y="22"/>
                  </a:cubicBezTo>
                  <a:cubicBezTo>
                    <a:pt x="30" y="22"/>
                    <a:pt x="31" y="20"/>
                    <a:pt x="32" y="20"/>
                  </a:cubicBezTo>
                  <a:cubicBezTo>
                    <a:pt x="33" y="21"/>
                    <a:pt x="33" y="23"/>
                    <a:pt x="35" y="22"/>
                  </a:cubicBezTo>
                  <a:cubicBezTo>
                    <a:pt x="35" y="22"/>
                    <a:pt x="37" y="21"/>
                    <a:pt x="37" y="21"/>
                  </a:cubicBezTo>
                  <a:cubicBezTo>
                    <a:pt x="37" y="20"/>
                    <a:pt x="37" y="19"/>
                    <a:pt x="37" y="18"/>
                  </a:cubicBezTo>
                  <a:cubicBezTo>
                    <a:pt x="36" y="17"/>
                    <a:pt x="37" y="16"/>
                    <a:pt x="37" y="14"/>
                  </a:cubicBezTo>
                  <a:cubicBezTo>
                    <a:pt x="35" y="14"/>
                    <a:pt x="34" y="15"/>
                    <a:pt x="32" y="14"/>
                  </a:cubicBezTo>
                  <a:cubicBezTo>
                    <a:pt x="32" y="14"/>
                    <a:pt x="31" y="13"/>
                    <a:pt x="31" y="13"/>
                  </a:cubicBezTo>
                  <a:cubicBezTo>
                    <a:pt x="30" y="13"/>
                    <a:pt x="29" y="14"/>
                    <a:pt x="28" y="13"/>
                  </a:cubicBezTo>
                  <a:cubicBezTo>
                    <a:pt x="28" y="13"/>
                    <a:pt x="27" y="12"/>
                    <a:pt x="26" y="12"/>
                  </a:cubicBezTo>
                  <a:cubicBezTo>
                    <a:pt x="25" y="12"/>
                    <a:pt x="24" y="14"/>
                    <a:pt x="24" y="12"/>
                  </a:cubicBezTo>
                  <a:cubicBezTo>
                    <a:pt x="22" y="10"/>
                    <a:pt x="21" y="11"/>
                    <a:pt x="20" y="10"/>
                  </a:cubicBezTo>
                  <a:cubicBezTo>
                    <a:pt x="19" y="9"/>
                    <a:pt x="19" y="8"/>
                    <a:pt x="18" y="8"/>
                  </a:cubicBezTo>
                  <a:cubicBezTo>
                    <a:pt x="17" y="7"/>
                    <a:pt x="16" y="7"/>
                    <a:pt x="16" y="7"/>
                  </a:cubicBezTo>
                  <a:cubicBezTo>
                    <a:pt x="14" y="6"/>
                    <a:pt x="11" y="4"/>
                    <a:pt x="10" y="2"/>
                  </a:cubicBezTo>
                  <a:cubicBezTo>
                    <a:pt x="10" y="1"/>
                    <a:pt x="9" y="0"/>
                    <a:pt x="8" y="0"/>
                  </a:cubicBezTo>
                  <a:cubicBezTo>
                    <a:pt x="6" y="0"/>
                    <a:pt x="6" y="1"/>
                    <a:pt x="5" y="2"/>
                  </a:cubicBezTo>
                  <a:cubicBezTo>
                    <a:pt x="5" y="3"/>
                    <a:pt x="4" y="2"/>
                    <a:pt x="4" y="2"/>
                  </a:cubicBezTo>
                  <a:cubicBezTo>
                    <a:pt x="3" y="3"/>
                    <a:pt x="2" y="3"/>
                    <a:pt x="1" y="3"/>
                  </a:cubicBezTo>
                  <a:cubicBezTo>
                    <a:pt x="0" y="4"/>
                    <a:pt x="2" y="3"/>
                    <a:pt x="1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12" name="Freeform 713">
              <a:extLst>
                <a:ext uri="{FF2B5EF4-FFF2-40B4-BE49-F238E27FC236}">
                  <a16:creationId xmlns:a16="http://schemas.microsoft.com/office/drawing/2014/main" id="{236F278E-A16A-96F0-4862-EAA41A1A1B9F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2023" y="3917636"/>
              <a:ext cx="146636" cy="128679"/>
            </a:xfrm>
            <a:custGeom>
              <a:avLst/>
              <a:gdLst>
                <a:gd name="T0" fmla="*/ 14 w 28"/>
                <a:gd name="T1" fmla="*/ 19 h 23"/>
                <a:gd name="T2" fmla="*/ 19 w 28"/>
                <a:gd name="T3" fmla="*/ 18 h 23"/>
                <a:gd name="T4" fmla="*/ 19 w 28"/>
                <a:gd name="T5" fmla="*/ 15 h 23"/>
                <a:gd name="T6" fmla="*/ 21 w 28"/>
                <a:gd name="T7" fmla="*/ 14 h 23"/>
                <a:gd name="T8" fmla="*/ 24 w 28"/>
                <a:gd name="T9" fmla="*/ 12 h 23"/>
                <a:gd name="T10" fmla="*/ 27 w 28"/>
                <a:gd name="T11" fmla="*/ 9 h 23"/>
                <a:gd name="T12" fmla="*/ 26 w 28"/>
                <a:gd name="T13" fmla="*/ 1 h 23"/>
                <a:gd name="T14" fmla="*/ 22 w 28"/>
                <a:gd name="T15" fmla="*/ 1 h 23"/>
                <a:gd name="T16" fmla="*/ 19 w 28"/>
                <a:gd name="T17" fmla="*/ 2 h 23"/>
                <a:gd name="T18" fmla="*/ 17 w 28"/>
                <a:gd name="T19" fmla="*/ 2 h 23"/>
                <a:gd name="T20" fmla="*/ 3 w 28"/>
                <a:gd name="T21" fmla="*/ 3 h 23"/>
                <a:gd name="T22" fmla="*/ 0 w 28"/>
                <a:gd name="T23" fmla="*/ 7 h 23"/>
                <a:gd name="T24" fmla="*/ 1 w 28"/>
                <a:gd name="T25" fmla="*/ 10 h 23"/>
                <a:gd name="T26" fmla="*/ 3 w 28"/>
                <a:gd name="T27" fmla="*/ 14 h 23"/>
                <a:gd name="T28" fmla="*/ 5 w 28"/>
                <a:gd name="T29" fmla="*/ 18 h 23"/>
                <a:gd name="T30" fmla="*/ 6 w 28"/>
                <a:gd name="T31" fmla="*/ 19 h 23"/>
                <a:gd name="T32" fmla="*/ 7 w 28"/>
                <a:gd name="T33" fmla="*/ 21 h 23"/>
                <a:gd name="T34" fmla="*/ 8 w 28"/>
                <a:gd name="T35" fmla="*/ 23 h 23"/>
                <a:gd name="T36" fmla="*/ 14 w 28"/>
                <a:gd name="T37" fmla="*/ 19 h 23"/>
                <a:gd name="T38" fmla="*/ 14 w 28"/>
                <a:gd name="T39" fmla="*/ 1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8" h="23">
                  <a:moveTo>
                    <a:pt x="14" y="19"/>
                  </a:moveTo>
                  <a:cubicBezTo>
                    <a:pt x="14" y="18"/>
                    <a:pt x="20" y="20"/>
                    <a:pt x="19" y="18"/>
                  </a:cubicBezTo>
                  <a:cubicBezTo>
                    <a:pt x="19" y="18"/>
                    <a:pt x="18" y="15"/>
                    <a:pt x="19" y="15"/>
                  </a:cubicBezTo>
                  <a:cubicBezTo>
                    <a:pt x="20" y="15"/>
                    <a:pt x="21" y="16"/>
                    <a:pt x="21" y="14"/>
                  </a:cubicBezTo>
                  <a:cubicBezTo>
                    <a:pt x="21" y="12"/>
                    <a:pt x="23" y="13"/>
                    <a:pt x="24" y="12"/>
                  </a:cubicBezTo>
                  <a:cubicBezTo>
                    <a:pt x="26" y="12"/>
                    <a:pt x="26" y="10"/>
                    <a:pt x="27" y="9"/>
                  </a:cubicBezTo>
                  <a:cubicBezTo>
                    <a:pt x="28" y="7"/>
                    <a:pt x="25" y="2"/>
                    <a:pt x="26" y="1"/>
                  </a:cubicBezTo>
                  <a:cubicBezTo>
                    <a:pt x="24" y="2"/>
                    <a:pt x="24" y="2"/>
                    <a:pt x="22" y="1"/>
                  </a:cubicBezTo>
                  <a:cubicBezTo>
                    <a:pt x="21" y="0"/>
                    <a:pt x="19" y="2"/>
                    <a:pt x="19" y="2"/>
                  </a:cubicBezTo>
                  <a:cubicBezTo>
                    <a:pt x="19" y="4"/>
                    <a:pt x="17" y="2"/>
                    <a:pt x="17" y="2"/>
                  </a:cubicBezTo>
                  <a:cubicBezTo>
                    <a:pt x="13" y="1"/>
                    <a:pt x="6" y="0"/>
                    <a:pt x="3" y="3"/>
                  </a:cubicBezTo>
                  <a:cubicBezTo>
                    <a:pt x="2" y="4"/>
                    <a:pt x="0" y="5"/>
                    <a:pt x="0" y="7"/>
                  </a:cubicBezTo>
                  <a:cubicBezTo>
                    <a:pt x="0" y="8"/>
                    <a:pt x="1" y="9"/>
                    <a:pt x="1" y="10"/>
                  </a:cubicBezTo>
                  <a:cubicBezTo>
                    <a:pt x="3" y="11"/>
                    <a:pt x="3" y="13"/>
                    <a:pt x="3" y="14"/>
                  </a:cubicBezTo>
                  <a:cubicBezTo>
                    <a:pt x="4" y="16"/>
                    <a:pt x="4" y="17"/>
                    <a:pt x="5" y="18"/>
                  </a:cubicBezTo>
                  <a:cubicBezTo>
                    <a:pt x="5" y="19"/>
                    <a:pt x="6" y="18"/>
                    <a:pt x="6" y="19"/>
                  </a:cubicBezTo>
                  <a:cubicBezTo>
                    <a:pt x="7" y="19"/>
                    <a:pt x="6" y="20"/>
                    <a:pt x="7" y="21"/>
                  </a:cubicBezTo>
                  <a:cubicBezTo>
                    <a:pt x="9" y="21"/>
                    <a:pt x="8" y="22"/>
                    <a:pt x="8" y="23"/>
                  </a:cubicBezTo>
                  <a:cubicBezTo>
                    <a:pt x="8" y="22"/>
                    <a:pt x="14" y="20"/>
                    <a:pt x="14" y="19"/>
                  </a:cubicBezTo>
                  <a:cubicBezTo>
                    <a:pt x="14" y="19"/>
                    <a:pt x="14" y="20"/>
                    <a:pt x="14" y="1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13" name="Freeform 714">
              <a:extLst>
                <a:ext uri="{FF2B5EF4-FFF2-40B4-BE49-F238E27FC236}">
                  <a16:creationId xmlns:a16="http://schemas.microsoft.com/office/drawing/2014/main" id="{82EB5852-D4EC-2DB4-EBDC-CBA58212B973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4799" y="4144719"/>
              <a:ext cx="116236" cy="145713"/>
            </a:xfrm>
            <a:custGeom>
              <a:avLst/>
              <a:gdLst>
                <a:gd name="T0" fmla="*/ 10 w 22"/>
                <a:gd name="T1" fmla="*/ 3 h 26"/>
                <a:gd name="T2" fmla="*/ 7 w 22"/>
                <a:gd name="T3" fmla="*/ 4 h 26"/>
                <a:gd name="T4" fmla="*/ 6 w 22"/>
                <a:gd name="T5" fmla="*/ 4 h 26"/>
                <a:gd name="T6" fmla="*/ 5 w 22"/>
                <a:gd name="T7" fmla="*/ 1 h 26"/>
                <a:gd name="T8" fmla="*/ 0 w 22"/>
                <a:gd name="T9" fmla="*/ 0 h 26"/>
                <a:gd name="T10" fmla="*/ 1 w 22"/>
                <a:gd name="T11" fmla="*/ 6 h 26"/>
                <a:gd name="T12" fmla="*/ 4 w 22"/>
                <a:gd name="T13" fmla="*/ 14 h 26"/>
                <a:gd name="T14" fmla="*/ 9 w 22"/>
                <a:gd name="T15" fmla="*/ 21 h 26"/>
                <a:gd name="T16" fmla="*/ 19 w 22"/>
                <a:gd name="T17" fmla="*/ 26 h 26"/>
                <a:gd name="T18" fmla="*/ 20 w 22"/>
                <a:gd name="T19" fmla="*/ 23 h 26"/>
                <a:gd name="T20" fmla="*/ 16 w 22"/>
                <a:gd name="T21" fmla="*/ 14 h 26"/>
                <a:gd name="T22" fmla="*/ 16 w 22"/>
                <a:gd name="T23" fmla="*/ 6 h 26"/>
                <a:gd name="T24" fmla="*/ 10 w 22"/>
                <a:gd name="T25" fmla="*/ 3 h 26"/>
                <a:gd name="T26" fmla="*/ 10 w 22"/>
                <a:gd name="T27" fmla="*/ 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" h="26">
                  <a:moveTo>
                    <a:pt x="10" y="3"/>
                  </a:moveTo>
                  <a:cubicBezTo>
                    <a:pt x="9" y="3"/>
                    <a:pt x="8" y="4"/>
                    <a:pt x="7" y="4"/>
                  </a:cubicBezTo>
                  <a:cubicBezTo>
                    <a:pt x="7" y="3"/>
                    <a:pt x="6" y="4"/>
                    <a:pt x="6" y="4"/>
                  </a:cubicBezTo>
                  <a:cubicBezTo>
                    <a:pt x="5" y="4"/>
                    <a:pt x="5" y="2"/>
                    <a:pt x="5" y="1"/>
                  </a:cubicBezTo>
                  <a:cubicBezTo>
                    <a:pt x="4" y="0"/>
                    <a:pt x="2" y="0"/>
                    <a:pt x="0" y="0"/>
                  </a:cubicBezTo>
                  <a:cubicBezTo>
                    <a:pt x="1" y="1"/>
                    <a:pt x="1" y="4"/>
                    <a:pt x="1" y="6"/>
                  </a:cubicBezTo>
                  <a:cubicBezTo>
                    <a:pt x="2" y="8"/>
                    <a:pt x="3" y="11"/>
                    <a:pt x="4" y="14"/>
                  </a:cubicBezTo>
                  <a:cubicBezTo>
                    <a:pt x="6" y="16"/>
                    <a:pt x="7" y="19"/>
                    <a:pt x="9" y="21"/>
                  </a:cubicBezTo>
                  <a:cubicBezTo>
                    <a:pt x="12" y="22"/>
                    <a:pt x="15" y="26"/>
                    <a:pt x="19" y="26"/>
                  </a:cubicBezTo>
                  <a:cubicBezTo>
                    <a:pt x="22" y="26"/>
                    <a:pt x="21" y="25"/>
                    <a:pt x="20" y="23"/>
                  </a:cubicBezTo>
                  <a:cubicBezTo>
                    <a:pt x="18" y="20"/>
                    <a:pt x="16" y="18"/>
                    <a:pt x="16" y="14"/>
                  </a:cubicBezTo>
                  <a:cubicBezTo>
                    <a:pt x="16" y="11"/>
                    <a:pt x="18" y="9"/>
                    <a:pt x="16" y="6"/>
                  </a:cubicBezTo>
                  <a:cubicBezTo>
                    <a:pt x="15" y="5"/>
                    <a:pt x="11" y="0"/>
                    <a:pt x="10" y="3"/>
                  </a:cubicBezTo>
                  <a:cubicBezTo>
                    <a:pt x="9" y="4"/>
                    <a:pt x="10" y="2"/>
                    <a:pt x="10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14" name="Freeform 715">
              <a:extLst>
                <a:ext uri="{FF2B5EF4-FFF2-40B4-BE49-F238E27FC236}">
                  <a16:creationId xmlns:a16="http://schemas.microsoft.com/office/drawing/2014/main" id="{E3C1B297-907E-2EA1-74DC-63DA767D4949}"/>
                </a:ext>
              </a:extLst>
            </p:cNvPr>
            <p:cNvSpPr>
              <a:spLocks/>
            </p:cNvSpPr>
            <p:nvPr/>
          </p:nvSpPr>
          <p:spPr bwMode="auto">
            <a:xfrm>
              <a:off x="7740299" y="2672461"/>
              <a:ext cx="1571876" cy="1084325"/>
            </a:xfrm>
            <a:custGeom>
              <a:avLst/>
              <a:gdLst>
                <a:gd name="T0" fmla="*/ 279 w 300"/>
                <a:gd name="T1" fmla="*/ 37 h 195"/>
                <a:gd name="T2" fmla="*/ 244 w 300"/>
                <a:gd name="T3" fmla="*/ 1 h 195"/>
                <a:gd name="T4" fmla="*/ 223 w 300"/>
                <a:gd name="T5" fmla="*/ 18 h 195"/>
                <a:gd name="T6" fmla="*/ 214 w 300"/>
                <a:gd name="T7" fmla="*/ 27 h 195"/>
                <a:gd name="T8" fmla="*/ 205 w 300"/>
                <a:gd name="T9" fmla="*/ 39 h 195"/>
                <a:gd name="T10" fmla="*/ 224 w 300"/>
                <a:gd name="T11" fmla="*/ 46 h 195"/>
                <a:gd name="T12" fmla="*/ 197 w 300"/>
                <a:gd name="T13" fmla="*/ 55 h 195"/>
                <a:gd name="T14" fmla="*/ 180 w 300"/>
                <a:gd name="T15" fmla="*/ 66 h 195"/>
                <a:gd name="T16" fmla="*/ 146 w 300"/>
                <a:gd name="T17" fmla="*/ 75 h 195"/>
                <a:gd name="T18" fmla="*/ 121 w 300"/>
                <a:gd name="T19" fmla="*/ 70 h 195"/>
                <a:gd name="T20" fmla="*/ 94 w 300"/>
                <a:gd name="T21" fmla="*/ 56 h 195"/>
                <a:gd name="T22" fmla="*/ 66 w 300"/>
                <a:gd name="T23" fmla="*/ 30 h 195"/>
                <a:gd name="T24" fmla="*/ 56 w 300"/>
                <a:gd name="T25" fmla="*/ 44 h 195"/>
                <a:gd name="T26" fmla="*/ 44 w 300"/>
                <a:gd name="T27" fmla="*/ 51 h 195"/>
                <a:gd name="T28" fmla="*/ 34 w 300"/>
                <a:gd name="T29" fmla="*/ 63 h 195"/>
                <a:gd name="T30" fmla="*/ 28 w 300"/>
                <a:gd name="T31" fmla="*/ 76 h 195"/>
                <a:gd name="T32" fmla="*/ 11 w 300"/>
                <a:gd name="T33" fmla="*/ 84 h 195"/>
                <a:gd name="T34" fmla="*/ 1 w 300"/>
                <a:gd name="T35" fmla="*/ 91 h 195"/>
                <a:gd name="T36" fmla="*/ 7 w 300"/>
                <a:gd name="T37" fmla="*/ 103 h 195"/>
                <a:gd name="T38" fmla="*/ 23 w 300"/>
                <a:gd name="T39" fmla="*/ 111 h 195"/>
                <a:gd name="T40" fmla="*/ 27 w 300"/>
                <a:gd name="T41" fmla="*/ 121 h 195"/>
                <a:gd name="T42" fmla="*/ 27 w 300"/>
                <a:gd name="T43" fmla="*/ 135 h 195"/>
                <a:gd name="T44" fmla="*/ 40 w 300"/>
                <a:gd name="T45" fmla="*/ 140 h 195"/>
                <a:gd name="T46" fmla="*/ 62 w 300"/>
                <a:gd name="T47" fmla="*/ 154 h 195"/>
                <a:gd name="T48" fmla="*/ 74 w 300"/>
                <a:gd name="T49" fmla="*/ 156 h 195"/>
                <a:gd name="T50" fmla="*/ 92 w 300"/>
                <a:gd name="T51" fmla="*/ 151 h 195"/>
                <a:gd name="T52" fmla="*/ 106 w 300"/>
                <a:gd name="T53" fmla="*/ 146 h 195"/>
                <a:gd name="T54" fmla="*/ 116 w 300"/>
                <a:gd name="T55" fmla="*/ 155 h 195"/>
                <a:gd name="T56" fmla="*/ 117 w 300"/>
                <a:gd name="T57" fmla="*/ 166 h 195"/>
                <a:gd name="T58" fmla="*/ 119 w 300"/>
                <a:gd name="T59" fmla="*/ 178 h 195"/>
                <a:gd name="T60" fmla="*/ 125 w 300"/>
                <a:gd name="T61" fmla="*/ 187 h 195"/>
                <a:gd name="T62" fmla="*/ 134 w 300"/>
                <a:gd name="T63" fmla="*/ 186 h 195"/>
                <a:gd name="T64" fmla="*/ 143 w 300"/>
                <a:gd name="T65" fmla="*/ 182 h 195"/>
                <a:gd name="T66" fmla="*/ 155 w 300"/>
                <a:gd name="T67" fmla="*/ 180 h 195"/>
                <a:gd name="T68" fmla="*/ 168 w 300"/>
                <a:gd name="T69" fmla="*/ 186 h 195"/>
                <a:gd name="T70" fmla="*/ 175 w 300"/>
                <a:gd name="T71" fmla="*/ 195 h 195"/>
                <a:gd name="T72" fmla="*/ 189 w 300"/>
                <a:gd name="T73" fmla="*/ 186 h 195"/>
                <a:gd name="T74" fmla="*/ 202 w 300"/>
                <a:gd name="T75" fmla="*/ 182 h 195"/>
                <a:gd name="T76" fmla="*/ 215 w 300"/>
                <a:gd name="T77" fmla="*/ 173 h 195"/>
                <a:gd name="T78" fmla="*/ 221 w 300"/>
                <a:gd name="T79" fmla="*/ 164 h 195"/>
                <a:gd name="T80" fmla="*/ 228 w 300"/>
                <a:gd name="T81" fmla="*/ 156 h 195"/>
                <a:gd name="T82" fmla="*/ 232 w 300"/>
                <a:gd name="T83" fmla="*/ 149 h 195"/>
                <a:gd name="T84" fmla="*/ 236 w 300"/>
                <a:gd name="T85" fmla="*/ 143 h 195"/>
                <a:gd name="T86" fmla="*/ 231 w 300"/>
                <a:gd name="T87" fmla="*/ 139 h 195"/>
                <a:gd name="T88" fmla="*/ 229 w 300"/>
                <a:gd name="T89" fmla="*/ 132 h 195"/>
                <a:gd name="T90" fmla="*/ 221 w 300"/>
                <a:gd name="T91" fmla="*/ 115 h 195"/>
                <a:gd name="T92" fmla="*/ 229 w 300"/>
                <a:gd name="T93" fmla="*/ 106 h 195"/>
                <a:gd name="T94" fmla="*/ 238 w 300"/>
                <a:gd name="T95" fmla="*/ 102 h 195"/>
                <a:gd name="T96" fmla="*/ 220 w 300"/>
                <a:gd name="T97" fmla="*/ 102 h 195"/>
                <a:gd name="T98" fmla="*/ 221 w 300"/>
                <a:gd name="T99" fmla="*/ 90 h 195"/>
                <a:gd name="T100" fmla="*/ 234 w 300"/>
                <a:gd name="T101" fmla="*/ 87 h 195"/>
                <a:gd name="T102" fmla="*/ 238 w 300"/>
                <a:gd name="T103" fmla="*/ 89 h 195"/>
                <a:gd name="T104" fmla="*/ 259 w 300"/>
                <a:gd name="T105" fmla="*/ 77 h 195"/>
                <a:gd name="T106" fmla="*/ 271 w 300"/>
                <a:gd name="T107" fmla="*/ 72 h 195"/>
                <a:gd name="T108" fmla="*/ 281 w 300"/>
                <a:gd name="T109" fmla="*/ 60 h 195"/>
                <a:gd name="T110" fmla="*/ 295 w 300"/>
                <a:gd name="T111" fmla="*/ 47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00" h="195">
                  <a:moveTo>
                    <a:pt x="298" y="37"/>
                  </a:moveTo>
                  <a:cubicBezTo>
                    <a:pt x="298" y="35"/>
                    <a:pt x="294" y="36"/>
                    <a:pt x="293" y="37"/>
                  </a:cubicBezTo>
                  <a:cubicBezTo>
                    <a:pt x="291" y="37"/>
                    <a:pt x="290" y="38"/>
                    <a:pt x="288" y="39"/>
                  </a:cubicBezTo>
                  <a:cubicBezTo>
                    <a:pt x="286" y="40"/>
                    <a:pt x="279" y="40"/>
                    <a:pt x="279" y="37"/>
                  </a:cubicBezTo>
                  <a:cubicBezTo>
                    <a:pt x="277" y="33"/>
                    <a:pt x="276" y="31"/>
                    <a:pt x="272" y="29"/>
                  </a:cubicBezTo>
                  <a:cubicBezTo>
                    <a:pt x="269" y="28"/>
                    <a:pt x="263" y="28"/>
                    <a:pt x="262" y="24"/>
                  </a:cubicBezTo>
                  <a:cubicBezTo>
                    <a:pt x="261" y="18"/>
                    <a:pt x="259" y="11"/>
                    <a:pt x="255" y="6"/>
                  </a:cubicBezTo>
                  <a:cubicBezTo>
                    <a:pt x="252" y="3"/>
                    <a:pt x="248" y="3"/>
                    <a:pt x="244" y="1"/>
                  </a:cubicBezTo>
                  <a:cubicBezTo>
                    <a:pt x="240" y="0"/>
                    <a:pt x="233" y="1"/>
                    <a:pt x="229" y="3"/>
                  </a:cubicBezTo>
                  <a:cubicBezTo>
                    <a:pt x="228" y="4"/>
                    <a:pt x="226" y="5"/>
                    <a:pt x="225" y="6"/>
                  </a:cubicBezTo>
                  <a:cubicBezTo>
                    <a:pt x="225" y="7"/>
                    <a:pt x="228" y="7"/>
                    <a:pt x="228" y="8"/>
                  </a:cubicBezTo>
                  <a:cubicBezTo>
                    <a:pt x="229" y="12"/>
                    <a:pt x="224" y="15"/>
                    <a:pt x="223" y="18"/>
                  </a:cubicBezTo>
                  <a:cubicBezTo>
                    <a:pt x="222" y="19"/>
                    <a:pt x="222" y="20"/>
                    <a:pt x="222" y="21"/>
                  </a:cubicBezTo>
                  <a:cubicBezTo>
                    <a:pt x="222" y="22"/>
                    <a:pt x="222" y="22"/>
                    <a:pt x="222" y="23"/>
                  </a:cubicBezTo>
                  <a:cubicBezTo>
                    <a:pt x="222" y="25"/>
                    <a:pt x="219" y="25"/>
                    <a:pt x="217" y="26"/>
                  </a:cubicBezTo>
                  <a:cubicBezTo>
                    <a:pt x="216" y="26"/>
                    <a:pt x="215" y="27"/>
                    <a:pt x="214" y="27"/>
                  </a:cubicBezTo>
                  <a:cubicBezTo>
                    <a:pt x="213" y="27"/>
                    <a:pt x="208" y="25"/>
                    <a:pt x="208" y="25"/>
                  </a:cubicBezTo>
                  <a:cubicBezTo>
                    <a:pt x="207" y="27"/>
                    <a:pt x="206" y="30"/>
                    <a:pt x="205" y="32"/>
                  </a:cubicBezTo>
                  <a:cubicBezTo>
                    <a:pt x="205" y="33"/>
                    <a:pt x="204" y="34"/>
                    <a:pt x="204" y="35"/>
                  </a:cubicBezTo>
                  <a:cubicBezTo>
                    <a:pt x="204" y="35"/>
                    <a:pt x="202" y="41"/>
                    <a:pt x="205" y="39"/>
                  </a:cubicBezTo>
                  <a:cubicBezTo>
                    <a:pt x="206" y="38"/>
                    <a:pt x="206" y="38"/>
                    <a:pt x="208" y="38"/>
                  </a:cubicBezTo>
                  <a:cubicBezTo>
                    <a:pt x="209" y="38"/>
                    <a:pt x="211" y="40"/>
                    <a:pt x="212" y="39"/>
                  </a:cubicBezTo>
                  <a:cubicBezTo>
                    <a:pt x="216" y="36"/>
                    <a:pt x="219" y="38"/>
                    <a:pt x="222" y="42"/>
                  </a:cubicBezTo>
                  <a:cubicBezTo>
                    <a:pt x="223" y="43"/>
                    <a:pt x="225" y="45"/>
                    <a:pt x="224" y="46"/>
                  </a:cubicBezTo>
                  <a:cubicBezTo>
                    <a:pt x="224" y="46"/>
                    <a:pt x="220" y="45"/>
                    <a:pt x="219" y="45"/>
                  </a:cubicBezTo>
                  <a:cubicBezTo>
                    <a:pt x="216" y="46"/>
                    <a:pt x="212" y="46"/>
                    <a:pt x="209" y="47"/>
                  </a:cubicBezTo>
                  <a:cubicBezTo>
                    <a:pt x="206" y="48"/>
                    <a:pt x="206" y="54"/>
                    <a:pt x="202" y="54"/>
                  </a:cubicBezTo>
                  <a:cubicBezTo>
                    <a:pt x="200" y="54"/>
                    <a:pt x="198" y="53"/>
                    <a:pt x="197" y="55"/>
                  </a:cubicBezTo>
                  <a:cubicBezTo>
                    <a:pt x="196" y="56"/>
                    <a:pt x="194" y="58"/>
                    <a:pt x="192" y="58"/>
                  </a:cubicBezTo>
                  <a:cubicBezTo>
                    <a:pt x="189" y="57"/>
                    <a:pt x="183" y="53"/>
                    <a:pt x="182" y="59"/>
                  </a:cubicBezTo>
                  <a:cubicBezTo>
                    <a:pt x="182" y="61"/>
                    <a:pt x="184" y="62"/>
                    <a:pt x="184" y="63"/>
                  </a:cubicBezTo>
                  <a:cubicBezTo>
                    <a:pt x="184" y="65"/>
                    <a:pt x="181" y="65"/>
                    <a:pt x="180" y="66"/>
                  </a:cubicBezTo>
                  <a:cubicBezTo>
                    <a:pt x="177" y="69"/>
                    <a:pt x="176" y="72"/>
                    <a:pt x="172" y="72"/>
                  </a:cubicBezTo>
                  <a:cubicBezTo>
                    <a:pt x="167" y="72"/>
                    <a:pt x="162" y="72"/>
                    <a:pt x="157" y="73"/>
                  </a:cubicBezTo>
                  <a:cubicBezTo>
                    <a:pt x="155" y="74"/>
                    <a:pt x="151" y="78"/>
                    <a:pt x="150" y="77"/>
                  </a:cubicBezTo>
                  <a:cubicBezTo>
                    <a:pt x="148" y="77"/>
                    <a:pt x="147" y="75"/>
                    <a:pt x="146" y="75"/>
                  </a:cubicBezTo>
                  <a:cubicBezTo>
                    <a:pt x="144" y="75"/>
                    <a:pt x="143" y="75"/>
                    <a:pt x="141" y="75"/>
                  </a:cubicBezTo>
                  <a:cubicBezTo>
                    <a:pt x="139" y="74"/>
                    <a:pt x="137" y="74"/>
                    <a:pt x="135" y="72"/>
                  </a:cubicBezTo>
                  <a:cubicBezTo>
                    <a:pt x="133" y="71"/>
                    <a:pt x="132" y="71"/>
                    <a:pt x="131" y="70"/>
                  </a:cubicBezTo>
                  <a:cubicBezTo>
                    <a:pt x="127" y="70"/>
                    <a:pt x="125" y="70"/>
                    <a:pt x="121" y="70"/>
                  </a:cubicBezTo>
                  <a:cubicBezTo>
                    <a:pt x="118" y="70"/>
                    <a:pt x="113" y="71"/>
                    <a:pt x="109" y="70"/>
                  </a:cubicBezTo>
                  <a:cubicBezTo>
                    <a:pt x="108" y="70"/>
                    <a:pt x="107" y="68"/>
                    <a:pt x="107" y="67"/>
                  </a:cubicBezTo>
                  <a:cubicBezTo>
                    <a:pt x="105" y="65"/>
                    <a:pt x="104" y="63"/>
                    <a:pt x="102" y="61"/>
                  </a:cubicBezTo>
                  <a:cubicBezTo>
                    <a:pt x="99" y="59"/>
                    <a:pt x="97" y="56"/>
                    <a:pt x="94" y="56"/>
                  </a:cubicBezTo>
                  <a:cubicBezTo>
                    <a:pt x="92" y="56"/>
                    <a:pt x="81" y="56"/>
                    <a:pt x="83" y="52"/>
                  </a:cubicBezTo>
                  <a:cubicBezTo>
                    <a:pt x="85" y="48"/>
                    <a:pt x="84" y="41"/>
                    <a:pt x="79" y="38"/>
                  </a:cubicBezTo>
                  <a:cubicBezTo>
                    <a:pt x="75" y="35"/>
                    <a:pt x="70" y="35"/>
                    <a:pt x="69" y="29"/>
                  </a:cubicBezTo>
                  <a:cubicBezTo>
                    <a:pt x="68" y="30"/>
                    <a:pt x="67" y="29"/>
                    <a:pt x="66" y="30"/>
                  </a:cubicBezTo>
                  <a:cubicBezTo>
                    <a:pt x="65" y="31"/>
                    <a:pt x="65" y="31"/>
                    <a:pt x="65" y="32"/>
                  </a:cubicBezTo>
                  <a:cubicBezTo>
                    <a:pt x="63" y="35"/>
                    <a:pt x="60" y="34"/>
                    <a:pt x="59" y="37"/>
                  </a:cubicBezTo>
                  <a:cubicBezTo>
                    <a:pt x="59" y="39"/>
                    <a:pt x="61" y="41"/>
                    <a:pt x="60" y="42"/>
                  </a:cubicBezTo>
                  <a:cubicBezTo>
                    <a:pt x="59" y="43"/>
                    <a:pt x="57" y="44"/>
                    <a:pt x="56" y="44"/>
                  </a:cubicBezTo>
                  <a:cubicBezTo>
                    <a:pt x="55" y="45"/>
                    <a:pt x="54" y="43"/>
                    <a:pt x="53" y="44"/>
                  </a:cubicBezTo>
                  <a:cubicBezTo>
                    <a:pt x="51" y="44"/>
                    <a:pt x="50" y="43"/>
                    <a:pt x="48" y="42"/>
                  </a:cubicBezTo>
                  <a:cubicBezTo>
                    <a:pt x="47" y="41"/>
                    <a:pt x="46" y="46"/>
                    <a:pt x="45" y="47"/>
                  </a:cubicBezTo>
                  <a:cubicBezTo>
                    <a:pt x="45" y="48"/>
                    <a:pt x="44" y="50"/>
                    <a:pt x="44" y="51"/>
                  </a:cubicBezTo>
                  <a:cubicBezTo>
                    <a:pt x="44" y="53"/>
                    <a:pt x="45" y="53"/>
                    <a:pt x="45" y="54"/>
                  </a:cubicBezTo>
                  <a:cubicBezTo>
                    <a:pt x="45" y="56"/>
                    <a:pt x="39" y="54"/>
                    <a:pt x="39" y="54"/>
                  </a:cubicBezTo>
                  <a:cubicBezTo>
                    <a:pt x="37" y="55"/>
                    <a:pt x="33" y="55"/>
                    <a:pt x="32" y="56"/>
                  </a:cubicBezTo>
                  <a:cubicBezTo>
                    <a:pt x="33" y="55"/>
                    <a:pt x="34" y="62"/>
                    <a:pt x="34" y="63"/>
                  </a:cubicBezTo>
                  <a:cubicBezTo>
                    <a:pt x="35" y="64"/>
                    <a:pt x="36" y="65"/>
                    <a:pt x="37" y="66"/>
                  </a:cubicBezTo>
                  <a:cubicBezTo>
                    <a:pt x="37" y="67"/>
                    <a:pt x="34" y="69"/>
                    <a:pt x="33" y="70"/>
                  </a:cubicBezTo>
                  <a:cubicBezTo>
                    <a:pt x="32" y="71"/>
                    <a:pt x="33" y="74"/>
                    <a:pt x="32" y="74"/>
                  </a:cubicBezTo>
                  <a:cubicBezTo>
                    <a:pt x="31" y="75"/>
                    <a:pt x="29" y="75"/>
                    <a:pt x="28" y="76"/>
                  </a:cubicBezTo>
                  <a:cubicBezTo>
                    <a:pt x="26" y="77"/>
                    <a:pt x="25" y="78"/>
                    <a:pt x="24" y="79"/>
                  </a:cubicBezTo>
                  <a:cubicBezTo>
                    <a:pt x="22" y="79"/>
                    <a:pt x="21" y="79"/>
                    <a:pt x="19" y="80"/>
                  </a:cubicBezTo>
                  <a:cubicBezTo>
                    <a:pt x="17" y="80"/>
                    <a:pt x="16" y="81"/>
                    <a:pt x="15" y="83"/>
                  </a:cubicBezTo>
                  <a:cubicBezTo>
                    <a:pt x="15" y="83"/>
                    <a:pt x="11" y="84"/>
                    <a:pt x="11" y="84"/>
                  </a:cubicBezTo>
                  <a:cubicBezTo>
                    <a:pt x="11" y="84"/>
                    <a:pt x="11" y="83"/>
                    <a:pt x="11" y="83"/>
                  </a:cubicBezTo>
                  <a:cubicBezTo>
                    <a:pt x="10" y="83"/>
                    <a:pt x="9" y="83"/>
                    <a:pt x="7" y="83"/>
                  </a:cubicBezTo>
                  <a:cubicBezTo>
                    <a:pt x="6" y="83"/>
                    <a:pt x="3" y="85"/>
                    <a:pt x="3" y="86"/>
                  </a:cubicBezTo>
                  <a:cubicBezTo>
                    <a:pt x="2" y="88"/>
                    <a:pt x="1" y="90"/>
                    <a:pt x="1" y="91"/>
                  </a:cubicBezTo>
                  <a:cubicBezTo>
                    <a:pt x="0" y="93"/>
                    <a:pt x="3" y="95"/>
                    <a:pt x="4" y="95"/>
                  </a:cubicBezTo>
                  <a:cubicBezTo>
                    <a:pt x="7" y="95"/>
                    <a:pt x="6" y="95"/>
                    <a:pt x="7" y="98"/>
                  </a:cubicBezTo>
                  <a:cubicBezTo>
                    <a:pt x="7" y="99"/>
                    <a:pt x="8" y="99"/>
                    <a:pt x="8" y="101"/>
                  </a:cubicBezTo>
                  <a:cubicBezTo>
                    <a:pt x="8" y="101"/>
                    <a:pt x="7" y="103"/>
                    <a:pt x="7" y="103"/>
                  </a:cubicBezTo>
                  <a:cubicBezTo>
                    <a:pt x="9" y="104"/>
                    <a:pt x="10" y="104"/>
                    <a:pt x="11" y="105"/>
                  </a:cubicBezTo>
                  <a:cubicBezTo>
                    <a:pt x="13" y="107"/>
                    <a:pt x="12" y="109"/>
                    <a:pt x="14" y="110"/>
                  </a:cubicBezTo>
                  <a:cubicBezTo>
                    <a:pt x="16" y="111"/>
                    <a:pt x="18" y="112"/>
                    <a:pt x="20" y="113"/>
                  </a:cubicBezTo>
                  <a:cubicBezTo>
                    <a:pt x="21" y="113"/>
                    <a:pt x="22" y="112"/>
                    <a:pt x="23" y="111"/>
                  </a:cubicBezTo>
                  <a:cubicBezTo>
                    <a:pt x="26" y="109"/>
                    <a:pt x="31" y="110"/>
                    <a:pt x="33" y="113"/>
                  </a:cubicBezTo>
                  <a:cubicBezTo>
                    <a:pt x="34" y="115"/>
                    <a:pt x="32" y="116"/>
                    <a:pt x="31" y="117"/>
                  </a:cubicBezTo>
                  <a:cubicBezTo>
                    <a:pt x="30" y="118"/>
                    <a:pt x="30" y="118"/>
                    <a:pt x="30" y="119"/>
                  </a:cubicBezTo>
                  <a:cubicBezTo>
                    <a:pt x="29" y="121"/>
                    <a:pt x="28" y="121"/>
                    <a:pt x="27" y="121"/>
                  </a:cubicBezTo>
                  <a:cubicBezTo>
                    <a:pt x="24" y="123"/>
                    <a:pt x="32" y="126"/>
                    <a:pt x="29" y="128"/>
                  </a:cubicBezTo>
                  <a:cubicBezTo>
                    <a:pt x="28" y="130"/>
                    <a:pt x="27" y="129"/>
                    <a:pt x="25" y="129"/>
                  </a:cubicBezTo>
                  <a:cubicBezTo>
                    <a:pt x="21" y="128"/>
                    <a:pt x="26" y="132"/>
                    <a:pt x="26" y="132"/>
                  </a:cubicBezTo>
                  <a:cubicBezTo>
                    <a:pt x="26" y="134"/>
                    <a:pt x="25" y="135"/>
                    <a:pt x="27" y="135"/>
                  </a:cubicBezTo>
                  <a:cubicBezTo>
                    <a:pt x="29" y="136"/>
                    <a:pt x="29" y="137"/>
                    <a:pt x="31" y="138"/>
                  </a:cubicBezTo>
                  <a:cubicBezTo>
                    <a:pt x="33" y="138"/>
                    <a:pt x="34" y="140"/>
                    <a:pt x="36" y="141"/>
                  </a:cubicBezTo>
                  <a:cubicBezTo>
                    <a:pt x="36" y="141"/>
                    <a:pt x="37" y="142"/>
                    <a:pt x="38" y="142"/>
                  </a:cubicBezTo>
                  <a:cubicBezTo>
                    <a:pt x="39" y="142"/>
                    <a:pt x="38" y="140"/>
                    <a:pt x="40" y="140"/>
                  </a:cubicBezTo>
                  <a:cubicBezTo>
                    <a:pt x="44" y="140"/>
                    <a:pt x="46" y="147"/>
                    <a:pt x="50" y="147"/>
                  </a:cubicBezTo>
                  <a:cubicBezTo>
                    <a:pt x="52" y="147"/>
                    <a:pt x="52" y="150"/>
                    <a:pt x="54" y="150"/>
                  </a:cubicBezTo>
                  <a:cubicBezTo>
                    <a:pt x="56" y="151"/>
                    <a:pt x="57" y="153"/>
                    <a:pt x="58" y="153"/>
                  </a:cubicBezTo>
                  <a:cubicBezTo>
                    <a:pt x="60" y="151"/>
                    <a:pt x="60" y="154"/>
                    <a:pt x="62" y="154"/>
                  </a:cubicBezTo>
                  <a:cubicBezTo>
                    <a:pt x="63" y="154"/>
                    <a:pt x="63" y="153"/>
                    <a:pt x="64" y="153"/>
                  </a:cubicBezTo>
                  <a:cubicBezTo>
                    <a:pt x="65" y="153"/>
                    <a:pt x="65" y="154"/>
                    <a:pt x="66" y="155"/>
                  </a:cubicBezTo>
                  <a:cubicBezTo>
                    <a:pt x="68" y="155"/>
                    <a:pt x="70" y="155"/>
                    <a:pt x="72" y="154"/>
                  </a:cubicBezTo>
                  <a:cubicBezTo>
                    <a:pt x="75" y="153"/>
                    <a:pt x="73" y="155"/>
                    <a:pt x="74" y="156"/>
                  </a:cubicBezTo>
                  <a:cubicBezTo>
                    <a:pt x="74" y="156"/>
                    <a:pt x="76" y="153"/>
                    <a:pt x="77" y="153"/>
                  </a:cubicBezTo>
                  <a:cubicBezTo>
                    <a:pt x="78" y="152"/>
                    <a:pt x="80" y="152"/>
                    <a:pt x="81" y="153"/>
                  </a:cubicBezTo>
                  <a:cubicBezTo>
                    <a:pt x="83" y="155"/>
                    <a:pt x="85" y="153"/>
                    <a:pt x="87" y="154"/>
                  </a:cubicBezTo>
                  <a:cubicBezTo>
                    <a:pt x="89" y="155"/>
                    <a:pt x="91" y="153"/>
                    <a:pt x="92" y="151"/>
                  </a:cubicBezTo>
                  <a:cubicBezTo>
                    <a:pt x="93" y="151"/>
                    <a:pt x="93" y="150"/>
                    <a:pt x="94" y="150"/>
                  </a:cubicBezTo>
                  <a:cubicBezTo>
                    <a:pt x="95" y="149"/>
                    <a:pt x="96" y="150"/>
                    <a:pt x="97" y="149"/>
                  </a:cubicBezTo>
                  <a:cubicBezTo>
                    <a:pt x="98" y="148"/>
                    <a:pt x="99" y="146"/>
                    <a:pt x="101" y="147"/>
                  </a:cubicBezTo>
                  <a:cubicBezTo>
                    <a:pt x="103" y="148"/>
                    <a:pt x="103" y="148"/>
                    <a:pt x="106" y="146"/>
                  </a:cubicBezTo>
                  <a:cubicBezTo>
                    <a:pt x="107" y="145"/>
                    <a:pt x="109" y="148"/>
                    <a:pt x="109" y="149"/>
                  </a:cubicBezTo>
                  <a:cubicBezTo>
                    <a:pt x="108" y="151"/>
                    <a:pt x="106" y="152"/>
                    <a:pt x="108" y="152"/>
                  </a:cubicBezTo>
                  <a:cubicBezTo>
                    <a:pt x="111" y="152"/>
                    <a:pt x="111" y="152"/>
                    <a:pt x="114" y="151"/>
                  </a:cubicBezTo>
                  <a:cubicBezTo>
                    <a:pt x="115" y="151"/>
                    <a:pt x="116" y="154"/>
                    <a:pt x="116" y="155"/>
                  </a:cubicBezTo>
                  <a:cubicBezTo>
                    <a:pt x="116" y="155"/>
                    <a:pt x="116" y="157"/>
                    <a:pt x="117" y="156"/>
                  </a:cubicBezTo>
                  <a:cubicBezTo>
                    <a:pt x="117" y="156"/>
                    <a:pt x="119" y="156"/>
                    <a:pt x="119" y="157"/>
                  </a:cubicBezTo>
                  <a:cubicBezTo>
                    <a:pt x="119" y="158"/>
                    <a:pt x="117" y="159"/>
                    <a:pt x="118" y="160"/>
                  </a:cubicBezTo>
                  <a:cubicBezTo>
                    <a:pt x="119" y="162"/>
                    <a:pt x="118" y="165"/>
                    <a:pt x="117" y="166"/>
                  </a:cubicBezTo>
                  <a:cubicBezTo>
                    <a:pt x="116" y="168"/>
                    <a:pt x="114" y="169"/>
                    <a:pt x="113" y="170"/>
                  </a:cubicBezTo>
                  <a:cubicBezTo>
                    <a:pt x="113" y="171"/>
                    <a:pt x="113" y="176"/>
                    <a:pt x="112" y="175"/>
                  </a:cubicBezTo>
                  <a:cubicBezTo>
                    <a:pt x="113" y="176"/>
                    <a:pt x="119" y="173"/>
                    <a:pt x="120" y="175"/>
                  </a:cubicBezTo>
                  <a:cubicBezTo>
                    <a:pt x="120" y="175"/>
                    <a:pt x="118" y="176"/>
                    <a:pt x="119" y="178"/>
                  </a:cubicBezTo>
                  <a:cubicBezTo>
                    <a:pt x="120" y="180"/>
                    <a:pt x="123" y="180"/>
                    <a:pt x="122" y="181"/>
                  </a:cubicBezTo>
                  <a:cubicBezTo>
                    <a:pt x="122" y="182"/>
                    <a:pt x="121" y="184"/>
                    <a:pt x="121" y="185"/>
                  </a:cubicBezTo>
                  <a:cubicBezTo>
                    <a:pt x="122" y="186"/>
                    <a:pt x="125" y="185"/>
                    <a:pt x="125" y="186"/>
                  </a:cubicBezTo>
                  <a:cubicBezTo>
                    <a:pt x="125" y="186"/>
                    <a:pt x="125" y="187"/>
                    <a:pt x="125" y="187"/>
                  </a:cubicBezTo>
                  <a:cubicBezTo>
                    <a:pt x="125" y="189"/>
                    <a:pt x="126" y="188"/>
                    <a:pt x="127" y="188"/>
                  </a:cubicBezTo>
                  <a:cubicBezTo>
                    <a:pt x="128" y="188"/>
                    <a:pt x="129" y="187"/>
                    <a:pt x="130" y="188"/>
                  </a:cubicBezTo>
                  <a:cubicBezTo>
                    <a:pt x="131" y="188"/>
                    <a:pt x="132" y="189"/>
                    <a:pt x="133" y="190"/>
                  </a:cubicBezTo>
                  <a:cubicBezTo>
                    <a:pt x="135" y="191"/>
                    <a:pt x="134" y="187"/>
                    <a:pt x="134" y="186"/>
                  </a:cubicBezTo>
                  <a:cubicBezTo>
                    <a:pt x="132" y="182"/>
                    <a:pt x="134" y="184"/>
                    <a:pt x="136" y="182"/>
                  </a:cubicBezTo>
                  <a:cubicBezTo>
                    <a:pt x="138" y="181"/>
                    <a:pt x="137" y="182"/>
                    <a:pt x="139" y="183"/>
                  </a:cubicBezTo>
                  <a:cubicBezTo>
                    <a:pt x="139" y="183"/>
                    <a:pt x="141" y="182"/>
                    <a:pt x="141" y="182"/>
                  </a:cubicBezTo>
                  <a:cubicBezTo>
                    <a:pt x="141" y="183"/>
                    <a:pt x="143" y="181"/>
                    <a:pt x="143" y="182"/>
                  </a:cubicBezTo>
                  <a:cubicBezTo>
                    <a:pt x="144" y="183"/>
                    <a:pt x="144" y="184"/>
                    <a:pt x="146" y="182"/>
                  </a:cubicBezTo>
                  <a:cubicBezTo>
                    <a:pt x="147" y="181"/>
                    <a:pt x="147" y="182"/>
                    <a:pt x="148" y="181"/>
                  </a:cubicBezTo>
                  <a:cubicBezTo>
                    <a:pt x="149" y="180"/>
                    <a:pt x="149" y="178"/>
                    <a:pt x="151" y="178"/>
                  </a:cubicBezTo>
                  <a:cubicBezTo>
                    <a:pt x="152" y="178"/>
                    <a:pt x="153" y="180"/>
                    <a:pt x="155" y="180"/>
                  </a:cubicBezTo>
                  <a:cubicBezTo>
                    <a:pt x="155" y="180"/>
                    <a:pt x="159" y="181"/>
                    <a:pt x="159" y="181"/>
                  </a:cubicBezTo>
                  <a:cubicBezTo>
                    <a:pt x="159" y="182"/>
                    <a:pt x="157" y="183"/>
                    <a:pt x="157" y="184"/>
                  </a:cubicBezTo>
                  <a:cubicBezTo>
                    <a:pt x="158" y="185"/>
                    <a:pt x="160" y="186"/>
                    <a:pt x="161" y="187"/>
                  </a:cubicBezTo>
                  <a:cubicBezTo>
                    <a:pt x="163" y="188"/>
                    <a:pt x="167" y="189"/>
                    <a:pt x="168" y="186"/>
                  </a:cubicBezTo>
                  <a:cubicBezTo>
                    <a:pt x="168" y="186"/>
                    <a:pt x="170" y="188"/>
                    <a:pt x="170" y="188"/>
                  </a:cubicBezTo>
                  <a:cubicBezTo>
                    <a:pt x="171" y="189"/>
                    <a:pt x="172" y="187"/>
                    <a:pt x="174" y="188"/>
                  </a:cubicBezTo>
                  <a:cubicBezTo>
                    <a:pt x="175" y="189"/>
                    <a:pt x="173" y="190"/>
                    <a:pt x="173" y="191"/>
                  </a:cubicBezTo>
                  <a:cubicBezTo>
                    <a:pt x="173" y="192"/>
                    <a:pt x="175" y="194"/>
                    <a:pt x="175" y="195"/>
                  </a:cubicBezTo>
                  <a:cubicBezTo>
                    <a:pt x="176" y="195"/>
                    <a:pt x="177" y="194"/>
                    <a:pt x="178" y="194"/>
                  </a:cubicBezTo>
                  <a:cubicBezTo>
                    <a:pt x="178" y="193"/>
                    <a:pt x="175" y="192"/>
                    <a:pt x="176" y="191"/>
                  </a:cubicBezTo>
                  <a:cubicBezTo>
                    <a:pt x="178" y="188"/>
                    <a:pt x="180" y="188"/>
                    <a:pt x="183" y="187"/>
                  </a:cubicBezTo>
                  <a:cubicBezTo>
                    <a:pt x="185" y="186"/>
                    <a:pt x="187" y="186"/>
                    <a:pt x="189" y="186"/>
                  </a:cubicBezTo>
                  <a:cubicBezTo>
                    <a:pt x="190" y="186"/>
                    <a:pt x="190" y="184"/>
                    <a:pt x="191" y="184"/>
                  </a:cubicBezTo>
                  <a:cubicBezTo>
                    <a:pt x="193" y="184"/>
                    <a:pt x="192" y="183"/>
                    <a:pt x="192" y="182"/>
                  </a:cubicBezTo>
                  <a:cubicBezTo>
                    <a:pt x="192" y="183"/>
                    <a:pt x="196" y="182"/>
                    <a:pt x="196" y="182"/>
                  </a:cubicBezTo>
                  <a:cubicBezTo>
                    <a:pt x="198" y="181"/>
                    <a:pt x="200" y="182"/>
                    <a:pt x="202" y="182"/>
                  </a:cubicBezTo>
                  <a:cubicBezTo>
                    <a:pt x="204" y="182"/>
                    <a:pt x="205" y="181"/>
                    <a:pt x="207" y="180"/>
                  </a:cubicBezTo>
                  <a:cubicBezTo>
                    <a:pt x="208" y="180"/>
                    <a:pt x="208" y="177"/>
                    <a:pt x="209" y="177"/>
                  </a:cubicBezTo>
                  <a:cubicBezTo>
                    <a:pt x="211" y="177"/>
                    <a:pt x="212" y="176"/>
                    <a:pt x="213" y="175"/>
                  </a:cubicBezTo>
                  <a:cubicBezTo>
                    <a:pt x="214" y="175"/>
                    <a:pt x="215" y="174"/>
                    <a:pt x="215" y="173"/>
                  </a:cubicBezTo>
                  <a:cubicBezTo>
                    <a:pt x="214" y="173"/>
                    <a:pt x="218" y="172"/>
                    <a:pt x="218" y="172"/>
                  </a:cubicBezTo>
                  <a:cubicBezTo>
                    <a:pt x="219" y="171"/>
                    <a:pt x="220" y="169"/>
                    <a:pt x="221" y="168"/>
                  </a:cubicBezTo>
                  <a:cubicBezTo>
                    <a:pt x="222" y="167"/>
                    <a:pt x="222" y="167"/>
                    <a:pt x="222" y="166"/>
                  </a:cubicBezTo>
                  <a:cubicBezTo>
                    <a:pt x="223" y="164"/>
                    <a:pt x="221" y="165"/>
                    <a:pt x="221" y="164"/>
                  </a:cubicBezTo>
                  <a:cubicBezTo>
                    <a:pt x="221" y="164"/>
                    <a:pt x="226" y="164"/>
                    <a:pt x="223" y="162"/>
                  </a:cubicBezTo>
                  <a:cubicBezTo>
                    <a:pt x="222" y="161"/>
                    <a:pt x="223" y="161"/>
                    <a:pt x="224" y="161"/>
                  </a:cubicBezTo>
                  <a:cubicBezTo>
                    <a:pt x="225" y="161"/>
                    <a:pt x="225" y="160"/>
                    <a:pt x="226" y="159"/>
                  </a:cubicBezTo>
                  <a:cubicBezTo>
                    <a:pt x="227" y="158"/>
                    <a:pt x="227" y="157"/>
                    <a:pt x="228" y="156"/>
                  </a:cubicBezTo>
                  <a:cubicBezTo>
                    <a:pt x="228" y="156"/>
                    <a:pt x="228" y="154"/>
                    <a:pt x="228" y="154"/>
                  </a:cubicBezTo>
                  <a:cubicBezTo>
                    <a:pt x="229" y="153"/>
                    <a:pt x="230" y="153"/>
                    <a:pt x="231" y="152"/>
                  </a:cubicBezTo>
                  <a:cubicBezTo>
                    <a:pt x="232" y="151"/>
                    <a:pt x="231" y="150"/>
                    <a:pt x="231" y="150"/>
                  </a:cubicBezTo>
                  <a:cubicBezTo>
                    <a:pt x="231" y="149"/>
                    <a:pt x="232" y="149"/>
                    <a:pt x="232" y="149"/>
                  </a:cubicBezTo>
                  <a:cubicBezTo>
                    <a:pt x="233" y="149"/>
                    <a:pt x="232" y="147"/>
                    <a:pt x="232" y="147"/>
                  </a:cubicBezTo>
                  <a:cubicBezTo>
                    <a:pt x="232" y="147"/>
                    <a:pt x="234" y="148"/>
                    <a:pt x="234" y="147"/>
                  </a:cubicBezTo>
                  <a:cubicBezTo>
                    <a:pt x="236" y="146"/>
                    <a:pt x="234" y="146"/>
                    <a:pt x="233" y="145"/>
                  </a:cubicBezTo>
                  <a:cubicBezTo>
                    <a:pt x="233" y="145"/>
                    <a:pt x="236" y="143"/>
                    <a:pt x="236" y="143"/>
                  </a:cubicBezTo>
                  <a:cubicBezTo>
                    <a:pt x="235" y="145"/>
                    <a:pt x="232" y="142"/>
                    <a:pt x="231" y="141"/>
                  </a:cubicBezTo>
                  <a:cubicBezTo>
                    <a:pt x="231" y="141"/>
                    <a:pt x="230" y="142"/>
                    <a:pt x="229" y="142"/>
                  </a:cubicBezTo>
                  <a:cubicBezTo>
                    <a:pt x="228" y="143"/>
                    <a:pt x="227" y="141"/>
                    <a:pt x="226" y="142"/>
                  </a:cubicBezTo>
                  <a:cubicBezTo>
                    <a:pt x="228" y="141"/>
                    <a:pt x="230" y="140"/>
                    <a:pt x="231" y="139"/>
                  </a:cubicBezTo>
                  <a:cubicBezTo>
                    <a:pt x="232" y="138"/>
                    <a:pt x="235" y="138"/>
                    <a:pt x="233" y="136"/>
                  </a:cubicBezTo>
                  <a:cubicBezTo>
                    <a:pt x="231" y="135"/>
                    <a:pt x="230" y="134"/>
                    <a:pt x="228" y="132"/>
                  </a:cubicBezTo>
                  <a:cubicBezTo>
                    <a:pt x="228" y="131"/>
                    <a:pt x="223" y="133"/>
                    <a:pt x="223" y="130"/>
                  </a:cubicBezTo>
                  <a:cubicBezTo>
                    <a:pt x="223" y="132"/>
                    <a:pt x="228" y="132"/>
                    <a:pt x="229" y="132"/>
                  </a:cubicBezTo>
                  <a:cubicBezTo>
                    <a:pt x="230" y="132"/>
                    <a:pt x="233" y="135"/>
                    <a:pt x="234" y="133"/>
                  </a:cubicBezTo>
                  <a:cubicBezTo>
                    <a:pt x="235" y="131"/>
                    <a:pt x="229" y="129"/>
                    <a:pt x="229" y="127"/>
                  </a:cubicBezTo>
                  <a:cubicBezTo>
                    <a:pt x="228" y="125"/>
                    <a:pt x="228" y="121"/>
                    <a:pt x="226" y="120"/>
                  </a:cubicBezTo>
                  <a:cubicBezTo>
                    <a:pt x="225" y="118"/>
                    <a:pt x="219" y="118"/>
                    <a:pt x="221" y="115"/>
                  </a:cubicBezTo>
                  <a:cubicBezTo>
                    <a:pt x="222" y="113"/>
                    <a:pt x="223" y="112"/>
                    <a:pt x="224" y="111"/>
                  </a:cubicBezTo>
                  <a:cubicBezTo>
                    <a:pt x="226" y="109"/>
                    <a:pt x="224" y="110"/>
                    <a:pt x="225" y="109"/>
                  </a:cubicBezTo>
                  <a:cubicBezTo>
                    <a:pt x="225" y="108"/>
                    <a:pt x="228" y="109"/>
                    <a:pt x="228" y="109"/>
                  </a:cubicBezTo>
                  <a:cubicBezTo>
                    <a:pt x="229" y="108"/>
                    <a:pt x="227" y="107"/>
                    <a:pt x="229" y="106"/>
                  </a:cubicBezTo>
                  <a:cubicBezTo>
                    <a:pt x="231" y="106"/>
                    <a:pt x="232" y="105"/>
                    <a:pt x="233" y="104"/>
                  </a:cubicBezTo>
                  <a:cubicBezTo>
                    <a:pt x="234" y="104"/>
                    <a:pt x="235" y="104"/>
                    <a:pt x="235" y="104"/>
                  </a:cubicBezTo>
                  <a:cubicBezTo>
                    <a:pt x="236" y="104"/>
                    <a:pt x="235" y="105"/>
                    <a:pt x="236" y="105"/>
                  </a:cubicBezTo>
                  <a:cubicBezTo>
                    <a:pt x="237" y="106"/>
                    <a:pt x="238" y="103"/>
                    <a:pt x="238" y="102"/>
                  </a:cubicBezTo>
                  <a:cubicBezTo>
                    <a:pt x="236" y="100"/>
                    <a:pt x="234" y="101"/>
                    <a:pt x="233" y="101"/>
                  </a:cubicBezTo>
                  <a:cubicBezTo>
                    <a:pt x="231" y="101"/>
                    <a:pt x="230" y="99"/>
                    <a:pt x="228" y="100"/>
                  </a:cubicBezTo>
                  <a:cubicBezTo>
                    <a:pt x="227" y="100"/>
                    <a:pt x="226" y="102"/>
                    <a:pt x="224" y="102"/>
                  </a:cubicBezTo>
                  <a:cubicBezTo>
                    <a:pt x="223" y="103"/>
                    <a:pt x="221" y="103"/>
                    <a:pt x="220" y="102"/>
                  </a:cubicBezTo>
                  <a:cubicBezTo>
                    <a:pt x="219" y="101"/>
                    <a:pt x="221" y="99"/>
                    <a:pt x="220" y="98"/>
                  </a:cubicBezTo>
                  <a:cubicBezTo>
                    <a:pt x="218" y="97"/>
                    <a:pt x="210" y="97"/>
                    <a:pt x="213" y="92"/>
                  </a:cubicBezTo>
                  <a:cubicBezTo>
                    <a:pt x="214" y="91"/>
                    <a:pt x="215" y="92"/>
                    <a:pt x="217" y="92"/>
                  </a:cubicBezTo>
                  <a:cubicBezTo>
                    <a:pt x="218" y="92"/>
                    <a:pt x="220" y="91"/>
                    <a:pt x="221" y="90"/>
                  </a:cubicBezTo>
                  <a:cubicBezTo>
                    <a:pt x="223" y="87"/>
                    <a:pt x="226" y="85"/>
                    <a:pt x="229" y="83"/>
                  </a:cubicBezTo>
                  <a:cubicBezTo>
                    <a:pt x="230" y="81"/>
                    <a:pt x="231" y="81"/>
                    <a:pt x="233" y="81"/>
                  </a:cubicBezTo>
                  <a:cubicBezTo>
                    <a:pt x="233" y="82"/>
                    <a:pt x="236" y="82"/>
                    <a:pt x="236" y="83"/>
                  </a:cubicBezTo>
                  <a:cubicBezTo>
                    <a:pt x="235" y="84"/>
                    <a:pt x="235" y="86"/>
                    <a:pt x="234" y="87"/>
                  </a:cubicBezTo>
                  <a:cubicBezTo>
                    <a:pt x="233" y="87"/>
                    <a:pt x="231" y="88"/>
                    <a:pt x="231" y="89"/>
                  </a:cubicBezTo>
                  <a:cubicBezTo>
                    <a:pt x="231" y="90"/>
                    <a:pt x="234" y="90"/>
                    <a:pt x="234" y="90"/>
                  </a:cubicBezTo>
                  <a:cubicBezTo>
                    <a:pt x="234" y="90"/>
                    <a:pt x="230" y="93"/>
                    <a:pt x="231" y="93"/>
                  </a:cubicBezTo>
                  <a:cubicBezTo>
                    <a:pt x="232" y="94"/>
                    <a:pt x="237" y="89"/>
                    <a:pt x="238" y="89"/>
                  </a:cubicBezTo>
                  <a:cubicBezTo>
                    <a:pt x="240" y="88"/>
                    <a:pt x="242" y="87"/>
                    <a:pt x="244" y="87"/>
                  </a:cubicBezTo>
                  <a:cubicBezTo>
                    <a:pt x="246" y="87"/>
                    <a:pt x="246" y="87"/>
                    <a:pt x="247" y="85"/>
                  </a:cubicBezTo>
                  <a:cubicBezTo>
                    <a:pt x="249" y="84"/>
                    <a:pt x="252" y="83"/>
                    <a:pt x="254" y="81"/>
                  </a:cubicBezTo>
                  <a:cubicBezTo>
                    <a:pt x="255" y="80"/>
                    <a:pt x="257" y="77"/>
                    <a:pt x="259" y="77"/>
                  </a:cubicBezTo>
                  <a:cubicBezTo>
                    <a:pt x="260" y="76"/>
                    <a:pt x="266" y="80"/>
                    <a:pt x="266" y="77"/>
                  </a:cubicBezTo>
                  <a:cubicBezTo>
                    <a:pt x="266" y="76"/>
                    <a:pt x="265" y="75"/>
                    <a:pt x="266" y="74"/>
                  </a:cubicBezTo>
                  <a:cubicBezTo>
                    <a:pt x="267" y="74"/>
                    <a:pt x="268" y="74"/>
                    <a:pt x="269" y="74"/>
                  </a:cubicBezTo>
                  <a:cubicBezTo>
                    <a:pt x="271" y="74"/>
                    <a:pt x="270" y="73"/>
                    <a:pt x="271" y="72"/>
                  </a:cubicBezTo>
                  <a:cubicBezTo>
                    <a:pt x="273" y="71"/>
                    <a:pt x="274" y="72"/>
                    <a:pt x="274" y="70"/>
                  </a:cubicBezTo>
                  <a:cubicBezTo>
                    <a:pt x="274" y="67"/>
                    <a:pt x="277" y="70"/>
                    <a:pt x="278" y="71"/>
                  </a:cubicBezTo>
                  <a:cubicBezTo>
                    <a:pt x="278" y="69"/>
                    <a:pt x="281" y="69"/>
                    <a:pt x="281" y="67"/>
                  </a:cubicBezTo>
                  <a:cubicBezTo>
                    <a:pt x="281" y="65"/>
                    <a:pt x="282" y="62"/>
                    <a:pt x="281" y="60"/>
                  </a:cubicBezTo>
                  <a:cubicBezTo>
                    <a:pt x="279" y="57"/>
                    <a:pt x="280" y="58"/>
                    <a:pt x="282" y="56"/>
                  </a:cubicBezTo>
                  <a:cubicBezTo>
                    <a:pt x="284" y="55"/>
                    <a:pt x="285" y="54"/>
                    <a:pt x="287" y="55"/>
                  </a:cubicBezTo>
                  <a:cubicBezTo>
                    <a:pt x="290" y="56"/>
                    <a:pt x="290" y="56"/>
                    <a:pt x="291" y="53"/>
                  </a:cubicBezTo>
                  <a:cubicBezTo>
                    <a:pt x="292" y="51"/>
                    <a:pt x="294" y="50"/>
                    <a:pt x="295" y="47"/>
                  </a:cubicBezTo>
                  <a:cubicBezTo>
                    <a:pt x="295" y="45"/>
                    <a:pt x="296" y="43"/>
                    <a:pt x="298" y="41"/>
                  </a:cubicBezTo>
                  <a:cubicBezTo>
                    <a:pt x="300" y="39"/>
                    <a:pt x="298" y="39"/>
                    <a:pt x="298" y="3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15" name="Freeform 716">
              <a:extLst>
                <a:ext uri="{FF2B5EF4-FFF2-40B4-BE49-F238E27FC236}">
                  <a16:creationId xmlns:a16="http://schemas.microsoft.com/office/drawing/2014/main" id="{A8D65363-0313-CF9B-73FE-0E6259C62604}"/>
                </a:ext>
              </a:extLst>
            </p:cNvPr>
            <p:cNvSpPr>
              <a:spLocks/>
            </p:cNvSpPr>
            <p:nvPr/>
          </p:nvSpPr>
          <p:spPr bwMode="auto">
            <a:xfrm>
              <a:off x="8101526" y="2727341"/>
              <a:ext cx="822596" cy="378471"/>
            </a:xfrm>
            <a:custGeom>
              <a:avLst/>
              <a:gdLst>
                <a:gd name="T0" fmla="*/ 0 w 157"/>
                <a:gd name="T1" fmla="*/ 19 h 68"/>
                <a:gd name="T2" fmla="*/ 7 w 157"/>
                <a:gd name="T3" fmla="*/ 26 h 68"/>
                <a:gd name="T4" fmla="*/ 12 w 157"/>
                <a:gd name="T5" fmla="*/ 29 h 68"/>
                <a:gd name="T6" fmla="*/ 15 w 157"/>
                <a:gd name="T7" fmla="*/ 36 h 68"/>
                <a:gd name="T8" fmla="*/ 15 w 157"/>
                <a:gd name="T9" fmla="*/ 38 h 68"/>
                <a:gd name="T10" fmla="*/ 15 w 157"/>
                <a:gd name="T11" fmla="*/ 40 h 68"/>
                <a:gd name="T12" fmla="*/ 16 w 157"/>
                <a:gd name="T13" fmla="*/ 45 h 68"/>
                <a:gd name="T14" fmla="*/ 28 w 157"/>
                <a:gd name="T15" fmla="*/ 47 h 68"/>
                <a:gd name="T16" fmla="*/ 36 w 157"/>
                <a:gd name="T17" fmla="*/ 54 h 68"/>
                <a:gd name="T18" fmla="*/ 39 w 157"/>
                <a:gd name="T19" fmla="*/ 59 h 68"/>
                <a:gd name="T20" fmla="*/ 44 w 157"/>
                <a:gd name="T21" fmla="*/ 60 h 68"/>
                <a:gd name="T22" fmla="*/ 56 w 157"/>
                <a:gd name="T23" fmla="*/ 60 h 68"/>
                <a:gd name="T24" fmla="*/ 64 w 157"/>
                <a:gd name="T25" fmla="*/ 61 h 68"/>
                <a:gd name="T26" fmla="*/ 69 w 157"/>
                <a:gd name="T27" fmla="*/ 64 h 68"/>
                <a:gd name="T28" fmla="*/ 76 w 157"/>
                <a:gd name="T29" fmla="*/ 66 h 68"/>
                <a:gd name="T30" fmla="*/ 81 w 157"/>
                <a:gd name="T31" fmla="*/ 67 h 68"/>
                <a:gd name="T32" fmla="*/ 93 w 157"/>
                <a:gd name="T33" fmla="*/ 62 h 68"/>
                <a:gd name="T34" fmla="*/ 106 w 157"/>
                <a:gd name="T35" fmla="*/ 61 h 68"/>
                <a:gd name="T36" fmla="*/ 113 w 157"/>
                <a:gd name="T37" fmla="*/ 55 h 68"/>
                <a:gd name="T38" fmla="*/ 114 w 157"/>
                <a:gd name="T39" fmla="*/ 51 h 68"/>
                <a:gd name="T40" fmla="*/ 115 w 157"/>
                <a:gd name="T41" fmla="*/ 47 h 68"/>
                <a:gd name="T42" fmla="*/ 126 w 157"/>
                <a:gd name="T43" fmla="*/ 46 h 68"/>
                <a:gd name="T44" fmla="*/ 130 w 157"/>
                <a:gd name="T45" fmla="*/ 44 h 68"/>
                <a:gd name="T46" fmla="*/ 137 w 157"/>
                <a:gd name="T47" fmla="*/ 42 h 68"/>
                <a:gd name="T48" fmla="*/ 139 w 157"/>
                <a:gd name="T49" fmla="*/ 38 h 68"/>
                <a:gd name="T50" fmla="*/ 143 w 157"/>
                <a:gd name="T51" fmla="*/ 37 h 68"/>
                <a:gd name="T52" fmla="*/ 154 w 157"/>
                <a:gd name="T53" fmla="*/ 36 h 68"/>
                <a:gd name="T54" fmla="*/ 150 w 157"/>
                <a:gd name="T55" fmla="*/ 29 h 68"/>
                <a:gd name="T56" fmla="*/ 145 w 157"/>
                <a:gd name="T57" fmla="*/ 28 h 68"/>
                <a:gd name="T58" fmla="*/ 141 w 157"/>
                <a:gd name="T59" fmla="*/ 29 h 68"/>
                <a:gd name="T60" fmla="*/ 136 w 157"/>
                <a:gd name="T61" fmla="*/ 28 h 68"/>
                <a:gd name="T62" fmla="*/ 134 w 157"/>
                <a:gd name="T63" fmla="*/ 27 h 68"/>
                <a:gd name="T64" fmla="*/ 137 w 157"/>
                <a:gd name="T65" fmla="*/ 19 h 68"/>
                <a:gd name="T66" fmla="*/ 137 w 157"/>
                <a:gd name="T67" fmla="*/ 14 h 68"/>
                <a:gd name="T68" fmla="*/ 131 w 157"/>
                <a:gd name="T69" fmla="*/ 14 h 68"/>
                <a:gd name="T70" fmla="*/ 124 w 157"/>
                <a:gd name="T71" fmla="*/ 15 h 68"/>
                <a:gd name="T72" fmla="*/ 114 w 157"/>
                <a:gd name="T73" fmla="*/ 19 h 68"/>
                <a:gd name="T74" fmla="*/ 103 w 157"/>
                <a:gd name="T75" fmla="*/ 19 h 68"/>
                <a:gd name="T76" fmla="*/ 98 w 157"/>
                <a:gd name="T77" fmla="*/ 17 h 68"/>
                <a:gd name="T78" fmla="*/ 94 w 157"/>
                <a:gd name="T79" fmla="*/ 15 h 68"/>
                <a:gd name="T80" fmla="*/ 83 w 157"/>
                <a:gd name="T81" fmla="*/ 11 h 68"/>
                <a:gd name="T82" fmla="*/ 77 w 157"/>
                <a:gd name="T83" fmla="*/ 13 h 68"/>
                <a:gd name="T84" fmla="*/ 71 w 157"/>
                <a:gd name="T85" fmla="*/ 12 h 68"/>
                <a:gd name="T86" fmla="*/ 68 w 157"/>
                <a:gd name="T87" fmla="*/ 8 h 68"/>
                <a:gd name="T88" fmla="*/ 64 w 157"/>
                <a:gd name="T89" fmla="*/ 5 h 68"/>
                <a:gd name="T90" fmla="*/ 58 w 157"/>
                <a:gd name="T91" fmla="*/ 3 h 68"/>
                <a:gd name="T92" fmla="*/ 52 w 157"/>
                <a:gd name="T93" fmla="*/ 1 h 68"/>
                <a:gd name="T94" fmla="*/ 45 w 157"/>
                <a:gd name="T95" fmla="*/ 7 h 68"/>
                <a:gd name="T96" fmla="*/ 47 w 157"/>
                <a:gd name="T97" fmla="*/ 13 h 68"/>
                <a:gd name="T98" fmla="*/ 41 w 157"/>
                <a:gd name="T99" fmla="*/ 15 h 68"/>
                <a:gd name="T100" fmla="*/ 37 w 157"/>
                <a:gd name="T101" fmla="*/ 14 h 68"/>
                <a:gd name="T102" fmla="*/ 34 w 157"/>
                <a:gd name="T103" fmla="*/ 14 h 68"/>
                <a:gd name="T104" fmla="*/ 28 w 157"/>
                <a:gd name="T105" fmla="*/ 10 h 68"/>
                <a:gd name="T106" fmla="*/ 21 w 157"/>
                <a:gd name="T107" fmla="*/ 9 h 68"/>
                <a:gd name="T108" fmla="*/ 13 w 157"/>
                <a:gd name="T109" fmla="*/ 13 h 68"/>
                <a:gd name="T110" fmla="*/ 7 w 157"/>
                <a:gd name="T111" fmla="*/ 17 h 68"/>
                <a:gd name="T112" fmla="*/ 0 w 157"/>
                <a:gd name="T113" fmla="*/ 19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7" h="68">
                  <a:moveTo>
                    <a:pt x="0" y="19"/>
                  </a:moveTo>
                  <a:cubicBezTo>
                    <a:pt x="1" y="23"/>
                    <a:pt x="3" y="25"/>
                    <a:pt x="7" y="26"/>
                  </a:cubicBezTo>
                  <a:cubicBezTo>
                    <a:pt x="9" y="27"/>
                    <a:pt x="10" y="28"/>
                    <a:pt x="12" y="29"/>
                  </a:cubicBezTo>
                  <a:cubicBezTo>
                    <a:pt x="13" y="31"/>
                    <a:pt x="14" y="34"/>
                    <a:pt x="15" y="36"/>
                  </a:cubicBezTo>
                  <a:cubicBezTo>
                    <a:pt x="16" y="37"/>
                    <a:pt x="15" y="37"/>
                    <a:pt x="15" y="38"/>
                  </a:cubicBezTo>
                  <a:cubicBezTo>
                    <a:pt x="14" y="38"/>
                    <a:pt x="15" y="39"/>
                    <a:pt x="15" y="40"/>
                  </a:cubicBezTo>
                  <a:cubicBezTo>
                    <a:pt x="14" y="43"/>
                    <a:pt x="13" y="43"/>
                    <a:pt x="16" y="45"/>
                  </a:cubicBezTo>
                  <a:cubicBezTo>
                    <a:pt x="20" y="46"/>
                    <a:pt x="24" y="45"/>
                    <a:pt x="28" y="47"/>
                  </a:cubicBezTo>
                  <a:cubicBezTo>
                    <a:pt x="30" y="49"/>
                    <a:pt x="34" y="52"/>
                    <a:pt x="36" y="54"/>
                  </a:cubicBezTo>
                  <a:cubicBezTo>
                    <a:pt x="37" y="55"/>
                    <a:pt x="38" y="57"/>
                    <a:pt x="39" y="59"/>
                  </a:cubicBezTo>
                  <a:cubicBezTo>
                    <a:pt x="40" y="61"/>
                    <a:pt x="43" y="60"/>
                    <a:pt x="44" y="60"/>
                  </a:cubicBezTo>
                  <a:cubicBezTo>
                    <a:pt x="48" y="60"/>
                    <a:pt x="52" y="60"/>
                    <a:pt x="56" y="60"/>
                  </a:cubicBezTo>
                  <a:cubicBezTo>
                    <a:pt x="58" y="60"/>
                    <a:pt x="62" y="60"/>
                    <a:pt x="64" y="61"/>
                  </a:cubicBezTo>
                  <a:cubicBezTo>
                    <a:pt x="66" y="62"/>
                    <a:pt x="67" y="64"/>
                    <a:pt x="69" y="64"/>
                  </a:cubicBezTo>
                  <a:cubicBezTo>
                    <a:pt x="71" y="65"/>
                    <a:pt x="74" y="66"/>
                    <a:pt x="76" y="66"/>
                  </a:cubicBezTo>
                  <a:cubicBezTo>
                    <a:pt x="78" y="65"/>
                    <a:pt x="80" y="68"/>
                    <a:pt x="81" y="67"/>
                  </a:cubicBezTo>
                  <a:cubicBezTo>
                    <a:pt x="85" y="65"/>
                    <a:pt x="88" y="63"/>
                    <a:pt x="93" y="62"/>
                  </a:cubicBezTo>
                  <a:cubicBezTo>
                    <a:pt x="97" y="62"/>
                    <a:pt x="103" y="63"/>
                    <a:pt x="106" y="61"/>
                  </a:cubicBezTo>
                  <a:cubicBezTo>
                    <a:pt x="109" y="59"/>
                    <a:pt x="110" y="56"/>
                    <a:pt x="113" y="55"/>
                  </a:cubicBezTo>
                  <a:cubicBezTo>
                    <a:pt x="116" y="54"/>
                    <a:pt x="116" y="53"/>
                    <a:pt x="114" y="51"/>
                  </a:cubicBezTo>
                  <a:cubicBezTo>
                    <a:pt x="113" y="50"/>
                    <a:pt x="113" y="48"/>
                    <a:pt x="115" y="47"/>
                  </a:cubicBezTo>
                  <a:cubicBezTo>
                    <a:pt x="118" y="44"/>
                    <a:pt x="122" y="50"/>
                    <a:pt x="126" y="46"/>
                  </a:cubicBezTo>
                  <a:cubicBezTo>
                    <a:pt x="127" y="45"/>
                    <a:pt x="128" y="44"/>
                    <a:pt x="130" y="44"/>
                  </a:cubicBezTo>
                  <a:cubicBezTo>
                    <a:pt x="133" y="43"/>
                    <a:pt x="134" y="44"/>
                    <a:pt x="137" y="42"/>
                  </a:cubicBezTo>
                  <a:cubicBezTo>
                    <a:pt x="138" y="41"/>
                    <a:pt x="138" y="38"/>
                    <a:pt x="139" y="38"/>
                  </a:cubicBezTo>
                  <a:cubicBezTo>
                    <a:pt x="141" y="37"/>
                    <a:pt x="142" y="37"/>
                    <a:pt x="143" y="37"/>
                  </a:cubicBezTo>
                  <a:cubicBezTo>
                    <a:pt x="147" y="36"/>
                    <a:pt x="150" y="35"/>
                    <a:pt x="154" y="36"/>
                  </a:cubicBezTo>
                  <a:cubicBezTo>
                    <a:pt x="157" y="36"/>
                    <a:pt x="151" y="29"/>
                    <a:pt x="150" y="29"/>
                  </a:cubicBezTo>
                  <a:cubicBezTo>
                    <a:pt x="149" y="28"/>
                    <a:pt x="147" y="27"/>
                    <a:pt x="145" y="28"/>
                  </a:cubicBezTo>
                  <a:cubicBezTo>
                    <a:pt x="143" y="28"/>
                    <a:pt x="143" y="30"/>
                    <a:pt x="141" y="29"/>
                  </a:cubicBezTo>
                  <a:cubicBezTo>
                    <a:pt x="140" y="28"/>
                    <a:pt x="137" y="27"/>
                    <a:pt x="136" y="28"/>
                  </a:cubicBezTo>
                  <a:cubicBezTo>
                    <a:pt x="135" y="30"/>
                    <a:pt x="134" y="29"/>
                    <a:pt x="134" y="27"/>
                  </a:cubicBezTo>
                  <a:cubicBezTo>
                    <a:pt x="134" y="25"/>
                    <a:pt x="137" y="21"/>
                    <a:pt x="137" y="19"/>
                  </a:cubicBezTo>
                  <a:cubicBezTo>
                    <a:pt x="138" y="17"/>
                    <a:pt x="141" y="14"/>
                    <a:pt x="137" y="14"/>
                  </a:cubicBezTo>
                  <a:cubicBezTo>
                    <a:pt x="134" y="14"/>
                    <a:pt x="134" y="15"/>
                    <a:pt x="131" y="14"/>
                  </a:cubicBezTo>
                  <a:cubicBezTo>
                    <a:pt x="128" y="13"/>
                    <a:pt x="127" y="13"/>
                    <a:pt x="124" y="15"/>
                  </a:cubicBezTo>
                  <a:cubicBezTo>
                    <a:pt x="121" y="17"/>
                    <a:pt x="117" y="18"/>
                    <a:pt x="114" y="19"/>
                  </a:cubicBezTo>
                  <a:cubicBezTo>
                    <a:pt x="109" y="20"/>
                    <a:pt x="107" y="19"/>
                    <a:pt x="103" y="19"/>
                  </a:cubicBezTo>
                  <a:cubicBezTo>
                    <a:pt x="101" y="18"/>
                    <a:pt x="100" y="18"/>
                    <a:pt x="98" y="17"/>
                  </a:cubicBezTo>
                  <a:cubicBezTo>
                    <a:pt x="97" y="17"/>
                    <a:pt x="96" y="15"/>
                    <a:pt x="94" y="15"/>
                  </a:cubicBezTo>
                  <a:cubicBezTo>
                    <a:pt x="90" y="14"/>
                    <a:pt x="88" y="12"/>
                    <a:pt x="83" y="11"/>
                  </a:cubicBezTo>
                  <a:cubicBezTo>
                    <a:pt x="81" y="11"/>
                    <a:pt x="79" y="12"/>
                    <a:pt x="77" y="13"/>
                  </a:cubicBezTo>
                  <a:cubicBezTo>
                    <a:pt x="75" y="14"/>
                    <a:pt x="73" y="13"/>
                    <a:pt x="71" y="12"/>
                  </a:cubicBezTo>
                  <a:cubicBezTo>
                    <a:pt x="69" y="11"/>
                    <a:pt x="68" y="11"/>
                    <a:pt x="68" y="8"/>
                  </a:cubicBezTo>
                  <a:cubicBezTo>
                    <a:pt x="67" y="6"/>
                    <a:pt x="67" y="6"/>
                    <a:pt x="64" y="5"/>
                  </a:cubicBezTo>
                  <a:cubicBezTo>
                    <a:pt x="62" y="4"/>
                    <a:pt x="60" y="3"/>
                    <a:pt x="58" y="3"/>
                  </a:cubicBezTo>
                  <a:cubicBezTo>
                    <a:pt x="56" y="3"/>
                    <a:pt x="53" y="0"/>
                    <a:pt x="52" y="1"/>
                  </a:cubicBezTo>
                  <a:cubicBezTo>
                    <a:pt x="50" y="1"/>
                    <a:pt x="46" y="5"/>
                    <a:pt x="45" y="7"/>
                  </a:cubicBezTo>
                  <a:cubicBezTo>
                    <a:pt x="45" y="9"/>
                    <a:pt x="48" y="11"/>
                    <a:pt x="47" y="13"/>
                  </a:cubicBezTo>
                  <a:cubicBezTo>
                    <a:pt x="46" y="15"/>
                    <a:pt x="43" y="17"/>
                    <a:pt x="41" y="15"/>
                  </a:cubicBezTo>
                  <a:cubicBezTo>
                    <a:pt x="39" y="15"/>
                    <a:pt x="38" y="14"/>
                    <a:pt x="37" y="14"/>
                  </a:cubicBezTo>
                  <a:cubicBezTo>
                    <a:pt x="36" y="14"/>
                    <a:pt x="35" y="14"/>
                    <a:pt x="34" y="14"/>
                  </a:cubicBezTo>
                  <a:cubicBezTo>
                    <a:pt x="31" y="13"/>
                    <a:pt x="31" y="11"/>
                    <a:pt x="28" y="10"/>
                  </a:cubicBezTo>
                  <a:cubicBezTo>
                    <a:pt x="26" y="9"/>
                    <a:pt x="23" y="8"/>
                    <a:pt x="21" y="9"/>
                  </a:cubicBezTo>
                  <a:cubicBezTo>
                    <a:pt x="18" y="10"/>
                    <a:pt x="16" y="12"/>
                    <a:pt x="13" y="13"/>
                  </a:cubicBezTo>
                  <a:cubicBezTo>
                    <a:pt x="11" y="14"/>
                    <a:pt x="9" y="16"/>
                    <a:pt x="7" y="17"/>
                  </a:cubicBezTo>
                  <a:cubicBezTo>
                    <a:pt x="4" y="17"/>
                    <a:pt x="2" y="19"/>
                    <a:pt x="0" y="1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16" name="Freeform 721">
              <a:extLst>
                <a:ext uri="{FF2B5EF4-FFF2-40B4-BE49-F238E27FC236}">
                  <a16:creationId xmlns:a16="http://schemas.microsoft.com/office/drawing/2014/main" id="{A20A345F-18D3-36F2-2BA6-1488B8BB542C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904" y="2649754"/>
              <a:ext cx="78683" cy="177883"/>
            </a:xfrm>
            <a:custGeom>
              <a:avLst/>
              <a:gdLst>
                <a:gd name="T0" fmla="*/ 13 w 15"/>
                <a:gd name="T1" fmla="*/ 26 h 32"/>
                <a:gd name="T2" fmla="*/ 10 w 15"/>
                <a:gd name="T3" fmla="*/ 13 h 32"/>
                <a:gd name="T4" fmla="*/ 9 w 15"/>
                <a:gd name="T5" fmla="*/ 4 h 32"/>
                <a:gd name="T6" fmla="*/ 9 w 15"/>
                <a:gd name="T7" fmla="*/ 1 h 32"/>
                <a:gd name="T8" fmla="*/ 6 w 15"/>
                <a:gd name="T9" fmla="*/ 0 h 32"/>
                <a:gd name="T10" fmla="*/ 7 w 15"/>
                <a:gd name="T11" fmla="*/ 3 h 32"/>
                <a:gd name="T12" fmla="*/ 6 w 15"/>
                <a:gd name="T13" fmla="*/ 5 h 32"/>
                <a:gd name="T14" fmla="*/ 4 w 15"/>
                <a:gd name="T15" fmla="*/ 7 h 32"/>
                <a:gd name="T16" fmla="*/ 4 w 15"/>
                <a:gd name="T17" fmla="*/ 9 h 32"/>
                <a:gd name="T18" fmla="*/ 2 w 15"/>
                <a:gd name="T19" fmla="*/ 14 h 32"/>
                <a:gd name="T20" fmla="*/ 5 w 15"/>
                <a:gd name="T21" fmla="*/ 20 h 32"/>
                <a:gd name="T22" fmla="*/ 6 w 15"/>
                <a:gd name="T23" fmla="*/ 32 h 32"/>
                <a:gd name="T24" fmla="*/ 15 w 15"/>
                <a:gd name="T25" fmla="*/ 32 h 32"/>
                <a:gd name="T26" fmla="*/ 13 w 15"/>
                <a:gd name="T27" fmla="*/ 26 h 32"/>
                <a:gd name="T28" fmla="*/ 13 w 15"/>
                <a:gd name="T29" fmla="*/ 2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" h="32">
                  <a:moveTo>
                    <a:pt x="13" y="26"/>
                  </a:moveTo>
                  <a:cubicBezTo>
                    <a:pt x="13" y="22"/>
                    <a:pt x="9" y="17"/>
                    <a:pt x="10" y="13"/>
                  </a:cubicBezTo>
                  <a:cubicBezTo>
                    <a:pt x="11" y="10"/>
                    <a:pt x="10" y="7"/>
                    <a:pt x="9" y="4"/>
                  </a:cubicBezTo>
                  <a:cubicBezTo>
                    <a:pt x="9" y="3"/>
                    <a:pt x="9" y="2"/>
                    <a:pt x="9" y="1"/>
                  </a:cubicBezTo>
                  <a:cubicBezTo>
                    <a:pt x="9" y="0"/>
                    <a:pt x="6" y="0"/>
                    <a:pt x="6" y="0"/>
                  </a:cubicBezTo>
                  <a:cubicBezTo>
                    <a:pt x="6" y="1"/>
                    <a:pt x="7" y="2"/>
                    <a:pt x="7" y="3"/>
                  </a:cubicBezTo>
                  <a:cubicBezTo>
                    <a:pt x="8" y="4"/>
                    <a:pt x="7" y="5"/>
                    <a:pt x="6" y="5"/>
                  </a:cubicBezTo>
                  <a:cubicBezTo>
                    <a:pt x="5" y="6"/>
                    <a:pt x="4" y="5"/>
                    <a:pt x="4" y="7"/>
                  </a:cubicBezTo>
                  <a:cubicBezTo>
                    <a:pt x="4" y="8"/>
                    <a:pt x="4" y="8"/>
                    <a:pt x="4" y="9"/>
                  </a:cubicBezTo>
                  <a:cubicBezTo>
                    <a:pt x="3" y="11"/>
                    <a:pt x="3" y="13"/>
                    <a:pt x="2" y="14"/>
                  </a:cubicBezTo>
                  <a:cubicBezTo>
                    <a:pt x="0" y="15"/>
                    <a:pt x="4" y="18"/>
                    <a:pt x="5" y="20"/>
                  </a:cubicBezTo>
                  <a:cubicBezTo>
                    <a:pt x="6" y="22"/>
                    <a:pt x="4" y="32"/>
                    <a:pt x="6" y="32"/>
                  </a:cubicBezTo>
                  <a:cubicBezTo>
                    <a:pt x="9" y="32"/>
                    <a:pt x="12" y="32"/>
                    <a:pt x="15" y="32"/>
                  </a:cubicBezTo>
                  <a:cubicBezTo>
                    <a:pt x="15" y="30"/>
                    <a:pt x="14" y="28"/>
                    <a:pt x="13" y="26"/>
                  </a:cubicBezTo>
                  <a:cubicBezTo>
                    <a:pt x="13" y="24"/>
                    <a:pt x="13" y="27"/>
                    <a:pt x="13" y="2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17" name="Freeform 722">
              <a:extLst>
                <a:ext uri="{FF2B5EF4-FFF2-40B4-BE49-F238E27FC236}">
                  <a16:creationId xmlns:a16="http://schemas.microsoft.com/office/drawing/2014/main" id="{9DDFBC54-A24A-B8B0-7E4D-6B660269E89F}"/>
                </a:ext>
              </a:extLst>
            </p:cNvPr>
            <p:cNvSpPr>
              <a:spLocks/>
            </p:cNvSpPr>
            <p:nvPr/>
          </p:nvSpPr>
          <p:spPr bwMode="auto">
            <a:xfrm>
              <a:off x="9490998" y="2821957"/>
              <a:ext cx="78683" cy="128679"/>
            </a:xfrm>
            <a:custGeom>
              <a:avLst/>
              <a:gdLst>
                <a:gd name="T0" fmla="*/ 12 w 15"/>
                <a:gd name="T1" fmla="*/ 1 h 23"/>
                <a:gd name="T2" fmla="*/ 7 w 15"/>
                <a:gd name="T3" fmla="*/ 1 h 23"/>
                <a:gd name="T4" fmla="*/ 2 w 15"/>
                <a:gd name="T5" fmla="*/ 2 h 23"/>
                <a:gd name="T6" fmla="*/ 1 w 15"/>
                <a:gd name="T7" fmla="*/ 7 h 23"/>
                <a:gd name="T8" fmla="*/ 2 w 15"/>
                <a:gd name="T9" fmla="*/ 11 h 23"/>
                <a:gd name="T10" fmla="*/ 1 w 15"/>
                <a:gd name="T11" fmla="*/ 23 h 23"/>
                <a:gd name="T12" fmla="*/ 4 w 15"/>
                <a:gd name="T13" fmla="*/ 20 h 23"/>
                <a:gd name="T14" fmla="*/ 7 w 15"/>
                <a:gd name="T15" fmla="*/ 20 h 23"/>
                <a:gd name="T16" fmla="*/ 9 w 15"/>
                <a:gd name="T17" fmla="*/ 23 h 23"/>
                <a:gd name="T18" fmla="*/ 9 w 15"/>
                <a:gd name="T19" fmla="*/ 20 h 23"/>
                <a:gd name="T20" fmla="*/ 6 w 15"/>
                <a:gd name="T21" fmla="*/ 16 h 23"/>
                <a:gd name="T22" fmla="*/ 4 w 15"/>
                <a:gd name="T23" fmla="*/ 7 h 23"/>
                <a:gd name="T24" fmla="*/ 9 w 15"/>
                <a:gd name="T25" fmla="*/ 3 h 23"/>
                <a:gd name="T26" fmla="*/ 15 w 15"/>
                <a:gd name="T27" fmla="*/ 6 h 23"/>
                <a:gd name="T28" fmla="*/ 12 w 15"/>
                <a:gd name="T29" fmla="*/ 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" h="23">
                  <a:moveTo>
                    <a:pt x="12" y="1"/>
                  </a:moveTo>
                  <a:cubicBezTo>
                    <a:pt x="11" y="1"/>
                    <a:pt x="9" y="1"/>
                    <a:pt x="7" y="1"/>
                  </a:cubicBezTo>
                  <a:cubicBezTo>
                    <a:pt x="5" y="1"/>
                    <a:pt x="3" y="0"/>
                    <a:pt x="2" y="2"/>
                  </a:cubicBezTo>
                  <a:cubicBezTo>
                    <a:pt x="2" y="4"/>
                    <a:pt x="1" y="5"/>
                    <a:pt x="1" y="7"/>
                  </a:cubicBezTo>
                  <a:cubicBezTo>
                    <a:pt x="1" y="8"/>
                    <a:pt x="2" y="9"/>
                    <a:pt x="2" y="11"/>
                  </a:cubicBezTo>
                  <a:cubicBezTo>
                    <a:pt x="2" y="12"/>
                    <a:pt x="0" y="23"/>
                    <a:pt x="1" y="23"/>
                  </a:cubicBezTo>
                  <a:cubicBezTo>
                    <a:pt x="3" y="22"/>
                    <a:pt x="1" y="19"/>
                    <a:pt x="4" y="20"/>
                  </a:cubicBezTo>
                  <a:cubicBezTo>
                    <a:pt x="5" y="20"/>
                    <a:pt x="7" y="19"/>
                    <a:pt x="7" y="20"/>
                  </a:cubicBezTo>
                  <a:cubicBezTo>
                    <a:pt x="8" y="20"/>
                    <a:pt x="8" y="23"/>
                    <a:pt x="9" y="23"/>
                  </a:cubicBezTo>
                  <a:cubicBezTo>
                    <a:pt x="9" y="23"/>
                    <a:pt x="9" y="20"/>
                    <a:pt x="9" y="20"/>
                  </a:cubicBezTo>
                  <a:cubicBezTo>
                    <a:pt x="9" y="18"/>
                    <a:pt x="7" y="17"/>
                    <a:pt x="6" y="16"/>
                  </a:cubicBezTo>
                  <a:cubicBezTo>
                    <a:pt x="5" y="14"/>
                    <a:pt x="2" y="9"/>
                    <a:pt x="4" y="7"/>
                  </a:cubicBezTo>
                  <a:cubicBezTo>
                    <a:pt x="7" y="5"/>
                    <a:pt x="6" y="4"/>
                    <a:pt x="9" y="3"/>
                  </a:cubicBezTo>
                  <a:cubicBezTo>
                    <a:pt x="11" y="2"/>
                    <a:pt x="14" y="4"/>
                    <a:pt x="15" y="6"/>
                  </a:cubicBezTo>
                  <a:cubicBezTo>
                    <a:pt x="14" y="4"/>
                    <a:pt x="13" y="2"/>
                    <a:pt x="1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18" name="Freeform 723">
              <a:extLst>
                <a:ext uri="{FF2B5EF4-FFF2-40B4-BE49-F238E27FC236}">
                  <a16:creationId xmlns:a16="http://schemas.microsoft.com/office/drawing/2014/main" id="{58E4E3AC-1A9E-5290-27C9-1C7FBA645E81}"/>
                </a:ext>
              </a:extLst>
            </p:cNvPr>
            <p:cNvSpPr>
              <a:spLocks/>
            </p:cNvSpPr>
            <p:nvPr/>
          </p:nvSpPr>
          <p:spPr bwMode="auto">
            <a:xfrm>
              <a:off x="9076124" y="3200431"/>
              <a:ext cx="110872" cy="140035"/>
            </a:xfrm>
            <a:custGeom>
              <a:avLst/>
              <a:gdLst>
                <a:gd name="T0" fmla="*/ 5 w 21"/>
                <a:gd name="T1" fmla="*/ 1 h 25"/>
                <a:gd name="T2" fmla="*/ 4 w 21"/>
                <a:gd name="T3" fmla="*/ 7 h 25"/>
                <a:gd name="T4" fmla="*/ 1 w 21"/>
                <a:gd name="T5" fmla="*/ 9 h 25"/>
                <a:gd name="T6" fmla="*/ 3 w 21"/>
                <a:gd name="T7" fmla="*/ 11 h 25"/>
                <a:gd name="T8" fmla="*/ 2 w 21"/>
                <a:gd name="T9" fmla="*/ 14 h 25"/>
                <a:gd name="T10" fmla="*/ 3 w 21"/>
                <a:gd name="T11" fmla="*/ 16 h 25"/>
                <a:gd name="T12" fmla="*/ 1 w 21"/>
                <a:gd name="T13" fmla="*/ 20 h 25"/>
                <a:gd name="T14" fmla="*/ 3 w 21"/>
                <a:gd name="T15" fmla="*/ 21 h 25"/>
                <a:gd name="T16" fmla="*/ 0 w 21"/>
                <a:gd name="T17" fmla="*/ 24 h 25"/>
                <a:gd name="T18" fmla="*/ 2 w 21"/>
                <a:gd name="T19" fmla="*/ 23 h 25"/>
                <a:gd name="T20" fmla="*/ 3 w 21"/>
                <a:gd name="T21" fmla="*/ 24 h 25"/>
                <a:gd name="T22" fmla="*/ 6 w 21"/>
                <a:gd name="T23" fmla="*/ 22 h 25"/>
                <a:gd name="T24" fmla="*/ 8 w 21"/>
                <a:gd name="T25" fmla="*/ 22 h 25"/>
                <a:gd name="T26" fmla="*/ 9 w 21"/>
                <a:gd name="T27" fmla="*/ 22 h 25"/>
                <a:gd name="T28" fmla="*/ 12 w 21"/>
                <a:gd name="T29" fmla="*/ 21 h 25"/>
                <a:gd name="T30" fmla="*/ 14 w 21"/>
                <a:gd name="T31" fmla="*/ 20 h 25"/>
                <a:gd name="T32" fmla="*/ 17 w 21"/>
                <a:gd name="T33" fmla="*/ 18 h 25"/>
                <a:gd name="T34" fmla="*/ 20 w 21"/>
                <a:gd name="T35" fmla="*/ 20 h 25"/>
                <a:gd name="T36" fmla="*/ 19 w 21"/>
                <a:gd name="T37" fmla="*/ 16 h 25"/>
                <a:gd name="T38" fmla="*/ 17 w 21"/>
                <a:gd name="T39" fmla="*/ 12 h 25"/>
                <a:gd name="T40" fmla="*/ 12 w 21"/>
                <a:gd name="T41" fmla="*/ 0 h 25"/>
                <a:gd name="T42" fmla="*/ 5 w 21"/>
                <a:gd name="T43" fmla="*/ 1 h 25"/>
                <a:gd name="T44" fmla="*/ 5 w 21"/>
                <a:gd name="T45" fmla="*/ 1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1" h="25">
                  <a:moveTo>
                    <a:pt x="5" y="1"/>
                  </a:moveTo>
                  <a:cubicBezTo>
                    <a:pt x="3" y="2"/>
                    <a:pt x="2" y="6"/>
                    <a:pt x="4" y="7"/>
                  </a:cubicBezTo>
                  <a:cubicBezTo>
                    <a:pt x="7" y="10"/>
                    <a:pt x="2" y="9"/>
                    <a:pt x="1" y="9"/>
                  </a:cubicBezTo>
                  <a:cubicBezTo>
                    <a:pt x="1" y="9"/>
                    <a:pt x="3" y="11"/>
                    <a:pt x="3" y="11"/>
                  </a:cubicBezTo>
                  <a:cubicBezTo>
                    <a:pt x="3" y="13"/>
                    <a:pt x="3" y="13"/>
                    <a:pt x="2" y="14"/>
                  </a:cubicBezTo>
                  <a:cubicBezTo>
                    <a:pt x="2" y="14"/>
                    <a:pt x="3" y="15"/>
                    <a:pt x="3" y="16"/>
                  </a:cubicBezTo>
                  <a:cubicBezTo>
                    <a:pt x="2" y="17"/>
                    <a:pt x="1" y="20"/>
                    <a:pt x="1" y="20"/>
                  </a:cubicBezTo>
                  <a:cubicBezTo>
                    <a:pt x="1" y="20"/>
                    <a:pt x="3" y="20"/>
                    <a:pt x="3" y="21"/>
                  </a:cubicBezTo>
                  <a:cubicBezTo>
                    <a:pt x="3" y="21"/>
                    <a:pt x="0" y="23"/>
                    <a:pt x="0" y="24"/>
                  </a:cubicBezTo>
                  <a:cubicBezTo>
                    <a:pt x="0" y="24"/>
                    <a:pt x="1" y="23"/>
                    <a:pt x="2" y="23"/>
                  </a:cubicBezTo>
                  <a:cubicBezTo>
                    <a:pt x="2" y="23"/>
                    <a:pt x="2" y="25"/>
                    <a:pt x="3" y="24"/>
                  </a:cubicBezTo>
                  <a:cubicBezTo>
                    <a:pt x="3" y="23"/>
                    <a:pt x="5" y="22"/>
                    <a:pt x="6" y="22"/>
                  </a:cubicBezTo>
                  <a:cubicBezTo>
                    <a:pt x="7" y="21"/>
                    <a:pt x="6" y="25"/>
                    <a:pt x="8" y="22"/>
                  </a:cubicBezTo>
                  <a:cubicBezTo>
                    <a:pt x="9" y="20"/>
                    <a:pt x="8" y="21"/>
                    <a:pt x="9" y="22"/>
                  </a:cubicBezTo>
                  <a:cubicBezTo>
                    <a:pt x="9" y="22"/>
                    <a:pt x="12" y="21"/>
                    <a:pt x="12" y="21"/>
                  </a:cubicBezTo>
                  <a:cubicBezTo>
                    <a:pt x="14" y="21"/>
                    <a:pt x="13" y="20"/>
                    <a:pt x="14" y="20"/>
                  </a:cubicBezTo>
                  <a:cubicBezTo>
                    <a:pt x="16" y="20"/>
                    <a:pt x="16" y="19"/>
                    <a:pt x="17" y="18"/>
                  </a:cubicBezTo>
                  <a:cubicBezTo>
                    <a:pt x="18" y="16"/>
                    <a:pt x="19" y="19"/>
                    <a:pt x="20" y="20"/>
                  </a:cubicBezTo>
                  <a:cubicBezTo>
                    <a:pt x="21" y="20"/>
                    <a:pt x="19" y="16"/>
                    <a:pt x="19" y="16"/>
                  </a:cubicBezTo>
                  <a:cubicBezTo>
                    <a:pt x="18" y="15"/>
                    <a:pt x="17" y="14"/>
                    <a:pt x="17" y="12"/>
                  </a:cubicBezTo>
                  <a:cubicBezTo>
                    <a:pt x="17" y="7"/>
                    <a:pt x="14" y="4"/>
                    <a:pt x="12" y="0"/>
                  </a:cubicBezTo>
                  <a:cubicBezTo>
                    <a:pt x="10" y="2"/>
                    <a:pt x="8" y="1"/>
                    <a:pt x="5" y="1"/>
                  </a:cubicBezTo>
                  <a:cubicBezTo>
                    <a:pt x="5" y="2"/>
                    <a:pt x="6" y="1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19" name="Freeform 724">
              <a:extLst>
                <a:ext uri="{FF2B5EF4-FFF2-40B4-BE49-F238E27FC236}">
                  <a16:creationId xmlns:a16="http://schemas.microsoft.com/office/drawing/2014/main" id="{1D4C9210-9C3E-7DD5-0905-9E9DFB52CB72}"/>
                </a:ext>
              </a:extLst>
            </p:cNvPr>
            <p:cNvSpPr>
              <a:spLocks/>
            </p:cNvSpPr>
            <p:nvPr/>
          </p:nvSpPr>
          <p:spPr bwMode="auto">
            <a:xfrm>
              <a:off x="9029630" y="3050934"/>
              <a:ext cx="168096" cy="172206"/>
            </a:xfrm>
            <a:custGeom>
              <a:avLst/>
              <a:gdLst>
                <a:gd name="T0" fmla="*/ 32 w 32"/>
                <a:gd name="T1" fmla="*/ 3 h 31"/>
                <a:gd name="T2" fmla="*/ 29 w 32"/>
                <a:gd name="T3" fmla="*/ 1 h 31"/>
                <a:gd name="T4" fmla="*/ 27 w 32"/>
                <a:gd name="T5" fmla="*/ 4 h 31"/>
                <a:gd name="T6" fmla="*/ 25 w 32"/>
                <a:gd name="T7" fmla="*/ 5 h 31"/>
                <a:gd name="T8" fmla="*/ 20 w 32"/>
                <a:gd name="T9" fmla="*/ 6 h 31"/>
                <a:gd name="T10" fmla="*/ 20 w 32"/>
                <a:gd name="T11" fmla="*/ 10 h 31"/>
                <a:gd name="T12" fmla="*/ 13 w 32"/>
                <a:gd name="T13" fmla="*/ 9 h 31"/>
                <a:gd name="T14" fmla="*/ 10 w 32"/>
                <a:gd name="T15" fmla="*/ 12 h 31"/>
                <a:gd name="T16" fmla="*/ 0 w 32"/>
                <a:gd name="T17" fmla="*/ 19 h 31"/>
                <a:gd name="T18" fmla="*/ 6 w 32"/>
                <a:gd name="T19" fmla="*/ 21 h 31"/>
                <a:gd name="T20" fmla="*/ 5 w 32"/>
                <a:gd name="T21" fmla="*/ 24 h 31"/>
                <a:gd name="T22" fmla="*/ 6 w 32"/>
                <a:gd name="T23" fmla="*/ 26 h 31"/>
                <a:gd name="T24" fmla="*/ 3 w 32"/>
                <a:gd name="T25" fmla="*/ 29 h 31"/>
                <a:gd name="T26" fmla="*/ 5 w 32"/>
                <a:gd name="T27" fmla="*/ 30 h 31"/>
                <a:gd name="T28" fmla="*/ 5 w 32"/>
                <a:gd name="T29" fmla="*/ 31 h 31"/>
                <a:gd name="T30" fmla="*/ 9 w 32"/>
                <a:gd name="T31" fmla="*/ 31 h 31"/>
                <a:gd name="T32" fmla="*/ 12 w 32"/>
                <a:gd name="T33" fmla="*/ 31 h 31"/>
                <a:gd name="T34" fmla="*/ 14 w 32"/>
                <a:gd name="T35" fmla="*/ 28 h 31"/>
                <a:gd name="T36" fmla="*/ 21 w 32"/>
                <a:gd name="T37" fmla="*/ 27 h 31"/>
                <a:gd name="T38" fmla="*/ 16 w 32"/>
                <a:gd name="T39" fmla="*/ 22 h 31"/>
                <a:gd name="T40" fmla="*/ 20 w 32"/>
                <a:gd name="T41" fmla="*/ 19 h 31"/>
                <a:gd name="T42" fmla="*/ 27 w 32"/>
                <a:gd name="T43" fmla="*/ 14 h 31"/>
                <a:gd name="T44" fmla="*/ 27 w 32"/>
                <a:gd name="T45" fmla="*/ 8 h 31"/>
                <a:gd name="T46" fmla="*/ 32 w 32"/>
                <a:gd name="T47" fmla="*/ 3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2" h="31">
                  <a:moveTo>
                    <a:pt x="32" y="3"/>
                  </a:moveTo>
                  <a:cubicBezTo>
                    <a:pt x="31" y="2"/>
                    <a:pt x="30" y="0"/>
                    <a:pt x="29" y="1"/>
                  </a:cubicBezTo>
                  <a:cubicBezTo>
                    <a:pt x="28" y="1"/>
                    <a:pt x="28" y="3"/>
                    <a:pt x="27" y="4"/>
                  </a:cubicBezTo>
                  <a:cubicBezTo>
                    <a:pt x="27" y="4"/>
                    <a:pt x="26" y="3"/>
                    <a:pt x="25" y="5"/>
                  </a:cubicBezTo>
                  <a:cubicBezTo>
                    <a:pt x="24" y="6"/>
                    <a:pt x="22" y="6"/>
                    <a:pt x="20" y="6"/>
                  </a:cubicBezTo>
                  <a:cubicBezTo>
                    <a:pt x="18" y="7"/>
                    <a:pt x="22" y="9"/>
                    <a:pt x="20" y="10"/>
                  </a:cubicBezTo>
                  <a:cubicBezTo>
                    <a:pt x="17" y="11"/>
                    <a:pt x="16" y="9"/>
                    <a:pt x="13" y="9"/>
                  </a:cubicBezTo>
                  <a:cubicBezTo>
                    <a:pt x="12" y="8"/>
                    <a:pt x="10" y="11"/>
                    <a:pt x="10" y="12"/>
                  </a:cubicBezTo>
                  <a:cubicBezTo>
                    <a:pt x="7" y="15"/>
                    <a:pt x="1" y="15"/>
                    <a:pt x="0" y="19"/>
                  </a:cubicBezTo>
                  <a:cubicBezTo>
                    <a:pt x="0" y="19"/>
                    <a:pt x="6" y="21"/>
                    <a:pt x="6" y="21"/>
                  </a:cubicBezTo>
                  <a:cubicBezTo>
                    <a:pt x="6" y="22"/>
                    <a:pt x="5" y="24"/>
                    <a:pt x="5" y="24"/>
                  </a:cubicBezTo>
                  <a:cubicBezTo>
                    <a:pt x="5" y="26"/>
                    <a:pt x="6" y="25"/>
                    <a:pt x="6" y="26"/>
                  </a:cubicBezTo>
                  <a:cubicBezTo>
                    <a:pt x="6" y="25"/>
                    <a:pt x="2" y="28"/>
                    <a:pt x="3" y="29"/>
                  </a:cubicBezTo>
                  <a:cubicBezTo>
                    <a:pt x="3" y="29"/>
                    <a:pt x="5" y="30"/>
                    <a:pt x="5" y="30"/>
                  </a:cubicBezTo>
                  <a:cubicBezTo>
                    <a:pt x="6" y="30"/>
                    <a:pt x="5" y="30"/>
                    <a:pt x="5" y="31"/>
                  </a:cubicBezTo>
                  <a:cubicBezTo>
                    <a:pt x="5" y="30"/>
                    <a:pt x="9" y="30"/>
                    <a:pt x="9" y="31"/>
                  </a:cubicBezTo>
                  <a:cubicBezTo>
                    <a:pt x="10" y="31"/>
                    <a:pt x="11" y="31"/>
                    <a:pt x="12" y="31"/>
                  </a:cubicBezTo>
                  <a:cubicBezTo>
                    <a:pt x="12" y="31"/>
                    <a:pt x="13" y="29"/>
                    <a:pt x="14" y="28"/>
                  </a:cubicBezTo>
                  <a:cubicBezTo>
                    <a:pt x="17" y="28"/>
                    <a:pt x="19" y="29"/>
                    <a:pt x="21" y="27"/>
                  </a:cubicBezTo>
                  <a:cubicBezTo>
                    <a:pt x="21" y="25"/>
                    <a:pt x="16" y="23"/>
                    <a:pt x="16" y="22"/>
                  </a:cubicBezTo>
                  <a:cubicBezTo>
                    <a:pt x="17" y="21"/>
                    <a:pt x="18" y="20"/>
                    <a:pt x="20" y="19"/>
                  </a:cubicBezTo>
                  <a:cubicBezTo>
                    <a:pt x="22" y="17"/>
                    <a:pt x="24" y="15"/>
                    <a:pt x="27" y="14"/>
                  </a:cubicBezTo>
                  <a:cubicBezTo>
                    <a:pt x="29" y="12"/>
                    <a:pt x="26" y="9"/>
                    <a:pt x="27" y="8"/>
                  </a:cubicBezTo>
                  <a:cubicBezTo>
                    <a:pt x="29" y="6"/>
                    <a:pt x="30" y="4"/>
                    <a:pt x="32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</p:grpSp>
      <p:grpSp>
        <p:nvGrpSpPr>
          <p:cNvPr id="610" name="Group 609">
            <a:extLst>
              <a:ext uri="{FF2B5EF4-FFF2-40B4-BE49-F238E27FC236}">
                <a16:creationId xmlns:a16="http://schemas.microsoft.com/office/drawing/2014/main" id="{22A3BF28-CA85-D6D0-CF9D-37A305442A74}"/>
              </a:ext>
            </a:extLst>
          </p:cNvPr>
          <p:cNvGrpSpPr/>
          <p:nvPr/>
        </p:nvGrpSpPr>
        <p:grpSpPr>
          <a:xfrm>
            <a:off x="5192038" y="1588138"/>
            <a:ext cx="2448118" cy="1835592"/>
            <a:chOff x="5192038" y="1588138"/>
            <a:chExt cx="2448118" cy="1835592"/>
          </a:xfrm>
        </p:grpSpPr>
        <p:sp>
          <p:nvSpPr>
            <p:cNvPr id="523" name="Freeform 511">
              <a:extLst>
                <a:ext uri="{FF2B5EF4-FFF2-40B4-BE49-F238E27FC236}">
                  <a16:creationId xmlns:a16="http://schemas.microsoft.com/office/drawing/2014/main" id="{F010B933-835C-777A-739B-335E9B4B0FD2}"/>
                </a:ext>
              </a:extLst>
            </p:cNvPr>
            <p:cNvSpPr>
              <a:spLocks/>
            </p:cNvSpPr>
            <p:nvPr/>
          </p:nvSpPr>
          <p:spPr bwMode="auto">
            <a:xfrm>
              <a:off x="5789315" y="2388608"/>
              <a:ext cx="10730" cy="22709"/>
            </a:xfrm>
            <a:custGeom>
              <a:avLst/>
              <a:gdLst>
                <a:gd name="T0" fmla="*/ 1 w 2"/>
                <a:gd name="T1" fmla="*/ 4 h 4"/>
                <a:gd name="T2" fmla="*/ 2 w 2"/>
                <a:gd name="T3" fmla="*/ 1 h 4"/>
                <a:gd name="T4" fmla="*/ 1 w 2"/>
                <a:gd name="T5" fmla="*/ 4 h 4"/>
                <a:gd name="T6" fmla="*/ 1 w 2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4">
                  <a:moveTo>
                    <a:pt x="1" y="4"/>
                  </a:moveTo>
                  <a:cubicBezTo>
                    <a:pt x="0" y="3"/>
                    <a:pt x="0" y="1"/>
                    <a:pt x="2" y="1"/>
                  </a:cubicBezTo>
                  <a:cubicBezTo>
                    <a:pt x="2" y="0"/>
                    <a:pt x="2" y="4"/>
                    <a:pt x="1" y="4"/>
                  </a:cubicBezTo>
                  <a:cubicBezTo>
                    <a:pt x="0" y="3"/>
                    <a:pt x="1" y="4"/>
                    <a:pt x="1" y="4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43" name="Freeform 404">
              <a:extLst>
                <a:ext uri="{FF2B5EF4-FFF2-40B4-BE49-F238E27FC236}">
                  <a16:creationId xmlns:a16="http://schemas.microsoft.com/office/drawing/2014/main" id="{541FA432-A6F1-A23B-659B-B0E132355947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9502" y="2471871"/>
              <a:ext cx="209225" cy="334947"/>
            </a:xfrm>
            <a:custGeom>
              <a:avLst/>
              <a:gdLst>
                <a:gd name="T0" fmla="*/ 7 w 40"/>
                <a:gd name="T1" fmla="*/ 0 h 60"/>
                <a:gd name="T2" fmla="*/ 4 w 40"/>
                <a:gd name="T3" fmla="*/ 3 h 60"/>
                <a:gd name="T4" fmla="*/ 2 w 40"/>
                <a:gd name="T5" fmla="*/ 8 h 60"/>
                <a:gd name="T6" fmla="*/ 5 w 40"/>
                <a:gd name="T7" fmla="*/ 14 h 60"/>
                <a:gd name="T8" fmla="*/ 3 w 40"/>
                <a:gd name="T9" fmla="*/ 18 h 60"/>
                <a:gd name="T10" fmla="*/ 3 w 40"/>
                <a:gd name="T11" fmla="*/ 19 h 60"/>
                <a:gd name="T12" fmla="*/ 2 w 40"/>
                <a:gd name="T13" fmla="*/ 23 h 60"/>
                <a:gd name="T14" fmla="*/ 5 w 40"/>
                <a:gd name="T15" fmla="*/ 23 h 60"/>
                <a:gd name="T16" fmla="*/ 7 w 40"/>
                <a:gd name="T17" fmla="*/ 19 h 60"/>
                <a:gd name="T18" fmla="*/ 7 w 40"/>
                <a:gd name="T19" fmla="*/ 23 h 60"/>
                <a:gd name="T20" fmla="*/ 11 w 40"/>
                <a:gd name="T21" fmla="*/ 27 h 60"/>
                <a:gd name="T22" fmla="*/ 14 w 40"/>
                <a:gd name="T23" fmla="*/ 30 h 60"/>
                <a:gd name="T24" fmla="*/ 16 w 40"/>
                <a:gd name="T25" fmla="*/ 36 h 60"/>
                <a:gd name="T26" fmla="*/ 8 w 40"/>
                <a:gd name="T27" fmla="*/ 39 h 60"/>
                <a:gd name="T28" fmla="*/ 9 w 40"/>
                <a:gd name="T29" fmla="*/ 42 h 60"/>
                <a:gd name="T30" fmla="*/ 5 w 40"/>
                <a:gd name="T31" fmla="*/ 47 h 60"/>
                <a:gd name="T32" fmla="*/ 9 w 40"/>
                <a:gd name="T33" fmla="*/ 48 h 60"/>
                <a:gd name="T34" fmla="*/ 18 w 40"/>
                <a:gd name="T35" fmla="*/ 48 h 60"/>
                <a:gd name="T36" fmla="*/ 10 w 40"/>
                <a:gd name="T37" fmla="*/ 52 h 60"/>
                <a:gd name="T38" fmla="*/ 7 w 40"/>
                <a:gd name="T39" fmla="*/ 55 h 60"/>
                <a:gd name="T40" fmla="*/ 3 w 40"/>
                <a:gd name="T41" fmla="*/ 59 h 60"/>
                <a:gd name="T42" fmla="*/ 5 w 40"/>
                <a:gd name="T43" fmla="*/ 60 h 60"/>
                <a:gd name="T44" fmla="*/ 12 w 40"/>
                <a:gd name="T45" fmla="*/ 57 h 60"/>
                <a:gd name="T46" fmla="*/ 19 w 40"/>
                <a:gd name="T47" fmla="*/ 55 h 60"/>
                <a:gd name="T48" fmla="*/ 27 w 40"/>
                <a:gd name="T49" fmla="*/ 54 h 60"/>
                <a:gd name="T50" fmla="*/ 38 w 40"/>
                <a:gd name="T51" fmla="*/ 51 h 60"/>
                <a:gd name="T52" fmla="*/ 38 w 40"/>
                <a:gd name="T53" fmla="*/ 46 h 60"/>
                <a:gd name="T54" fmla="*/ 32 w 40"/>
                <a:gd name="T55" fmla="*/ 41 h 60"/>
                <a:gd name="T56" fmla="*/ 31 w 40"/>
                <a:gd name="T57" fmla="*/ 36 h 60"/>
                <a:gd name="T58" fmla="*/ 30 w 40"/>
                <a:gd name="T59" fmla="*/ 34 h 60"/>
                <a:gd name="T60" fmla="*/ 23 w 40"/>
                <a:gd name="T61" fmla="*/ 25 h 60"/>
                <a:gd name="T62" fmla="*/ 12 w 40"/>
                <a:gd name="T63" fmla="*/ 18 h 60"/>
                <a:gd name="T64" fmla="*/ 14 w 40"/>
                <a:gd name="T65" fmla="*/ 16 h 60"/>
                <a:gd name="T66" fmla="*/ 21 w 40"/>
                <a:gd name="T67" fmla="*/ 8 h 60"/>
                <a:gd name="T68" fmla="*/ 9 w 40"/>
                <a:gd name="T69" fmla="*/ 7 h 60"/>
                <a:gd name="T70" fmla="*/ 9 w 40"/>
                <a:gd name="T71" fmla="*/ 6 h 60"/>
                <a:gd name="T72" fmla="*/ 15 w 40"/>
                <a:gd name="T73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0" h="60">
                  <a:moveTo>
                    <a:pt x="15" y="0"/>
                  </a:moveTo>
                  <a:cubicBezTo>
                    <a:pt x="12" y="0"/>
                    <a:pt x="10" y="1"/>
                    <a:pt x="7" y="0"/>
                  </a:cubicBezTo>
                  <a:cubicBezTo>
                    <a:pt x="6" y="0"/>
                    <a:pt x="5" y="0"/>
                    <a:pt x="5" y="1"/>
                  </a:cubicBezTo>
                  <a:cubicBezTo>
                    <a:pt x="6" y="3"/>
                    <a:pt x="5" y="2"/>
                    <a:pt x="4" y="3"/>
                  </a:cubicBezTo>
                  <a:cubicBezTo>
                    <a:pt x="5" y="2"/>
                    <a:pt x="5" y="4"/>
                    <a:pt x="5" y="4"/>
                  </a:cubicBezTo>
                  <a:cubicBezTo>
                    <a:pt x="4" y="6"/>
                    <a:pt x="1" y="5"/>
                    <a:pt x="2" y="8"/>
                  </a:cubicBezTo>
                  <a:cubicBezTo>
                    <a:pt x="4" y="10"/>
                    <a:pt x="3" y="11"/>
                    <a:pt x="2" y="13"/>
                  </a:cubicBezTo>
                  <a:cubicBezTo>
                    <a:pt x="2" y="15"/>
                    <a:pt x="4" y="15"/>
                    <a:pt x="5" y="14"/>
                  </a:cubicBezTo>
                  <a:cubicBezTo>
                    <a:pt x="4" y="15"/>
                    <a:pt x="5" y="15"/>
                    <a:pt x="5" y="16"/>
                  </a:cubicBezTo>
                  <a:cubicBezTo>
                    <a:pt x="5" y="15"/>
                    <a:pt x="3" y="18"/>
                    <a:pt x="3" y="18"/>
                  </a:cubicBezTo>
                  <a:cubicBezTo>
                    <a:pt x="2" y="18"/>
                    <a:pt x="0" y="18"/>
                    <a:pt x="0" y="20"/>
                  </a:cubicBezTo>
                  <a:cubicBezTo>
                    <a:pt x="1" y="20"/>
                    <a:pt x="2" y="18"/>
                    <a:pt x="3" y="19"/>
                  </a:cubicBezTo>
                  <a:cubicBezTo>
                    <a:pt x="3" y="20"/>
                    <a:pt x="3" y="21"/>
                    <a:pt x="3" y="21"/>
                  </a:cubicBezTo>
                  <a:cubicBezTo>
                    <a:pt x="2" y="22"/>
                    <a:pt x="2" y="23"/>
                    <a:pt x="2" y="23"/>
                  </a:cubicBezTo>
                  <a:cubicBezTo>
                    <a:pt x="2" y="24"/>
                    <a:pt x="3" y="22"/>
                    <a:pt x="4" y="22"/>
                  </a:cubicBezTo>
                  <a:cubicBezTo>
                    <a:pt x="4" y="21"/>
                    <a:pt x="5" y="23"/>
                    <a:pt x="5" y="23"/>
                  </a:cubicBezTo>
                  <a:cubicBezTo>
                    <a:pt x="6" y="23"/>
                    <a:pt x="5" y="19"/>
                    <a:pt x="4" y="19"/>
                  </a:cubicBezTo>
                  <a:cubicBezTo>
                    <a:pt x="5" y="19"/>
                    <a:pt x="7" y="20"/>
                    <a:pt x="7" y="19"/>
                  </a:cubicBezTo>
                  <a:cubicBezTo>
                    <a:pt x="7" y="19"/>
                    <a:pt x="6" y="20"/>
                    <a:pt x="6" y="20"/>
                  </a:cubicBezTo>
                  <a:cubicBezTo>
                    <a:pt x="6" y="21"/>
                    <a:pt x="7" y="22"/>
                    <a:pt x="7" y="23"/>
                  </a:cubicBezTo>
                  <a:cubicBezTo>
                    <a:pt x="7" y="24"/>
                    <a:pt x="4" y="27"/>
                    <a:pt x="7" y="27"/>
                  </a:cubicBezTo>
                  <a:cubicBezTo>
                    <a:pt x="7" y="27"/>
                    <a:pt x="10" y="27"/>
                    <a:pt x="11" y="27"/>
                  </a:cubicBezTo>
                  <a:cubicBezTo>
                    <a:pt x="12" y="26"/>
                    <a:pt x="15" y="26"/>
                    <a:pt x="15" y="26"/>
                  </a:cubicBezTo>
                  <a:cubicBezTo>
                    <a:pt x="14" y="28"/>
                    <a:pt x="13" y="28"/>
                    <a:pt x="14" y="30"/>
                  </a:cubicBezTo>
                  <a:cubicBezTo>
                    <a:pt x="15" y="33"/>
                    <a:pt x="15" y="31"/>
                    <a:pt x="16" y="32"/>
                  </a:cubicBezTo>
                  <a:cubicBezTo>
                    <a:pt x="16" y="33"/>
                    <a:pt x="15" y="35"/>
                    <a:pt x="16" y="36"/>
                  </a:cubicBezTo>
                  <a:cubicBezTo>
                    <a:pt x="17" y="38"/>
                    <a:pt x="14" y="38"/>
                    <a:pt x="13" y="38"/>
                  </a:cubicBezTo>
                  <a:cubicBezTo>
                    <a:pt x="11" y="39"/>
                    <a:pt x="10" y="37"/>
                    <a:pt x="8" y="39"/>
                  </a:cubicBezTo>
                  <a:cubicBezTo>
                    <a:pt x="7" y="41"/>
                    <a:pt x="12" y="40"/>
                    <a:pt x="11" y="41"/>
                  </a:cubicBezTo>
                  <a:cubicBezTo>
                    <a:pt x="11" y="41"/>
                    <a:pt x="9" y="42"/>
                    <a:pt x="9" y="42"/>
                  </a:cubicBezTo>
                  <a:cubicBezTo>
                    <a:pt x="9" y="43"/>
                    <a:pt x="10" y="43"/>
                    <a:pt x="9" y="44"/>
                  </a:cubicBezTo>
                  <a:cubicBezTo>
                    <a:pt x="8" y="45"/>
                    <a:pt x="7" y="46"/>
                    <a:pt x="5" y="47"/>
                  </a:cubicBezTo>
                  <a:cubicBezTo>
                    <a:pt x="4" y="48"/>
                    <a:pt x="6" y="49"/>
                    <a:pt x="6" y="49"/>
                  </a:cubicBezTo>
                  <a:cubicBezTo>
                    <a:pt x="7" y="49"/>
                    <a:pt x="9" y="48"/>
                    <a:pt x="9" y="48"/>
                  </a:cubicBezTo>
                  <a:cubicBezTo>
                    <a:pt x="9" y="49"/>
                    <a:pt x="12" y="49"/>
                    <a:pt x="13" y="50"/>
                  </a:cubicBezTo>
                  <a:cubicBezTo>
                    <a:pt x="15" y="50"/>
                    <a:pt x="17" y="48"/>
                    <a:pt x="18" y="48"/>
                  </a:cubicBezTo>
                  <a:cubicBezTo>
                    <a:pt x="18" y="48"/>
                    <a:pt x="16" y="53"/>
                    <a:pt x="13" y="52"/>
                  </a:cubicBezTo>
                  <a:cubicBezTo>
                    <a:pt x="12" y="51"/>
                    <a:pt x="11" y="52"/>
                    <a:pt x="10" y="52"/>
                  </a:cubicBezTo>
                  <a:cubicBezTo>
                    <a:pt x="8" y="52"/>
                    <a:pt x="9" y="51"/>
                    <a:pt x="8" y="51"/>
                  </a:cubicBezTo>
                  <a:cubicBezTo>
                    <a:pt x="8" y="51"/>
                    <a:pt x="8" y="54"/>
                    <a:pt x="7" y="55"/>
                  </a:cubicBezTo>
                  <a:cubicBezTo>
                    <a:pt x="7" y="55"/>
                    <a:pt x="6" y="56"/>
                    <a:pt x="5" y="57"/>
                  </a:cubicBezTo>
                  <a:cubicBezTo>
                    <a:pt x="5" y="57"/>
                    <a:pt x="3" y="58"/>
                    <a:pt x="3" y="59"/>
                  </a:cubicBezTo>
                  <a:cubicBezTo>
                    <a:pt x="3" y="59"/>
                    <a:pt x="5" y="59"/>
                    <a:pt x="5" y="59"/>
                  </a:cubicBezTo>
                  <a:cubicBezTo>
                    <a:pt x="5" y="59"/>
                    <a:pt x="4" y="59"/>
                    <a:pt x="5" y="60"/>
                  </a:cubicBezTo>
                  <a:cubicBezTo>
                    <a:pt x="5" y="60"/>
                    <a:pt x="7" y="57"/>
                    <a:pt x="8" y="57"/>
                  </a:cubicBezTo>
                  <a:cubicBezTo>
                    <a:pt x="9" y="57"/>
                    <a:pt x="11" y="58"/>
                    <a:pt x="12" y="57"/>
                  </a:cubicBezTo>
                  <a:cubicBezTo>
                    <a:pt x="14" y="57"/>
                    <a:pt x="13" y="55"/>
                    <a:pt x="15" y="55"/>
                  </a:cubicBezTo>
                  <a:cubicBezTo>
                    <a:pt x="16" y="54"/>
                    <a:pt x="17" y="55"/>
                    <a:pt x="19" y="55"/>
                  </a:cubicBezTo>
                  <a:cubicBezTo>
                    <a:pt x="20" y="56"/>
                    <a:pt x="21" y="54"/>
                    <a:pt x="23" y="55"/>
                  </a:cubicBezTo>
                  <a:cubicBezTo>
                    <a:pt x="24" y="56"/>
                    <a:pt x="26" y="55"/>
                    <a:pt x="27" y="54"/>
                  </a:cubicBezTo>
                  <a:cubicBezTo>
                    <a:pt x="29" y="54"/>
                    <a:pt x="32" y="54"/>
                    <a:pt x="34" y="54"/>
                  </a:cubicBezTo>
                  <a:cubicBezTo>
                    <a:pt x="34" y="54"/>
                    <a:pt x="38" y="51"/>
                    <a:pt x="38" y="51"/>
                  </a:cubicBezTo>
                  <a:cubicBezTo>
                    <a:pt x="37" y="50"/>
                    <a:pt x="33" y="51"/>
                    <a:pt x="33" y="50"/>
                  </a:cubicBezTo>
                  <a:cubicBezTo>
                    <a:pt x="33" y="49"/>
                    <a:pt x="37" y="46"/>
                    <a:pt x="38" y="46"/>
                  </a:cubicBezTo>
                  <a:cubicBezTo>
                    <a:pt x="39" y="44"/>
                    <a:pt x="40" y="40"/>
                    <a:pt x="36" y="40"/>
                  </a:cubicBezTo>
                  <a:cubicBezTo>
                    <a:pt x="35" y="40"/>
                    <a:pt x="33" y="41"/>
                    <a:pt x="32" y="41"/>
                  </a:cubicBezTo>
                  <a:cubicBezTo>
                    <a:pt x="30" y="40"/>
                    <a:pt x="32" y="40"/>
                    <a:pt x="32" y="39"/>
                  </a:cubicBezTo>
                  <a:cubicBezTo>
                    <a:pt x="32" y="38"/>
                    <a:pt x="32" y="37"/>
                    <a:pt x="31" y="36"/>
                  </a:cubicBezTo>
                  <a:cubicBezTo>
                    <a:pt x="31" y="36"/>
                    <a:pt x="27" y="35"/>
                    <a:pt x="28" y="34"/>
                  </a:cubicBezTo>
                  <a:cubicBezTo>
                    <a:pt x="28" y="34"/>
                    <a:pt x="30" y="35"/>
                    <a:pt x="30" y="34"/>
                  </a:cubicBezTo>
                  <a:cubicBezTo>
                    <a:pt x="31" y="33"/>
                    <a:pt x="30" y="32"/>
                    <a:pt x="29" y="31"/>
                  </a:cubicBezTo>
                  <a:cubicBezTo>
                    <a:pt x="26" y="29"/>
                    <a:pt x="25" y="29"/>
                    <a:pt x="23" y="25"/>
                  </a:cubicBezTo>
                  <a:cubicBezTo>
                    <a:pt x="22" y="23"/>
                    <a:pt x="21" y="21"/>
                    <a:pt x="18" y="19"/>
                  </a:cubicBezTo>
                  <a:cubicBezTo>
                    <a:pt x="17" y="18"/>
                    <a:pt x="13" y="20"/>
                    <a:pt x="12" y="18"/>
                  </a:cubicBezTo>
                  <a:cubicBezTo>
                    <a:pt x="12" y="18"/>
                    <a:pt x="18" y="17"/>
                    <a:pt x="17" y="16"/>
                  </a:cubicBezTo>
                  <a:cubicBezTo>
                    <a:pt x="17" y="16"/>
                    <a:pt x="15" y="17"/>
                    <a:pt x="14" y="16"/>
                  </a:cubicBezTo>
                  <a:cubicBezTo>
                    <a:pt x="14" y="16"/>
                    <a:pt x="18" y="15"/>
                    <a:pt x="18" y="15"/>
                  </a:cubicBezTo>
                  <a:cubicBezTo>
                    <a:pt x="19" y="14"/>
                    <a:pt x="22" y="9"/>
                    <a:pt x="21" y="8"/>
                  </a:cubicBezTo>
                  <a:cubicBezTo>
                    <a:pt x="20" y="6"/>
                    <a:pt x="17" y="6"/>
                    <a:pt x="15" y="6"/>
                  </a:cubicBezTo>
                  <a:cubicBezTo>
                    <a:pt x="14" y="7"/>
                    <a:pt x="9" y="7"/>
                    <a:pt x="9" y="7"/>
                  </a:cubicBezTo>
                  <a:cubicBezTo>
                    <a:pt x="9" y="7"/>
                    <a:pt x="11" y="6"/>
                    <a:pt x="11" y="6"/>
                  </a:cubicBezTo>
                  <a:cubicBezTo>
                    <a:pt x="11" y="6"/>
                    <a:pt x="9" y="5"/>
                    <a:pt x="9" y="6"/>
                  </a:cubicBezTo>
                  <a:cubicBezTo>
                    <a:pt x="9" y="5"/>
                    <a:pt x="18" y="1"/>
                    <a:pt x="15" y="0"/>
                  </a:cubicBezTo>
                  <a:cubicBezTo>
                    <a:pt x="14" y="0"/>
                    <a:pt x="17" y="1"/>
                    <a:pt x="15" y="0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44" name="Freeform 405">
              <a:extLst>
                <a:ext uri="{FF2B5EF4-FFF2-40B4-BE49-F238E27FC236}">
                  <a16:creationId xmlns:a16="http://schemas.microsoft.com/office/drawing/2014/main" id="{23AF53B4-19E0-357B-766E-06699D566572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2038" y="2121785"/>
              <a:ext cx="282545" cy="145713"/>
            </a:xfrm>
            <a:custGeom>
              <a:avLst/>
              <a:gdLst>
                <a:gd name="T0" fmla="*/ 53 w 54"/>
                <a:gd name="T1" fmla="*/ 10 h 26"/>
                <a:gd name="T2" fmla="*/ 49 w 54"/>
                <a:gd name="T3" fmla="*/ 9 h 26"/>
                <a:gd name="T4" fmla="*/ 50 w 54"/>
                <a:gd name="T5" fmla="*/ 8 h 26"/>
                <a:gd name="T6" fmla="*/ 48 w 54"/>
                <a:gd name="T7" fmla="*/ 7 h 26"/>
                <a:gd name="T8" fmla="*/ 49 w 54"/>
                <a:gd name="T9" fmla="*/ 6 h 26"/>
                <a:gd name="T10" fmla="*/ 46 w 54"/>
                <a:gd name="T11" fmla="*/ 5 h 26"/>
                <a:gd name="T12" fmla="*/ 48 w 54"/>
                <a:gd name="T13" fmla="*/ 3 h 26"/>
                <a:gd name="T14" fmla="*/ 43 w 54"/>
                <a:gd name="T15" fmla="*/ 3 h 26"/>
                <a:gd name="T16" fmla="*/ 39 w 54"/>
                <a:gd name="T17" fmla="*/ 1 h 26"/>
                <a:gd name="T18" fmla="*/ 39 w 54"/>
                <a:gd name="T19" fmla="*/ 4 h 26"/>
                <a:gd name="T20" fmla="*/ 36 w 54"/>
                <a:gd name="T21" fmla="*/ 5 h 26"/>
                <a:gd name="T22" fmla="*/ 32 w 54"/>
                <a:gd name="T23" fmla="*/ 5 h 26"/>
                <a:gd name="T24" fmla="*/ 32 w 54"/>
                <a:gd name="T25" fmla="*/ 9 h 26"/>
                <a:gd name="T26" fmla="*/ 26 w 54"/>
                <a:gd name="T27" fmla="*/ 5 h 26"/>
                <a:gd name="T28" fmla="*/ 25 w 54"/>
                <a:gd name="T29" fmla="*/ 8 h 26"/>
                <a:gd name="T30" fmla="*/ 21 w 54"/>
                <a:gd name="T31" fmla="*/ 5 h 26"/>
                <a:gd name="T32" fmla="*/ 21 w 54"/>
                <a:gd name="T33" fmla="*/ 9 h 26"/>
                <a:gd name="T34" fmla="*/ 19 w 54"/>
                <a:gd name="T35" fmla="*/ 9 h 26"/>
                <a:gd name="T36" fmla="*/ 17 w 54"/>
                <a:gd name="T37" fmla="*/ 12 h 26"/>
                <a:gd name="T38" fmla="*/ 14 w 54"/>
                <a:gd name="T39" fmla="*/ 8 h 26"/>
                <a:gd name="T40" fmla="*/ 16 w 54"/>
                <a:gd name="T41" fmla="*/ 8 h 26"/>
                <a:gd name="T42" fmla="*/ 14 w 54"/>
                <a:gd name="T43" fmla="*/ 5 h 26"/>
                <a:gd name="T44" fmla="*/ 7 w 54"/>
                <a:gd name="T45" fmla="*/ 2 h 26"/>
                <a:gd name="T46" fmla="*/ 9 w 54"/>
                <a:gd name="T47" fmla="*/ 4 h 26"/>
                <a:gd name="T48" fmla="*/ 8 w 54"/>
                <a:gd name="T49" fmla="*/ 4 h 26"/>
                <a:gd name="T50" fmla="*/ 10 w 54"/>
                <a:gd name="T51" fmla="*/ 8 h 26"/>
                <a:gd name="T52" fmla="*/ 5 w 54"/>
                <a:gd name="T53" fmla="*/ 6 h 26"/>
                <a:gd name="T54" fmla="*/ 3 w 54"/>
                <a:gd name="T55" fmla="*/ 6 h 26"/>
                <a:gd name="T56" fmla="*/ 5 w 54"/>
                <a:gd name="T57" fmla="*/ 7 h 26"/>
                <a:gd name="T58" fmla="*/ 5 w 54"/>
                <a:gd name="T59" fmla="*/ 8 h 26"/>
                <a:gd name="T60" fmla="*/ 2 w 54"/>
                <a:gd name="T61" fmla="*/ 7 h 26"/>
                <a:gd name="T62" fmla="*/ 1 w 54"/>
                <a:gd name="T63" fmla="*/ 9 h 26"/>
                <a:gd name="T64" fmla="*/ 8 w 54"/>
                <a:gd name="T65" fmla="*/ 10 h 26"/>
                <a:gd name="T66" fmla="*/ 13 w 54"/>
                <a:gd name="T67" fmla="*/ 11 h 26"/>
                <a:gd name="T68" fmla="*/ 11 w 54"/>
                <a:gd name="T69" fmla="*/ 12 h 26"/>
                <a:gd name="T70" fmla="*/ 12 w 54"/>
                <a:gd name="T71" fmla="*/ 13 h 26"/>
                <a:gd name="T72" fmla="*/ 8 w 54"/>
                <a:gd name="T73" fmla="*/ 14 h 26"/>
                <a:gd name="T74" fmla="*/ 3 w 54"/>
                <a:gd name="T75" fmla="*/ 15 h 26"/>
                <a:gd name="T76" fmla="*/ 10 w 54"/>
                <a:gd name="T77" fmla="*/ 16 h 26"/>
                <a:gd name="T78" fmla="*/ 12 w 54"/>
                <a:gd name="T79" fmla="*/ 18 h 26"/>
                <a:gd name="T80" fmla="*/ 15 w 54"/>
                <a:gd name="T81" fmla="*/ 17 h 26"/>
                <a:gd name="T82" fmla="*/ 13 w 54"/>
                <a:gd name="T83" fmla="*/ 18 h 26"/>
                <a:gd name="T84" fmla="*/ 15 w 54"/>
                <a:gd name="T85" fmla="*/ 18 h 26"/>
                <a:gd name="T86" fmla="*/ 10 w 54"/>
                <a:gd name="T87" fmla="*/ 23 h 26"/>
                <a:gd name="T88" fmla="*/ 15 w 54"/>
                <a:gd name="T89" fmla="*/ 23 h 26"/>
                <a:gd name="T90" fmla="*/ 21 w 54"/>
                <a:gd name="T91" fmla="*/ 24 h 26"/>
                <a:gd name="T92" fmla="*/ 20 w 54"/>
                <a:gd name="T93" fmla="*/ 24 h 26"/>
                <a:gd name="T94" fmla="*/ 22 w 54"/>
                <a:gd name="T95" fmla="*/ 25 h 26"/>
                <a:gd name="T96" fmla="*/ 29 w 54"/>
                <a:gd name="T97" fmla="*/ 26 h 26"/>
                <a:gd name="T98" fmla="*/ 33 w 54"/>
                <a:gd name="T99" fmla="*/ 25 h 26"/>
                <a:gd name="T100" fmla="*/ 39 w 54"/>
                <a:gd name="T101" fmla="*/ 23 h 26"/>
                <a:gd name="T102" fmla="*/ 46 w 54"/>
                <a:gd name="T103" fmla="*/ 19 h 26"/>
                <a:gd name="T104" fmla="*/ 52 w 54"/>
                <a:gd name="T105" fmla="*/ 16 h 26"/>
                <a:gd name="T106" fmla="*/ 52 w 54"/>
                <a:gd name="T107" fmla="*/ 14 h 26"/>
                <a:gd name="T108" fmla="*/ 54 w 54"/>
                <a:gd name="T109" fmla="*/ 13 h 26"/>
                <a:gd name="T110" fmla="*/ 52 w 54"/>
                <a:gd name="T111" fmla="*/ 12 h 26"/>
                <a:gd name="T112" fmla="*/ 53 w 54"/>
                <a:gd name="T113" fmla="*/ 10 h 26"/>
                <a:gd name="T114" fmla="*/ 53 w 54"/>
                <a:gd name="T115" fmla="*/ 1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4" h="26">
                  <a:moveTo>
                    <a:pt x="53" y="10"/>
                  </a:moveTo>
                  <a:cubicBezTo>
                    <a:pt x="53" y="10"/>
                    <a:pt x="49" y="9"/>
                    <a:pt x="49" y="9"/>
                  </a:cubicBezTo>
                  <a:cubicBezTo>
                    <a:pt x="49" y="9"/>
                    <a:pt x="50" y="8"/>
                    <a:pt x="50" y="8"/>
                  </a:cubicBezTo>
                  <a:cubicBezTo>
                    <a:pt x="49" y="8"/>
                    <a:pt x="47" y="8"/>
                    <a:pt x="48" y="7"/>
                  </a:cubicBezTo>
                  <a:cubicBezTo>
                    <a:pt x="48" y="7"/>
                    <a:pt x="49" y="6"/>
                    <a:pt x="49" y="6"/>
                  </a:cubicBezTo>
                  <a:cubicBezTo>
                    <a:pt x="48" y="5"/>
                    <a:pt x="46" y="5"/>
                    <a:pt x="46" y="5"/>
                  </a:cubicBezTo>
                  <a:cubicBezTo>
                    <a:pt x="46" y="4"/>
                    <a:pt x="48" y="3"/>
                    <a:pt x="48" y="3"/>
                  </a:cubicBezTo>
                  <a:cubicBezTo>
                    <a:pt x="48" y="3"/>
                    <a:pt x="44" y="4"/>
                    <a:pt x="43" y="3"/>
                  </a:cubicBezTo>
                  <a:cubicBezTo>
                    <a:pt x="42" y="2"/>
                    <a:pt x="41" y="1"/>
                    <a:pt x="39" y="1"/>
                  </a:cubicBezTo>
                  <a:cubicBezTo>
                    <a:pt x="38" y="1"/>
                    <a:pt x="40" y="3"/>
                    <a:pt x="39" y="4"/>
                  </a:cubicBezTo>
                  <a:cubicBezTo>
                    <a:pt x="38" y="5"/>
                    <a:pt x="37" y="4"/>
                    <a:pt x="36" y="5"/>
                  </a:cubicBezTo>
                  <a:cubicBezTo>
                    <a:pt x="35" y="6"/>
                    <a:pt x="34" y="5"/>
                    <a:pt x="32" y="5"/>
                  </a:cubicBezTo>
                  <a:cubicBezTo>
                    <a:pt x="30" y="4"/>
                    <a:pt x="33" y="8"/>
                    <a:pt x="32" y="9"/>
                  </a:cubicBezTo>
                  <a:cubicBezTo>
                    <a:pt x="32" y="9"/>
                    <a:pt x="28" y="2"/>
                    <a:pt x="26" y="5"/>
                  </a:cubicBezTo>
                  <a:cubicBezTo>
                    <a:pt x="25" y="5"/>
                    <a:pt x="26" y="7"/>
                    <a:pt x="25" y="8"/>
                  </a:cubicBezTo>
                  <a:cubicBezTo>
                    <a:pt x="25" y="9"/>
                    <a:pt x="22" y="5"/>
                    <a:pt x="21" y="5"/>
                  </a:cubicBezTo>
                  <a:cubicBezTo>
                    <a:pt x="20" y="5"/>
                    <a:pt x="23" y="9"/>
                    <a:pt x="21" y="9"/>
                  </a:cubicBezTo>
                  <a:cubicBezTo>
                    <a:pt x="20" y="9"/>
                    <a:pt x="20" y="9"/>
                    <a:pt x="19" y="9"/>
                  </a:cubicBezTo>
                  <a:cubicBezTo>
                    <a:pt x="18" y="9"/>
                    <a:pt x="17" y="11"/>
                    <a:pt x="17" y="12"/>
                  </a:cubicBezTo>
                  <a:cubicBezTo>
                    <a:pt x="17" y="11"/>
                    <a:pt x="14" y="9"/>
                    <a:pt x="14" y="8"/>
                  </a:cubicBezTo>
                  <a:cubicBezTo>
                    <a:pt x="14" y="8"/>
                    <a:pt x="16" y="8"/>
                    <a:pt x="16" y="8"/>
                  </a:cubicBezTo>
                  <a:cubicBezTo>
                    <a:pt x="16" y="7"/>
                    <a:pt x="14" y="5"/>
                    <a:pt x="14" y="5"/>
                  </a:cubicBezTo>
                  <a:cubicBezTo>
                    <a:pt x="13" y="5"/>
                    <a:pt x="8" y="0"/>
                    <a:pt x="7" y="2"/>
                  </a:cubicBezTo>
                  <a:cubicBezTo>
                    <a:pt x="7" y="3"/>
                    <a:pt x="10" y="3"/>
                    <a:pt x="9" y="4"/>
                  </a:cubicBezTo>
                  <a:cubicBezTo>
                    <a:pt x="9" y="4"/>
                    <a:pt x="9" y="4"/>
                    <a:pt x="8" y="4"/>
                  </a:cubicBezTo>
                  <a:cubicBezTo>
                    <a:pt x="10" y="3"/>
                    <a:pt x="11" y="7"/>
                    <a:pt x="10" y="8"/>
                  </a:cubicBezTo>
                  <a:cubicBezTo>
                    <a:pt x="10" y="8"/>
                    <a:pt x="2" y="1"/>
                    <a:pt x="5" y="6"/>
                  </a:cubicBezTo>
                  <a:cubicBezTo>
                    <a:pt x="5" y="6"/>
                    <a:pt x="3" y="6"/>
                    <a:pt x="3" y="6"/>
                  </a:cubicBezTo>
                  <a:cubicBezTo>
                    <a:pt x="3" y="7"/>
                    <a:pt x="5" y="7"/>
                    <a:pt x="5" y="7"/>
                  </a:cubicBezTo>
                  <a:cubicBezTo>
                    <a:pt x="5" y="6"/>
                    <a:pt x="5" y="8"/>
                    <a:pt x="5" y="8"/>
                  </a:cubicBezTo>
                  <a:cubicBezTo>
                    <a:pt x="5" y="8"/>
                    <a:pt x="3" y="7"/>
                    <a:pt x="2" y="7"/>
                  </a:cubicBezTo>
                  <a:cubicBezTo>
                    <a:pt x="3" y="7"/>
                    <a:pt x="0" y="10"/>
                    <a:pt x="1" y="9"/>
                  </a:cubicBezTo>
                  <a:cubicBezTo>
                    <a:pt x="0" y="11"/>
                    <a:pt x="8" y="10"/>
                    <a:pt x="8" y="10"/>
                  </a:cubicBezTo>
                  <a:cubicBezTo>
                    <a:pt x="9" y="10"/>
                    <a:pt x="13" y="11"/>
                    <a:pt x="13" y="11"/>
                  </a:cubicBezTo>
                  <a:cubicBezTo>
                    <a:pt x="12" y="11"/>
                    <a:pt x="11" y="11"/>
                    <a:pt x="11" y="12"/>
                  </a:cubicBezTo>
                  <a:cubicBezTo>
                    <a:pt x="11" y="12"/>
                    <a:pt x="12" y="13"/>
                    <a:pt x="12" y="13"/>
                  </a:cubicBezTo>
                  <a:cubicBezTo>
                    <a:pt x="11" y="14"/>
                    <a:pt x="9" y="14"/>
                    <a:pt x="8" y="14"/>
                  </a:cubicBezTo>
                  <a:cubicBezTo>
                    <a:pt x="8" y="14"/>
                    <a:pt x="2" y="15"/>
                    <a:pt x="3" y="15"/>
                  </a:cubicBezTo>
                  <a:cubicBezTo>
                    <a:pt x="5" y="16"/>
                    <a:pt x="8" y="15"/>
                    <a:pt x="10" y="16"/>
                  </a:cubicBezTo>
                  <a:cubicBezTo>
                    <a:pt x="11" y="17"/>
                    <a:pt x="11" y="18"/>
                    <a:pt x="12" y="18"/>
                  </a:cubicBezTo>
                  <a:cubicBezTo>
                    <a:pt x="12" y="18"/>
                    <a:pt x="14" y="17"/>
                    <a:pt x="15" y="17"/>
                  </a:cubicBezTo>
                  <a:cubicBezTo>
                    <a:pt x="14" y="17"/>
                    <a:pt x="13" y="18"/>
                    <a:pt x="13" y="18"/>
                  </a:cubicBezTo>
                  <a:cubicBezTo>
                    <a:pt x="13" y="19"/>
                    <a:pt x="15" y="18"/>
                    <a:pt x="15" y="18"/>
                  </a:cubicBezTo>
                  <a:cubicBezTo>
                    <a:pt x="16" y="19"/>
                    <a:pt x="8" y="23"/>
                    <a:pt x="10" y="23"/>
                  </a:cubicBezTo>
                  <a:cubicBezTo>
                    <a:pt x="12" y="24"/>
                    <a:pt x="14" y="23"/>
                    <a:pt x="15" y="23"/>
                  </a:cubicBezTo>
                  <a:cubicBezTo>
                    <a:pt x="17" y="23"/>
                    <a:pt x="19" y="23"/>
                    <a:pt x="21" y="24"/>
                  </a:cubicBezTo>
                  <a:cubicBezTo>
                    <a:pt x="20" y="23"/>
                    <a:pt x="20" y="24"/>
                    <a:pt x="20" y="24"/>
                  </a:cubicBezTo>
                  <a:cubicBezTo>
                    <a:pt x="21" y="25"/>
                    <a:pt x="22" y="25"/>
                    <a:pt x="22" y="25"/>
                  </a:cubicBezTo>
                  <a:cubicBezTo>
                    <a:pt x="24" y="26"/>
                    <a:pt x="27" y="26"/>
                    <a:pt x="29" y="26"/>
                  </a:cubicBezTo>
                  <a:cubicBezTo>
                    <a:pt x="31" y="26"/>
                    <a:pt x="31" y="25"/>
                    <a:pt x="33" y="25"/>
                  </a:cubicBezTo>
                  <a:cubicBezTo>
                    <a:pt x="35" y="24"/>
                    <a:pt x="37" y="24"/>
                    <a:pt x="39" y="23"/>
                  </a:cubicBezTo>
                  <a:cubicBezTo>
                    <a:pt x="42" y="21"/>
                    <a:pt x="43" y="20"/>
                    <a:pt x="46" y="19"/>
                  </a:cubicBezTo>
                  <a:cubicBezTo>
                    <a:pt x="48" y="19"/>
                    <a:pt x="49" y="16"/>
                    <a:pt x="52" y="16"/>
                  </a:cubicBezTo>
                  <a:cubicBezTo>
                    <a:pt x="52" y="15"/>
                    <a:pt x="53" y="15"/>
                    <a:pt x="52" y="14"/>
                  </a:cubicBezTo>
                  <a:cubicBezTo>
                    <a:pt x="51" y="13"/>
                    <a:pt x="53" y="13"/>
                    <a:pt x="54" y="13"/>
                  </a:cubicBezTo>
                  <a:cubicBezTo>
                    <a:pt x="54" y="13"/>
                    <a:pt x="52" y="12"/>
                    <a:pt x="52" y="12"/>
                  </a:cubicBezTo>
                  <a:cubicBezTo>
                    <a:pt x="52" y="11"/>
                    <a:pt x="54" y="10"/>
                    <a:pt x="53" y="10"/>
                  </a:cubicBezTo>
                  <a:cubicBezTo>
                    <a:pt x="51" y="9"/>
                    <a:pt x="54" y="10"/>
                    <a:pt x="53" y="10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45" name="Freeform 406">
              <a:extLst>
                <a:ext uri="{FF2B5EF4-FFF2-40B4-BE49-F238E27FC236}">
                  <a16:creationId xmlns:a16="http://schemas.microsoft.com/office/drawing/2014/main" id="{F5D5EE5A-6DD2-BCA0-643A-A8C45047B7D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8057" y="1588138"/>
              <a:ext cx="472099" cy="344411"/>
            </a:xfrm>
            <a:custGeom>
              <a:avLst/>
              <a:gdLst>
                <a:gd name="T0" fmla="*/ 77 w 90"/>
                <a:gd name="T1" fmla="*/ 2 h 62"/>
                <a:gd name="T2" fmla="*/ 66 w 90"/>
                <a:gd name="T3" fmla="*/ 6 h 62"/>
                <a:gd name="T4" fmla="*/ 51 w 90"/>
                <a:gd name="T5" fmla="*/ 8 h 62"/>
                <a:gd name="T6" fmla="*/ 48 w 90"/>
                <a:gd name="T7" fmla="*/ 9 h 62"/>
                <a:gd name="T8" fmla="*/ 39 w 90"/>
                <a:gd name="T9" fmla="*/ 11 h 62"/>
                <a:gd name="T10" fmla="*/ 32 w 90"/>
                <a:gd name="T11" fmla="*/ 14 h 62"/>
                <a:gd name="T12" fmla="*/ 26 w 90"/>
                <a:gd name="T13" fmla="*/ 19 h 62"/>
                <a:gd name="T14" fmla="*/ 26 w 90"/>
                <a:gd name="T15" fmla="*/ 21 h 62"/>
                <a:gd name="T16" fmla="*/ 27 w 90"/>
                <a:gd name="T17" fmla="*/ 23 h 62"/>
                <a:gd name="T18" fmla="*/ 23 w 90"/>
                <a:gd name="T19" fmla="*/ 25 h 62"/>
                <a:gd name="T20" fmla="*/ 21 w 90"/>
                <a:gd name="T21" fmla="*/ 28 h 62"/>
                <a:gd name="T22" fmla="*/ 21 w 90"/>
                <a:gd name="T23" fmla="*/ 29 h 62"/>
                <a:gd name="T24" fmla="*/ 14 w 90"/>
                <a:gd name="T25" fmla="*/ 31 h 62"/>
                <a:gd name="T26" fmla="*/ 19 w 90"/>
                <a:gd name="T27" fmla="*/ 34 h 62"/>
                <a:gd name="T28" fmla="*/ 9 w 90"/>
                <a:gd name="T29" fmla="*/ 38 h 62"/>
                <a:gd name="T30" fmla="*/ 6 w 90"/>
                <a:gd name="T31" fmla="*/ 41 h 62"/>
                <a:gd name="T32" fmla="*/ 5 w 90"/>
                <a:gd name="T33" fmla="*/ 47 h 62"/>
                <a:gd name="T34" fmla="*/ 4 w 90"/>
                <a:gd name="T35" fmla="*/ 53 h 62"/>
                <a:gd name="T36" fmla="*/ 12 w 90"/>
                <a:gd name="T37" fmla="*/ 55 h 62"/>
                <a:gd name="T38" fmla="*/ 12 w 90"/>
                <a:gd name="T39" fmla="*/ 56 h 62"/>
                <a:gd name="T40" fmla="*/ 16 w 90"/>
                <a:gd name="T41" fmla="*/ 62 h 62"/>
                <a:gd name="T42" fmla="*/ 26 w 90"/>
                <a:gd name="T43" fmla="*/ 61 h 62"/>
                <a:gd name="T44" fmla="*/ 26 w 90"/>
                <a:gd name="T45" fmla="*/ 59 h 62"/>
                <a:gd name="T46" fmla="*/ 20 w 90"/>
                <a:gd name="T47" fmla="*/ 48 h 62"/>
                <a:gd name="T48" fmla="*/ 20 w 90"/>
                <a:gd name="T49" fmla="*/ 42 h 62"/>
                <a:gd name="T50" fmla="*/ 22 w 90"/>
                <a:gd name="T51" fmla="*/ 40 h 62"/>
                <a:gd name="T52" fmla="*/ 21 w 90"/>
                <a:gd name="T53" fmla="*/ 36 h 62"/>
                <a:gd name="T54" fmla="*/ 27 w 90"/>
                <a:gd name="T55" fmla="*/ 34 h 62"/>
                <a:gd name="T56" fmla="*/ 27 w 90"/>
                <a:gd name="T57" fmla="*/ 32 h 62"/>
                <a:gd name="T58" fmla="*/ 32 w 90"/>
                <a:gd name="T59" fmla="*/ 31 h 62"/>
                <a:gd name="T60" fmla="*/ 35 w 90"/>
                <a:gd name="T61" fmla="*/ 29 h 62"/>
                <a:gd name="T62" fmla="*/ 35 w 90"/>
                <a:gd name="T63" fmla="*/ 26 h 62"/>
                <a:gd name="T64" fmla="*/ 42 w 90"/>
                <a:gd name="T65" fmla="*/ 24 h 62"/>
                <a:gd name="T66" fmla="*/ 45 w 90"/>
                <a:gd name="T67" fmla="*/ 22 h 62"/>
                <a:gd name="T68" fmla="*/ 58 w 90"/>
                <a:gd name="T69" fmla="*/ 15 h 62"/>
                <a:gd name="T70" fmla="*/ 81 w 90"/>
                <a:gd name="T71" fmla="*/ 8 h 62"/>
                <a:gd name="T72" fmla="*/ 84 w 90"/>
                <a:gd name="T73" fmla="*/ 1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90" h="62">
                  <a:moveTo>
                    <a:pt x="84" y="1"/>
                  </a:moveTo>
                  <a:cubicBezTo>
                    <a:pt x="81" y="1"/>
                    <a:pt x="80" y="0"/>
                    <a:pt x="77" y="2"/>
                  </a:cubicBezTo>
                  <a:cubicBezTo>
                    <a:pt x="76" y="2"/>
                    <a:pt x="72" y="3"/>
                    <a:pt x="73" y="4"/>
                  </a:cubicBezTo>
                  <a:cubicBezTo>
                    <a:pt x="72" y="4"/>
                    <a:pt x="68" y="6"/>
                    <a:pt x="66" y="6"/>
                  </a:cubicBezTo>
                  <a:cubicBezTo>
                    <a:pt x="64" y="6"/>
                    <a:pt x="61" y="7"/>
                    <a:pt x="59" y="8"/>
                  </a:cubicBezTo>
                  <a:cubicBezTo>
                    <a:pt x="56" y="8"/>
                    <a:pt x="54" y="8"/>
                    <a:pt x="51" y="8"/>
                  </a:cubicBezTo>
                  <a:cubicBezTo>
                    <a:pt x="51" y="8"/>
                    <a:pt x="45" y="8"/>
                    <a:pt x="46" y="9"/>
                  </a:cubicBezTo>
                  <a:cubicBezTo>
                    <a:pt x="46" y="9"/>
                    <a:pt x="48" y="9"/>
                    <a:pt x="48" y="9"/>
                  </a:cubicBezTo>
                  <a:cubicBezTo>
                    <a:pt x="47" y="10"/>
                    <a:pt x="45" y="10"/>
                    <a:pt x="44" y="11"/>
                  </a:cubicBezTo>
                  <a:cubicBezTo>
                    <a:pt x="43" y="11"/>
                    <a:pt x="41" y="11"/>
                    <a:pt x="39" y="11"/>
                  </a:cubicBezTo>
                  <a:cubicBezTo>
                    <a:pt x="38" y="11"/>
                    <a:pt x="38" y="11"/>
                    <a:pt x="36" y="12"/>
                  </a:cubicBezTo>
                  <a:cubicBezTo>
                    <a:pt x="35" y="15"/>
                    <a:pt x="34" y="14"/>
                    <a:pt x="32" y="14"/>
                  </a:cubicBezTo>
                  <a:cubicBezTo>
                    <a:pt x="30" y="15"/>
                    <a:pt x="31" y="17"/>
                    <a:pt x="28" y="17"/>
                  </a:cubicBezTo>
                  <a:cubicBezTo>
                    <a:pt x="26" y="17"/>
                    <a:pt x="27" y="19"/>
                    <a:pt x="26" y="19"/>
                  </a:cubicBezTo>
                  <a:cubicBezTo>
                    <a:pt x="25" y="20"/>
                    <a:pt x="22" y="18"/>
                    <a:pt x="23" y="19"/>
                  </a:cubicBezTo>
                  <a:cubicBezTo>
                    <a:pt x="23" y="20"/>
                    <a:pt x="26" y="21"/>
                    <a:pt x="26" y="21"/>
                  </a:cubicBezTo>
                  <a:cubicBezTo>
                    <a:pt x="26" y="21"/>
                    <a:pt x="22" y="22"/>
                    <a:pt x="22" y="22"/>
                  </a:cubicBezTo>
                  <a:cubicBezTo>
                    <a:pt x="22" y="23"/>
                    <a:pt x="27" y="23"/>
                    <a:pt x="27" y="23"/>
                  </a:cubicBezTo>
                  <a:cubicBezTo>
                    <a:pt x="27" y="24"/>
                    <a:pt x="20" y="24"/>
                    <a:pt x="21" y="25"/>
                  </a:cubicBezTo>
                  <a:cubicBezTo>
                    <a:pt x="21" y="24"/>
                    <a:pt x="23" y="25"/>
                    <a:pt x="23" y="25"/>
                  </a:cubicBezTo>
                  <a:cubicBezTo>
                    <a:pt x="21" y="26"/>
                    <a:pt x="20" y="25"/>
                    <a:pt x="20" y="26"/>
                  </a:cubicBezTo>
                  <a:cubicBezTo>
                    <a:pt x="19" y="27"/>
                    <a:pt x="21" y="28"/>
                    <a:pt x="21" y="28"/>
                  </a:cubicBezTo>
                  <a:cubicBezTo>
                    <a:pt x="20" y="28"/>
                    <a:pt x="19" y="28"/>
                    <a:pt x="18" y="28"/>
                  </a:cubicBezTo>
                  <a:cubicBezTo>
                    <a:pt x="18" y="28"/>
                    <a:pt x="20" y="29"/>
                    <a:pt x="21" y="29"/>
                  </a:cubicBezTo>
                  <a:cubicBezTo>
                    <a:pt x="19" y="29"/>
                    <a:pt x="18" y="29"/>
                    <a:pt x="17" y="30"/>
                  </a:cubicBezTo>
                  <a:cubicBezTo>
                    <a:pt x="16" y="31"/>
                    <a:pt x="15" y="31"/>
                    <a:pt x="14" y="31"/>
                  </a:cubicBezTo>
                  <a:cubicBezTo>
                    <a:pt x="12" y="32"/>
                    <a:pt x="12" y="33"/>
                    <a:pt x="14" y="33"/>
                  </a:cubicBezTo>
                  <a:cubicBezTo>
                    <a:pt x="15" y="33"/>
                    <a:pt x="18" y="34"/>
                    <a:pt x="19" y="34"/>
                  </a:cubicBezTo>
                  <a:cubicBezTo>
                    <a:pt x="17" y="35"/>
                    <a:pt x="15" y="33"/>
                    <a:pt x="15" y="36"/>
                  </a:cubicBezTo>
                  <a:cubicBezTo>
                    <a:pt x="15" y="37"/>
                    <a:pt x="10" y="37"/>
                    <a:pt x="9" y="38"/>
                  </a:cubicBezTo>
                  <a:cubicBezTo>
                    <a:pt x="8" y="39"/>
                    <a:pt x="9" y="39"/>
                    <a:pt x="9" y="40"/>
                  </a:cubicBezTo>
                  <a:cubicBezTo>
                    <a:pt x="9" y="40"/>
                    <a:pt x="6" y="41"/>
                    <a:pt x="6" y="41"/>
                  </a:cubicBezTo>
                  <a:cubicBezTo>
                    <a:pt x="2" y="42"/>
                    <a:pt x="7" y="42"/>
                    <a:pt x="7" y="43"/>
                  </a:cubicBezTo>
                  <a:cubicBezTo>
                    <a:pt x="8" y="44"/>
                    <a:pt x="5" y="47"/>
                    <a:pt x="5" y="47"/>
                  </a:cubicBezTo>
                  <a:cubicBezTo>
                    <a:pt x="3" y="49"/>
                    <a:pt x="0" y="47"/>
                    <a:pt x="0" y="51"/>
                  </a:cubicBezTo>
                  <a:cubicBezTo>
                    <a:pt x="0" y="55"/>
                    <a:pt x="2" y="53"/>
                    <a:pt x="4" y="53"/>
                  </a:cubicBezTo>
                  <a:cubicBezTo>
                    <a:pt x="6" y="54"/>
                    <a:pt x="7" y="55"/>
                    <a:pt x="9" y="54"/>
                  </a:cubicBezTo>
                  <a:cubicBezTo>
                    <a:pt x="9" y="54"/>
                    <a:pt x="11" y="56"/>
                    <a:pt x="12" y="55"/>
                  </a:cubicBezTo>
                  <a:cubicBezTo>
                    <a:pt x="12" y="55"/>
                    <a:pt x="10" y="55"/>
                    <a:pt x="10" y="56"/>
                  </a:cubicBezTo>
                  <a:cubicBezTo>
                    <a:pt x="11" y="56"/>
                    <a:pt x="12" y="56"/>
                    <a:pt x="12" y="56"/>
                  </a:cubicBezTo>
                  <a:cubicBezTo>
                    <a:pt x="12" y="56"/>
                    <a:pt x="10" y="60"/>
                    <a:pt x="10" y="60"/>
                  </a:cubicBezTo>
                  <a:cubicBezTo>
                    <a:pt x="12" y="61"/>
                    <a:pt x="14" y="61"/>
                    <a:pt x="16" y="62"/>
                  </a:cubicBezTo>
                  <a:cubicBezTo>
                    <a:pt x="19" y="62"/>
                    <a:pt x="20" y="62"/>
                    <a:pt x="23" y="62"/>
                  </a:cubicBezTo>
                  <a:cubicBezTo>
                    <a:pt x="24" y="61"/>
                    <a:pt x="25" y="61"/>
                    <a:pt x="26" y="61"/>
                  </a:cubicBezTo>
                  <a:cubicBezTo>
                    <a:pt x="27" y="62"/>
                    <a:pt x="28" y="62"/>
                    <a:pt x="30" y="62"/>
                  </a:cubicBezTo>
                  <a:cubicBezTo>
                    <a:pt x="31" y="62"/>
                    <a:pt x="27" y="59"/>
                    <a:pt x="26" y="59"/>
                  </a:cubicBezTo>
                  <a:cubicBezTo>
                    <a:pt x="24" y="57"/>
                    <a:pt x="23" y="55"/>
                    <a:pt x="22" y="53"/>
                  </a:cubicBezTo>
                  <a:cubicBezTo>
                    <a:pt x="20" y="51"/>
                    <a:pt x="21" y="50"/>
                    <a:pt x="20" y="48"/>
                  </a:cubicBezTo>
                  <a:cubicBezTo>
                    <a:pt x="19" y="45"/>
                    <a:pt x="18" y="45"/>
                    <a:pt x="20" y="43"/>
                  </a:cubicBezTo>
                  <a:cubicBezTo>
                    <a:pt x="21" y="43"/>
                    <a:pt x="20" y="43"/>
                    <a:pt x="20" y="42"/>
                  </a:cubicBezTo>
                  <a:cubicBezTo>
                    <a:pt x="21" y="41"/>
                    <a:pt x="24" y="42"/>
                    <a:pt x="24" y="41"/>
                  </a:cubicBezTo>
                  <a:cubicBezTo>
                    <a:pt x="24" y="41"/>
                    <a:pt x="22" y="40"/>
                    <a:pt x="22" y="40"/>
                  </a:cubicBezTo>
                  <a:cubicBezTo>
                    <a:pt x="23" y="39"/>
                    <a:pt x="26" y="40"/>
                    <a:pt x="26" y="39"/>
                  </a:cubicBezTo>
                  <a:cubicBezTo>
                    <a:pt x="26" y="38"/>
                    <a:pt x="21" y="37"/>
                    <a:pt x="21" y="36"/>
                  </a:cubicBezTo>
                  <a:cubicBezTo>
                    <a:pt x="21" y="36"/>
                    <a:pt x="29" y="37"/>
                    <a:pt x="29" y="37"/>
                  </a:cubicBezTo>
                  <a:cubicBezTo>
                    <a:pt x="29" y="36"/>
                    <a:pt x="27" y="35"/>
                    <a:pt x="27" y="34"/>
                  </a:cubicBezTo>
                  <a:cubicBezTo>
                    <a:pt x="27" y="33"/>
                    <a:pt x="30" y="35"/>
                    <a:pt x="31" y="34"/>
                  </a:cubicBezTo>
                  <a:cubicBezTo>
                    <a:pt x="31" y="33"/>
                    <a:pt x="27" y="31"/>
                    <a:pt x="27" y="32"/>
                  </a:cubicBezTo>
                  <a:cubicBezTo>
                    <a:pt x="27" y="31"/>
                    <a:pt x="31" y="33"/>
                    <a:pt x="32" y="32"/>
                  </a:cubicBezTo>
                  <a:cubicBezTo>
                    <a:pt x="32" y="32"/>
                    <a:pt x="33" y="31"/>
                    <a:pt x="32" y="31"/>
                  </a:cubicBezTo>
                  <a:cubicBezTo>
                    <a:pt x="32" y="31"/>
                    <a:pt x="30" y="29"/>
                    <a:pt x="30" y="29"/>
                  </a:cubicBezTo>
                  <a:cubicBezTo>
                    <a:pt x="32" y="29"/>
                    <a:pt x="33" y="30"/>
                    <a:pt x="35" y="29"/>
                  </a:cubicBezTo>
                  <a:cubicBezTo>
                    <a:pt x="35" y="28"/>
                    <a:pt x="37" y="27"/>
                    <a:pt x="37" y="27"/>
                  </a:cubicBezTo>
                  <a:cubicBezTo>
                    <a:pt x="37" y="26"/>
                    <a:pt x="35" y="26"/>
                    <a:pt x="35" y="26"/>
                  </a:cubicBezTo>
                  <a:cubicBezTo>
                    <a:pt x="36" y="26"/>
                    <a:pt x="39" y="26"/>
                    <a:pt x="39" y="24"/>
                  </a:cubicBezTo>
                  <a:cubicBezTo>
                    <a:pt x="39" y="22"/>
                    <a:pt x="41" y="25"/>
                    <a:pt x="42" y="24"/>
                  </a:cubicBezTo>
                  <a:cubicBezTo>
                    <a:pt x="42" y="24"/>
                    <a:pt x="41" y="23"/>
                    <a:pt x="41" y="23"/>
                  </a:cubicBezTo>
                  <a:cubicBezTo>
                    <a:pt x="42" y="22"/>
                    <a:pt x="45" y="23"/>
                    <a:pt x="45" y="22"/>
                  </a:cubicBezTo>
                  <a:cubicBezTo>
                    <a:pt x="46" y="21"/>
                    <a:pt x="45" y="20"/>
                    <a:pt x="44" y="20"/>
                  </a:cubicBezTo>
                  <a:cubicBezTo>
                    <a:pt x="49" y="18"/>
                    <a:pt x="53" y="16"/>
                    <a:pt x="58" y="15"/>
                  </a:cubicBezTo>
                  <a:cubicBezTo>
                    <a:pt x="61" y="14"/>
                    <a:pt x="65" y="13"/>
                    <a:pt x="68" y="12"/>
                  </a:cubicBezTo>
                  <a:cubicBezTo>
                    <a:pt x="73" y="11"/>
                    <a:pt x="77" y="10"/>
                    <a:pt x="81" y="8"/>
                  </a:cubicBezTo>
                  <a:cubicBezTo>
                    <a:pt x="83" y="8"/>
                    <a:pt x="86" y="6"/>
                    <a:pt x="88" y="4"/>
                  </a:cubicBezTo>
                  <a:cubicBezTo>
                    <a:pt x="90" y="2"/>
                    <a:pt x="86" y="1"/>
                    <a:pt x="84" y="1"/>
                  </a:cubicBezTo>
                  <a:cubicBezTo>
                    <a:pt x="82" y="1"/>
                    <a:pt x="86" y="1"/>
                    <a:pt x="84" y="1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46" name="Freeform 488">
              <a:extLst>
                <a:ext uri="{FF2B5EF4-FFF2-40B4-BE49-F238E27FC236}">
                  <a16:creationId xmlns:a16="http://schemas.microsoft.com/office/drawing/2014/main" id="{DAC9166E-DF5A-228F-CD74-3B57C2566268}"/>
                </a:ext>
              </a:extLst>
            </p:cNvPr>
            <p:cNvSpPr>
              <a:spLocks/>
            </p:cNvSpPr>
            <p:nvPr/>
          </p:nvSpPr>
          <p:spPr bwMode="auto">
            <a:xfrm>
              <a:off x="7078645" y="1972287"/>
              <a:ext cx="57223" cy="54878"/>
            </a:xfrm>
            <a:custGeom>
              <a:avLst/>
              <a:gdLst>
                <a:gd name="T0" fmla="*/ 10 w 11"/>
                <a:gd name="T1" fmla="*/ 6 h 10"/>
                <a:gd name="T2" fmla="*/ 6 w 11"/>
                <a:gd name="T3" fmla="*/ 10 h 10"/>
                <a:gd name="T4" fmla="*/ 0 w 11"/>
                <a:gd name="T5" fmla="*/ 6 h 10"/>
                <a:gd name="T6" fmla="*/ 10 w 11"/>
                <a:gd name="T7" fmla="*/ 6 h 10"/>
                <a:gd name="T8" fmla="*/ 10 w 11"/>
                <a:gd name="T9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0">
                  <a:moveTo>
                    <a:pt x="10" y="6"/>
                  </a:moveTo>
                  <a:cubicBezTo>
                    <a:pt x="10" y="8"/>
                    <a:pt x="7" y="9"/>
                    <a:pt x="6" y="10"/>
                  </a:cubicBezTo>
                  <a:cubicBezTo>
                    <a:pt x="4" y="10"/>
                    <a:pt x="0" y="9"/>
                    <a:pt x="0" y="6"/>
                  </a:cubicBezTo>
                  <a:cubicBezTo>
                    <a:pt x="1" y="0"/>
                    <a:pt x="11" y="6"/>
                    <a:pt x="10" y="6"/>
                  </a:cubicBezTo>
                  <a:cubicBezTo>
                    <a:pt x="10" y="7"/>
                    <a:pt x="11" y="5"/>
                    <a:pt x="10" y="6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47" name="Freeform 493">
              <a:extLst>
                <a:ext uri="{FF2B5EF4-FFF2-40B4-BE49-F238E27FC236}">
                  <a16:creationId xmlns:a16="http://schemas.microsoft.com/office/drawing/2014/main" id="{EBAE4266-9B58-AA40-23D6-5407E6E0652E}"/>
                </a:ext>
              </a:extLst>
            </p:cNvPr>
            <p:cNvSpPr>
              <a:spLocks/>
            </p:cNvSpPr>
            <p:nvPr/>
          </p:nvSpPr>
          <p:spPr bwMode="auto">
            <a:xfrm>
              <a:off x="6052187" y="3045257"/>
              <a:ext cx="30400" cy="60555"/>
            </a:xfrm>
            <a:custGeom>
              <a:avLst/>
              <a:gdLst>
                <a:gd name="T0" fmla="*/ 5 w 6"/>
                <a:gd name="T1" fmla="*/ 1 h 11"/>
                <a:gd name="T2" fmla="*/ 5 w 6"/>
                <a:gd name="T3" fmla="*/ 7 h 11"/>
                <a:gd name="T4" fmla="*/ 3 w 6"/>
                <a:gd name="T5" fmla="*/ 10 h 11"/>
                <a:gd name="T6" fmla="*/ 1 w 6"/>
                <a:gd name="T7" fmla="*/ 4 h 11"/>
                <a:gd name="T8" fmla="*/ 5 w 6"/>
                <a:gd name="T9" fmla="*/ 1 h 11"/>
                <a:gd name="T10" fmla="*/ 5 w 6"/>
                <a:gd name="T11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1">
                  <a:moveTo>
                    <a:pt x="5" y="1"/>
                  </a:moveTo>
                  <a:cubicBezTo>
                    <a:pt x="5" y="3"/>
                    <a:pt x="6" y="5"/>
                    <a:pt x="5" y="7"/>
                  </a:cubicBezTo>
                  <a:cubicBezTo>
                    <a:pt x="4" y="8"/>
                    <a:pt x="5" y="11"/>
                    <a:pt x="3" y="10"/>
                  </a:cubicBezTo>
                  <a:cubicBezTo>
                    <a:pt x="1" y="8"/>
                    <a:pt x="0" y="6"/>
                    <a:pt x="1" y="4"/>
                  </a:cubicBezTo>
                  <a:cubicBezTo>
                    <a:pt x="1" y="3"/>
                    <a:pt x="5" y="0"/>
                    <a:pt x="5" y="1"/>
                  </a:cubicBezTo>
                  <a:cubicBezTo>
                    <a:pt x="5" y="2"/>
                    <a:pt x="5" y="0"/>
                    <a:pt x="5" y="1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48" name="Freeform 494">
              <a:extLst>
                <a:ext uri="{FF2B5EF4-FFF2-40B4-BE49-F238E27FC236}">
                  <a16:creationId xmlns:a16="http://schemas.microsoft.com/office/drawing/2014/main" id="{D1FD5B1A-C415-F456-BEF3-AAEF48764B39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1457" y="3100137"/>
              <a:ext cx="46495" cy="83263"/>
            </a:xfrm>
            <a:custGeom>
              <a:avLst/>
              <a:gdLst>
                <a:gd name="T0" fmla="*/ 7 w 9"/>
                <a:gd name="T1" fmla="*/ 3 h 15"/>
                <a:gd name="T2" fmla="*/ 5 w 9"/>
                <a:gd name="T3" fmla="*/ 2 h 15"/>
                <a:gd name="T4" fmla="*/ 0 w 9"/>
                <a:gd name="T5" fmla="*/ 2 h 15"/>
                <a:gd name="T6" fmla="*/ 1 w 9"/>
                <a:gd name="T7" fmla="*/ 8 h 15"/>
                <a:gd name="T8" fmla="*/ 2 w 9"/>
                <a:gd name="T9" fmla="*/ 13 h 15"/>
                <a:gd name="T10" fmla="*/ 4 w 9"/>
                <a:gd name="T11" fmla="*/ 14 h 15"/>
                <a:gd name="T12" fmla="*/ 8 w 9"/>
                <a:gd name="T13" fmla="*/ 10 h 15"/>
                <a:gd name="T14" fmla="*/ 7 w 9"/>
                <a:gd name="T15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15">
                  <a:moveTo>
                    <a:pt x="7" y="3"/>
                  </a:moveTo>
                  <a:cubicBezTo>
                    <a:pt x="6" y="3"/>
                    <a:pt x="7" y="0"/>
                    <a:pt x="5" y="2"/>
                  </a:cubicBezTo>
                  <a:cubicBezTo>
                    <a:pt x="2" y="4"/>
                    <a:pt x="3" y="4"/>
                    <a:pt x="0" y="2"/>
                  </a:cubicBezTo>
                  <a:cubicBezTo>
                    <a:pt x="0" y="2"/>
                    <a:pt x="1" y="8"/>
                    <a:pt x="1" y="8"/>
                  </a:cubicBezTo>
                  <a:cubicBezTo>
                    <a:pt x="2" y="10"/>
                    <a:pt x="2" y="11"/>
                    <a:pt x="2" y="13"/>
                  </a:cubicBezTo>
                  <a:cubicBezTo>
                    <a:pt x="2" y="14"/>
                    <a:pt x="2" y="15"/>
                    <a:pt x="4" y="14"/>
                  </a:cubicBezTo>
                  <a:cubicBezTo>
                    <a:pt x="6" y="13"/>
                    <a:pt x="8" y="13"/>
                    <a:pt x="8" y="10"/>
                  </a:cubicBezTo>
                  <a:cubicBezTo>
                    <a:pt x="8" y="9"/>
                    <a:pt x="9" y="3"/>
                    <a:pt x="7" y="3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49" name="Freeform 495">
              <a:extLst>
                <a:ext uri="{FF2B5EF4-FFF2-40B4-BE49-F238E27FC236}">
                  <a16:creationId xmlns:a16="http://schemas.microsoft.com/office/drawing/2014/main" id="{9FDF7603-26C3-AF17-BBD3-ABAD249A5BED}"/>
                </a:ext>
              </a:extLst>
            </p:cNvPr>
            <p:cNvSpPr>
              <a:spLocks/>
            </p:cNvSpPr>
            <p:nvPr/>
          </p:nvSpPr>
          <p:spPr bwMode="auto">
            <a:xfrm>
              <a:off x="6150543" y="3200431"/>
              <a:ext cx="84047" cy="54878"/>
            </a:xfrm>
            <a:custGeom>
              <a:avLst/>
              <a:gdLst>
                <a:gd name="T0" fmla="*/ 5 w 16"/>
                <a:gd name="T1" fmla="*/ 1 h 10"/>
                <a:gd name="T2" fmla="*/ 0 w 16"/>
                <a:gd name="T3" fmla="*/ 2 h 10"/>
                <a:gd name="T4" fmla="*/ 3 w 16"/>
                <a:gd name="T5" fmla="*/ 5 h 10"/>
                <a:gd name="T6" fmla="*/ 8 w 16"/>
                <a:gd name="T7" fmla="*/ 7 h 10"/>
                <a:gd name="T8" fmla="*/ 14 w 16"/>
                <a:gd name="T9" fmla="*/ 8 h 10"/>
                <a:gd name="T10" fmla="*/ 13 w 16"/>
                <a:gd name="T11" fmla="*/ 4 h 10"/>
                <a:gd name="T12" fmla="*/ 15 w 16"/>
                <a:gd name="T13" fmla="*/ 1 h 10"/>
                <a:gd name="T14" fmla="*/ 11 w 16"/>
                <a:gd name="T15" fmla="*/ 1 h 10"/>
                <a:gd name="T16" fmla="*/ 5 w 16"/>
                <a:gd name="T17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0">
                  <a:moveTo>
                    <a:pt x="5" y="1"/>
                  </a:moveTo>
                  <a:cubicBezTo>
                    <a:pt x="4" y="1"/>
                    <a:pt x="1" y="1"/>
                    <a:pt x="0" y="2"/>
                  </a:cubicBezTo>
                  <a:cubicBezTo>
                    <a:pt x="0" y="3"/>
                    <a:pt x="2" y="4"/>
                    <a:pt x="3" y="5"/>
                  </a:cubicBezTo>
                  <a:cubicBezTo>
                    <a:pt x="5" y="5"/>
                    <a:pt x="7" y="6"/>
                    <a:pt x="8" y="7"/>
                  </a:cubicBezTo>
                  <a:cubicBezTo>
                    <a:pt x="10" y="8"/>
                    <a:pt x="12" y="10"/>
                    <a:pt x="14" y="8"/>
                  </a:cubicBezTo>
                  <a:cubicBezTo>
                    <a:pt x="16" y="7"/>
                    <a:pt x="12" y="6"/>
                    <a:pt x="13" y="4"/>
                  </a:cubicBezTo>
                  <a:cubicBezTo>
                    <a:pt x="13" y="4"/>
                    <a:pt x="16" y="2"/>
                    <a:pt x="15" y="1"/>
                  </a:cubicBezTo>
                  <a:cubicBezTo>
                    <a:pt x="15" y="0"/>
                    <a:pt x="11" y="1"/>
                    <a:pt x="11" y="1"/>
                  </a:cubicBezTo>
                  <a:cubicBezTo>
                    <a:pt x="9" y="2"/>
                    <a:pt x="7" y="1"/>
                    <a:pt x="5" y="1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50" name="Freeform 496">
              <a:extLst>
                <a:ext uri="{FF2B5EF4-FFF2-40B4-BE49-F238E27FC236}">
                  <a16:creationId xmlns:a16="http://schemas.microsoft.com/office/drawing/2014/main" id="{513C946E-7B16-CCD2-86BE-4080F1C0EA6C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9464" y="3278018"/>
              <a:ext cx="67953" cy="39739"/>
            </a:xfrm>
            <a:custGeom>
              <a:avLst/>
              <a:gdLst>
                <a:gd name="T0" fmla="*/ 12 w 13"/>
                <a:gd name="T1" fmla="*/ 1 h 7"/>
                <a:gd name="T2" fmla="*/ 10 w 13"/>
                <a:gd name="T3" fmla="*/ 2 h 7"/>
                <a:gd name="T4" fmla="*/ 10 w 13"/>
                <a:gd name="T5" fmla="*/ 5 h 7"/>
                <a:gd name="T6" fmla="*/ 6 w 13"/>
                <a:gd name="T7" fmla="*/ 6 h 7"/>
                <a:gd name="T8" fmla="*/ 2 w 13"/>
                <a:gd name="T9" fmla="*/ 6 h 7"/>
                <a:gd name="T10" fmla="*/ 5 w 13"/>
                <a:gd name="T11" fmla="*/ 3 h 7"/>
                <a:gd name="T12" fmla="*/ 12 w 13"/>
                <a:gd name="T13" fmla="*/ 1 h 7"/>
                <a:gd name="T14" fmla="*/ 12 w 13"/>
                <a:gd name="T15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7">
                  <a:moveTo>
                    <a:pt x="12" y="1"/>
                  </a:moveTo>
                  <a:cubicBezTo>
                    <a:pt x="12" y="1"/>
                    <a:pt x="10" y="2"/>
                    <a:pt x="10" y="2"/>
                  </a:cubicBezTo>
                  <a:cubicBezTo>
                    <a:pt x="9" y="3"/>
                    <a:pt x="10" y="5"/>
                    <a:pt x="10" y="5"/>
                  </a:cubicBezTo>
                  <a:cubicBezTo>
                    <a:pt x="9" y="5"/>
                    <a:pt x="7" y="5"/>
                    <a:pt x="6" y="6"/>
                  </a:cubicBezTo>
                  <a:cubicBezTo>
                    <a:pt x="4" y="7"/>
                    <a:pt x="3" y="7"/>
                    <a:pt x="2" y="6"/>
                  </a:cubicBezTo>
                  <a:cubicBezTo>
                    <a:pt x="0" y="4"/>
                    <a:pt x="4" y="3"/>
                    <a:pt x="5" y="3"/>
                  </a:cubicBezTo>
                  <a:cubicBezTo>
                    <a:pt x="7" y="3"/>
                    <a:pt x="10" y="2"/>
                    <a:pt x="12" y="1"/>
                  </a:cubicBezTo>
                  <a:cubicBezTo>
                    <a:pt x="13" y="0"/>
                    <a:pt x="11" y="2"/>
                    <a:pt x="12" y="1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51" name="Freeform 497">
              <a:extLst>
                <a:ext uri="{FF2B5EF4-FFF2-40B4-BE49-F238E27FC236}">
                  <a16:creationId xmlns:a16="http://schemas.microsoft.com/office/drawing/2014/main" id="{DD79F075-328A-31F3-75D1-E9B6108E8CFF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4145" y="3283695"/>
              <a:ext cx="78683" cy="22709"/>
            </a:xfrm>
            <a:custGeom>
              <a:avLst/>
              <a:gdLst>
                <a:gd name="T0" fmla="*/ 8 w 15"/>
                <a:gd name="T1" fmla="*/ 4 h 4"/>
                <a:gd name="T2" fmla="*/ 1 w 15"/>
                <a:gd name="T3" fmla="*/ 1 h 4"/>
                <a:gd name="T4" fmla="*/ 7 w 15"/>
                <a:gd name="T5" fmla="*/ 1 h 4"/>
                <a:gd name="T6" fmla="*/ 15 w 15"/>
                <a:gd name="T7" fmla="*/ 2 h 4"/>
                <a:gd name="T8" fmla="*/ 13 w 15"/>
                <a:gd name="T9" fmla="*/ 3 h 4"/>
                <a:gd name="T10" fmla="*/ 8 w 15"/>
                <a:gd name="T11" fmla="*/ 4 h 4"/>
                <a:gd name="T12" fmla="*/ 8 w 15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4">
                  <a:moveTo>
                    <a:pt x="8" y="4"/>
                  </a:moveTo>
                  <a:cubicBezTo>
                    <a:pt x="7" y="4"/>
                    <a:pt x="0" y="2"/>
                    <a:pt x="1" y="1"/>
                  </a:cubicBezTo>
                  <a:cubicBezTo>
                    <a:pt x="1" y="0"/>
                    <a:pt x="7" y="1"/>
                    <a:pt x="7" y="1"/>
                  </a:cubicBezTo>
                  <a:cubicBezTo>
                    <a:pt x="10" y="2"/>
                    <a:pt x="12" y="2"/>
                    <a:pt x="15" y="2"/>
                  </a:cubicBezTo>
                  <a:cubicBezTo>
                    <a:pt x="15" y="2"/>
                    <a:pt x="13" y="3"/>
                    <a:pt x="13" y="3"/>
                  </a:cubicBezTo>
                  <a:cubicBezTo>
                    <a:pt x="12" y="4"/>
                    <a:pt x="10" y="4"/>
                    <a:pt x="8" y="4"/>
                  </a:cubicBezTo>
                  <a:cubicBezTo>
                    <a:pt x="6" y="4"/>
                    <a:pt x="9" y="4"/>
                    <a:pt x="8" y="4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52" name="Freeform 498">
              <a:extLst>
                <a:ext uri="{FF2B5EF4-FFF2-40B4-BE49-F238E27FC236}">
                  <a16:creationId xmlns:a16="http://schemas.microsoft.com/office/drawing/2014/main" id="{B1ED2851-C3C7-A5F3-BAE8-E23AE4C79BC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86592" y="2466194"/>
              <a:ext cx="37553" cy="39739"/>
            </a:xfrm>
            <a:custGeom>
              <a:avLst/>
              <a:gdLst>
                <a:gd name="T0" fmla="*/ 1 w 7"/>
                <a:gd name="T1" fmla="*/ 4 h 7"/>
                <a:gd name="T2" fmla="*/ 1 w 7"/>
                <a:gd name="T3" fmla="*/ 1 h 7"/>
                <a:gd name="T4" fmla="*/ 7 w 7"/>
                <a:gd name="T5" fmla="*/ 1 h 7"/>
                <a:gd name="T6" fmla="*/ 1 w 7"/>
                <a:gd name="T7" fmla="*/ 4 h 7"/>
                <a:gd name="T8" fmla="*/ 1 w 7"/>
                <a:gd name="T9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1" y="4"/>
                  </a:moveTo>
                  <a:cubicBezTo>
                    <a:pt x="1" y="3"/>
                    <a:pt x="0" y="1"/>
                    <a:pt x="1" y="1"/>
                  </a:cubicBezTo>
                  <a:cubicBezTo>
                    <a:pt x="2" y="1"/>
                    <a:pt x="7" y="0"/>
                    <a:pt x="7" y="1"/>
                  </a:cubicBezTo>
                  <a:cubicBezTo>
                    <a:pt x="7" y="2"/>
                    <a:pt x="2" y="6"/>
                    <a:pt x="1" y="4"/>
                  </a:cubicBezTo>
                  <a:cubicBezTo>
                    <a:pt x="1" y="1"/>
                    <a:pt x="2" y="7"/>
                    <a:pt x="1" y="4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53" name="Freeform 499">
              <a:extLst>
                <a:ext uri="{FF2B5EF4-FFF2-40B4-BE49-F238E27FC236}">
                  <a16:creationId xmlns:a16="http://schemas.microsoft.com/office/drawing/2014/main" id="{61527EF9-0F3D-796A-2992-67C0BF058072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1956" y="2451056"/>
              <a:ext cx="26823" cy="15139"/>
            </a:xfrm>
            <a:custGeom>
              <a:avLst/>
              <a:gdLst>
                <a:gd name="T0" fmla="*/ 3 w 5"/>
                <a:gd name="T1" fmla="*/ 2 h 3"/>
                <a:gd name="T2" fmla="*/ 0 w 5"/>
                <a:gd name="T3" fmla="*/ 1 h 3"/>
                <a:gd name="T4" fmla="*/ 4 w 5"/>
                <a:gd name="T5" fmla="*/ 1 h 3"/>
                <a:gd name="T6" fmla="*/ 3 w 5"/>
                <a:gd name="T7" fmla="*/ 2 h 3"/>
                <a:gd name="T8" fmla="*/ 3 w 5"/>
                <a:gd name="T9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3">
                  <a:moveTo>
                    <a:pt x="3" y="2"/>
                  </a:moveTo>
                  <a:cubicBezTo>
                    <a:pt x="2" y="2"/>
                    <a:pt x="0" y="1"/>
                    <a:pt x="0" y="1"/>
                  </a:cubicBezTo>
                  <a:cubicBezTo>
                    <a:pt x="0" y="1"/>
                    <a:pt x="4" y="0"/>
                    <a:pt x="4" y="1"/>
                  </a:cubicBezTo>
                  <a:cubicBezTo>
                    <a:pt x="5" y="2"/>
                    <a:pt x="4" y="3"/>
                    <a:pt x="3" y="2"/>
                  </a:cubicBezTo>
                  <a:cubicBezTo>
                    <a:pt x="1" y="2"/>
                    <a:pt x="5" y="3"/>
                    <a:pt x="3" y="2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54" name="Freeform 500">
              <a:extLst>
                <a:ext uri="{FF2B5EF4-FFF2-40B4-BE49-F238E27FC236}">
                  <a16:creationId xmlns:a16="http://schemas.microsoft.com/office/drawing/2014/main" id="{49E3B563-6DA8-8A69-3B4C-2E428D0A96B7}"/>
                </a:ext>
              </a:extLst>
            </p:cNvPr>
            <p:cNvSpPr>
              <a:spLocks/>
            </p:cNvSpPr>
            <p:nvPr/>
          </p:nvSpPr>
          <p:spPr bwMode="auto">
            <a:xfrm>
              <a:off x="6282872" y="2488902"/>
              <a:ext cx="30400" cy="54878"/>
            </a:xfrm>
            <a:custGeom>
              <a:avLst/>
              <a:gdLst>
                <a:gd name="T0" fmla="*/ 6 w 6"/>
                <a:gd name="T1" fmla="*/ 2 h 10"/>
                <a:gd name="T2" fmla="*/ 3 w 6"/>
                <a:gd name="T3" fmla="*/ 9 h 10"/>
                <a:gd name="T4" fmla="*/ 6 w 6"/>
                <a:gd name="T5" fmla="*/ 2 h 10"/>
                <a:gd name="T6" fmla="*/ 6 w 6"/>
                <a:gd name="T7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0">
                  <a:moveTo>
                    <a:pt x="6" y="2"/>
                  </a:moveTo>
                  <a:cubicBezTo>
                    <a:pt x="6" y="0"/>
                    <a:pt x="0" y="10"/>
                    <a:pt x="3" y="9"/>
                  </a:cubicBezTo>
                  <a:cubicBezTo>
                    <a:pt x="4" y="9"/>
                    <a:pt x="6" y="3"/>
                    <a:pt x="6" y="2"/>
                  </a:cubicBezTo>
                  <a:cubicBezTo>
                    <a:pt x="6" y="1"/>
                    <a:pt x="6" y="3"/>
                    <a:pt x="6" y="2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55" name="Freeform 501">
              <a:extLst>
                <a:ext uri="{FF2B5EF4-FFF2-40B4-BE49-F238E27FC236}">
                  <a16:creationId xmlns:a16="http://schemas.microsoft.com/office/drawing/2014/main" id="{9EE56FC2-4DDC-BEDD-5736-0E8BFCF7C0AF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9369" y="2394284"/>
              <a:ext cx="21459" cy="22709"/>
            </a:xfrm>
            <a:custGeom>
              <a:avLst/>
              <a:gdLst>
                <a:gd name="T0" fmla="*/ 3 w 4"/>
                <a:gd name="T1" fmla="*/ 3 h 4"/>
                <a:gd name="T2" fmla="*/ 1 w 4"/>
                <a:gd name="T3" fmla="*/ 1 h 4"/>
                <a:gd name="T4" fmla="*/ 3 w 4"/>
                <a:gd name="T5" fmla="*/ 0 h 4"/>
                <a:gd name="T6" fmla="*/ 3 w 4"/>
                <a:gd name="T7" fmla="*/ 3 h 4"/>
                <a:gd name="T8" fmla="*/ 3 w 4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3" y="3"/>
                  </a:moveTo>
                  <a:cubicBezTo>
                    <a:pt x="2" y="3"/>
                    <a:pt x="0" y="2"/>
                    <a:pt x="1" y="1"/>
                  </a:cubicBezTo>
                  <a:cubicBezTo>
                    <a:pt x="2" y="1"/>
                    <a:pt x="3" y="0"/>
                    <a:pt x="3" y="0"/>
                  </a:cubicBezTo>
                  <a:cubicBezTo>
                    <a:pt x="4" y="0"/>
                    <a:pt x="4" y="2"/>
                    <a:pt x="3" y="3"/>
                  </a:cubicBezTo>
                  <a:cubicBezTo>
                    <a:pt x="2" y="4"/>
                    <a:pt x="4" y="2"/>
                    <a:pt x="3" y="3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56" name="Freeform 502">
              <a:extLst>
                <a:ext uri="{FF2B5EF4-FFF2-40B4-BE49-F238E27FC236}">
                  <a16:creationId xmlns:a16="http://schemas.microsoft.com/office/drawing/2014/main" id="{720BC169-6B1E-F5F6-7A3B-F081E386CD54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0141" y="2566488"/>
              <a:ext cx="30400" cy="51094"/>
            </a:xfrm>
            <a:custGeom>
              <a:avLst/>
              <a:gdLst>
                <a:gd name="T0" fmla="*/ 6 w 6"/>
                <a:gd name="T1" fmla="*/ 2 h 9"/>
                <a:gd name="T2" fmla="*/ 6 w 6"/>
                <a:gd name="T3" fmla="*/ 4 h 9"/>
                <a:gd name="T4" fmla="*/ 5 w 6"/>
                <a:gd name="T5" fmla="*/ 9 h 9"/>
                <a:gd name="T6" fmla="*/ 0 w 6"/>
                <a:gd name="T7" fmla="*/ 3 h 9"/>
                <a:gd name="T8" fmla="*/ 3 w 6"/>
                <a:gd name="T9" fmla="*/ 3 h 9"/>
                <a:gd name="T10" fmla="*/ 6 w 6"/>
                <a:gd name="T11" fmla="*/ 2 h 9"/>
                <a:gd name="T12" fmla="*/ 6 w 6"/>
                <a:gd name="T13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9">
                  <a:moveTo>
                    <a:pt x="6" y="2"/>
                  </a:moveTo>
                  <a:cubicBezTo>
                    <a:pt x="6" y="1"/>
                    <a:pt x="6" y="4"/>
                    <a:pt x="6" y="4"/>
                  </a:cubicBezTo>
                  <a:cubicBezTo>
                    <a:pt x="6" y="6"/>
                    <a:pt x="6" y="8"/>
                    <a:pt x="5" y="9"/>
                  </a:cubicBezTo>
                  <a:cubicBezTo>
                    <a:pt x="5" y="9"/>
                    <a:pt x="0" y="5"/>
                    <a:pt x="0" y="3"/>
                  </a:cubicBezTo>
                  <a:cubicBezTo>
                    <a:pt x="0" y="3"/>
                    <a:pt x="2" y="2"/>
                    <a:pt x="3" y="3"/>
                  </a:cubicBezTo>
                  <a:cubicBezTo>
                    <a:pt x="4" y="4"/>
                    <a:pt x="5" y="4"/>
                    <a:pt x="6" y="2"/>
                  </a:cubicBezTo>
                  <a:cubicBezTo>
                    <a:pt x="6" y="0"/>
                    <a:pt x="6" y="3"/>
                    <a:pt x="6" y="2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57" name="Freeform 503">
              <a:extLst>
                <a:ext uri="{FF2B5EF4-FFF2-40B4-BE49-F238E27FC236}">
                  <a16:creationId xmlns:a16="http://schemas.microsoft.com/office/drawing/2014/main" id="{B4934C9C-B8C5-C7EC-0B8E-A2E016555C2F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2590" y="2577843"/>
              <a:ext cx="42917" cy="45416"/>
            </a:xfrm>
            <a:custGeom>
              <a:avLst/>
              <a:gdLst>
                <a:gd name="T0" fmla="*/ 6 w 8"/>
                <a:gd name="T1" fmla="*/ 7 h 8"/>
                <a:gd name="T2" fmla="*/ 1 w 8"/>
                <a:gd name="T3" fmla="*/ 4 h 8"/>
                <a:gd name="T4" fmla="*/ 6 w 8"/>
                <a:gd name="T5" fmla="*/ 7 h 8"/>
                <a:gd name="T6" fmla="*/ 6 w 8"/>
                <a:gd name="T7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8">
                  <a:moveTo>
                    <a:pt x="6" y="7"/>
                  </a:moveTo>
                  <a:cubicBezTo>
                    <a:pt x="5" y="8"/>
                    <a:pt x="0" y="5"/>
                    <a:pt x="1" y="4"/>
                  </a:cubicBezTo>
                  <a:cubicBezTo>
                    <a:pt x="3" y="0"/>
                    <a:pt x="8" y="5"/>
                    <a:pt x="6" y="7"/>
                  </a:cubicBezTo>
                  <a:cubicBezTo>
                    <a:pt x="5" y="8"/>
                    <a:pt x="7" y="6"/>
                    <a:pt x="6" y="7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58" name="Freeform 504">
              <a:extLst>
                <a:ext uri="{FF2B5EF4-FFF2-40B4-BE49-F238E27FC236}">
                  <a16:creationId xmlns:a16="http://schemas.microsoft.com/office/drawing/2014/main" id="{B871F07B-4678-77FF-D15A-F7182795FA20}"/>
                </a:ext>
              </a:extLst>
            </p:cNvPr>
            <p:cNvSpPr>
              <a:spLocks/>
            </p:cNvSpPr>
            <p:nvPr/>
          </p:nvSpPr>
          <p:spPr bwMode="auto">
            <a:xfrm>
              <a:off x="5894822" y="3151230"/>
              <a:ext cx="25036" cy="20817"/>
            </a:xfrm>
            <a:custGeom>
              <a:avLst/>
              <a:gdLst>
                <a:gd name="T0" fmla="*/ 4 w 5"/>
                <a:gd name="T1" fmla="*/ 2 h 4"/>
                <a:gd name="T2" fmla="*/ 3 w 5"/>
                <a:gd name="T3" fmla="*/ 3 h 4"/>
                <a:gd name="T4" fmla="*/ 0 w 5"/>
                <a:gd name="T5" fmla="*/ 2 h 4"/>
                <a:gd name="T6" fmla="*/ 4 w 5"/>
                <a:gd name="T7" fmla="*/ 0 h 4"/>
                <a:gd name="T8" fmla="*/ 4 w 5"/>
                <a:gd name="T9" fmla="*/ 2 h 4"/>
                <a:gd name="T10" fmla="*/ 4 w 5"/>
                <a:gd name="T11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4">
                  <a:moveTo>
                    <a:pt x="4" y="2"/>
                  </a:moveTo>
                  <a:cubicBezTo>
                    <a:pt x="5" y="1"/>
                    <a:pt x="4" y="4"/>
                    <a:pt x="3" y="3"/>
                  </a:cubicBezTo>
                  <a:cubicBezTo>
                    <a:pt x="3" y="3"/>
                    <a:pt x="0" y="2"/>
                    <a:pt x="0" y="2"/>
                  </a:cubicBezTo>
                  <a:cubicBezTo>
                    <a:pt x="0" y="2"/>
                    <a:pt x="3" y="0"/>
                    <a:pt x="4" y="0"/>
                  </a:cubicBezTo>
                  <a:cubicBezTo>
                    <a:pt x="4" y="0"/>
                    <a:pt x="3" y="2"/>
                    <a:pt x="4" y="2"/>
                  </a:cubicBezTo>
                  <a:cubicBezTo>
                    <a:pt x="5" y="1"/>
                    <a:pt x="3" y="2"/>
                    <a:pt x="4" y="2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59" name="Freeform 505">
              <a:extLst>
                <a:ext uri="{FF2B5EF4-FFF2-40B4-BE49-F238E27FC236}">
                  <a16:creationId xmlns:a16="http://schemas.microsoft.com/office/drawing/2014/main" id="{E368A509-AB05-663F-3527-51E8A5E3F147}"/>
                </a:ext>
              </a:extLst>
            </p:cNvPr>
            <p:cNvSpPr>
              <a:spLocks/>
            </p:cNvSpPr>
            <p:nvPr/>
          </p:nvSpPr>
          <p:spPr bwMode="auto">
            <a:xfrm>
              <a:off x="5637311" y="2471871"/>
              <a:ext cx="32188" cy="34061"/>
            </a:xfrm>
            <a:custGeom>
              <a:avLst/>
              <a:gdLst>
                <a:gd name="T0" fmla="*/ 5 w 6"/>
                <a:gd name="T1" fmla="*/ 1 h 6"/>
                <a:gd name="T2" fmla="*/ 4 w 6"/>
                <a:gd name="T3" fmla="*/ 5 h 6"/>
                <a:gd name="T4" fmla="*/ 1 w 6"/>
                <a:gd name="T5" fmla="*/ 5 h 6"/>
                <a:gd name="T6" fmla="*/ 5 w 6"/>
                <a:gd name="T7" fmla="*/ 1 h 6"/>
                <a:gd name="T8" fmla="*/ 5 w 6"/>
                <a:gd name="T9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5" y="1"/>
                  </a:moveTo>
                  <a:cubicBezTo>
                    <a:pt x="6" y="2"/>
                    <a:pt x="4" y="3"/>
                    <a:pt x="4" y="5"/>
                  </a:cubicBezTo>
                  <a:cubicBezTo>
                    <a:pt x="3" y="6"/>
                    <a:pt x="2" y="6"/>
                    <a:pt x="1" y="5"/>
                  </a:cubicBezTo>
                  <a:cubicBezTo>
                    <a:pt x="0" y="4"/>
                    <a:pt x="5" y="0"/>
                    <a:pt x="5" y="1"/>
                  </a:cubicBezTo>
                  <a:cubicBezTo>
                    <a:pt x="6" y="2"/>
                    <a:pt x="5" y="0"/>
                    <a:pt x="5" y="1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60" name="Freeform 506">
              <a:extLst>
                <a:ext uri="{FF2B5EF4-FFF2-40B4-BE49-F238E27FC236}">
                  <a16:creationId xmlns:a16="http://schemas.microsoft.com/office/drawing/2014/main" id="{330EFE89-6BE4-7F45-3BF0-DC6B61949AF0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3408" y="2511610"/>
              <a:ext cx="16094" cy="17031"/>
            </a:xfrm>
            <a:custGeom>
              <a:avLst/>
              <a:gdLst>
                <a:gd name="T0" fmla="*/ 3 w 3"/>
                <a:gd name="T1" fmla="*/ 1 h 3"/>
                <a:gd name="T2" fmla="*/ 0 w 3"/>
                <a:gd name="T3" fmla="*/ 2 h 3"/>
                <a:gd name="T4" fmla="*/ 2 w 3"/>
                <a:gd name="T5" fmla="*/ 3 h 3"/>
                <a:gd name="T6" fmla="*/ 3 w 3"/>
                <a:gd name="T7" fmla="*/ 1 h 3"/>
                <a:gd name="T8" fmla="*/ 3 w 3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3" y="1"/>
                  </a:moveTo>
                  <a:cubicBezTo>
                    <a:pt x="2" y="1"/>
                    <a:pt x="0" y="1"/>
                    <a:pt x="0" y="2"/>
                  </a:cubicBezTo>
                  <a:cubicBezTo>
                    <a:pt x="0" y="3"/>
                    <a:pt x="2" y="3"/>
                    <a:pt x="2" y="3"/>
                  </a:cubicBezTo>
                  <a:cubicBezTo>
                    <a:pt x="3" y="3"/>
                    <a:pt x="3" y="0"/>
                    <a:pt x="3" y="1"/>
                  </a:cubicBezTo>
                  <a:cubicBezTo>
                    <a:pt x="2" y="1"/>
                    <a:pt x="3" y="1"/>
                    <a:pt x="3" y="1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61" name="Freeform 507">
              <a:extLst>
                <a:ext uri="{FF2B5EF4-FFF2-40B4-BE49-F238E27FC236}">
                  <a16:creationId xmlns:a16="http://schemas.microsoft.com/office/drawing/2014/main" id="{D9433802-3005-64C2-7203-DA3CFC9A2F2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9502" y="2528643"/>
              <a:ext cx="8942" cy="5677"/>
            </a:xfrm>
            <a:custGeom>
              <a:avLst/>
              <a:gdLst>
                <a:gd name="T0" fmla="*/ 2 w 2"/>
                <a:gd name="T1" fmla="*/ 0 h 1"/>
                <a:gd name="T2" fmla="*/ 1 w 2"/>
                <a:gd name="T3" fmla="*/ 1 h 1"/>
                <a:gd name="T4" fmla="*/ 2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2" y="1"/>
                    <a:pt x="2" y="0"/>
                    <a:pt x="2" y="0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62" name="Freeform 508">
              <a:extLst>
                <a:ext uri="{FF2B5EF4-FFF2-40B4-BE49-F238E27FC236}">
                  <a16:creationId xmlns:a16="http://schemas.microsoft.com/office/drawing/2014/main" id="{0175C144-F8E8-6D15-4C28-A67754178F2A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9502" y="2543781"/>
              <a:ext cx="5364" cy="11355"/>
            </a:xfrm>
            <a:custGeom>
              <a:avLst/>
              <a:gdLst>
                <a:gd name="T0" fmla="*/ 1 w 1"/>
                <a:gd name="T1" fmla="*/ 0 h 2"/>
                <a:gd name="T2" fmla="*/ 0 w 1"/>
                <a:gd name="T3" fmla="*/ 2 h 2"/>
                <a:gd name="T4" fmla="*/ 1 w 1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cubicBezTo>
                    <a:pt x="1" y="1"/>
                    <a:pt x="0" y="2"/>
                    <a:pt x="0" y="2"/>
                  </a:cubicBezTo>
                  <a:cubicBezTo>
                    <a:pt x="1" y="2"/>
                    <a:pt x="1" y="0"/>
                    <a:pt x="1" y="0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63" name="Freeform 509">
              <a:extLst>
                <a:ext uri="{FF2B5EF4-FFF2-40B4-BE49-F238E27FC236}">
                  <a16:creationId xmlns:a16="http://schemas.microsoft.com/office/drawing/2014/main" id="{2A7E9503-ECDD-C2FA-4F3F-F981B2A566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9502" y="2555134"/>
              <a:ext cx="8942" cy="5677"/>
            </a:xfrm>
            <a:custGeom>
              <a:avLst/>
              <a:gdLst>
                <a:gd name="T0" fmla="*/ 2 w 2"/>
                <a:gd name="T1" fmla="*/ 0 h 1"/>
                <a:gd name="T2" fmla="*/ 1 w 2"/>
                <a:gd name="T3" fmla="*/ 1 h 1"/>
                <a:gd name="T4" fmla="*/ 2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2" y="1"/>
                    <a:pt x="2" y="0"/>
                    <a:pt x="2" y="0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64" name="Freeform 510">
              <a:extLst>
                <a:ext uri="{FF2B5EF4-FFF2-40B4-BE49-F238E27FC236}">
                  <a16:creationId xmlns:a16="http://schemas.microsoft.com/office/drawing/2014/main" id="{391B6652-1E25-967B-6BFD-FB91835A250A}"/>
                </a:ext>
              </a:extLst>
            </p:cNvPr>
            <p:cNvSpPr>
              <a:spLocks/>
            </p:cNvSpPr>
            <p:nvPr/>
          </p:nvSpPr>
          <p:spPr bwMode="auto">
            <a:xfrm>
              <a:off x="5710631" y="2638398"/>
              <a:ext cx="5364" cy="11355"/>
            </a:xfrm>
            <a:custGeom>
              <a:avLst/>
              <a:gdLst>
                <a:gd name="T0" fmla="*/ 0 w 1"/>
                <a:gd name="T1" fmla="*/ 0 h 2"/>
                <a:gd name="T2" fmla="*/ 0 w 1"/>
                <a:gd name="T3" fmla="*/ 2 h 2"/>
                <a:gd name="T4" fmla="*/ 0 w 1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2">
                  <a:moveTo>
                    <a:pt x="0" y="0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1" y="0"/>
                    <a:pt x="0" y="0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65" name="Rectangle 613">
              <a:extLst>
                <a:ext uri="{FF2B5EF4-FFF2-40B4-BE49-F238E27FC236}">
                  <a16:creationId xmlns:a16="http://schemas.microsoft.com/office/drawing/2014/main" id="{689ED6F5-65A2-BC22-7B18-33085F2EA9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50685" y="2038520"/>
              <a:ext cx="1790" cy="1894"/>
            </a:xfrm>
            <a:prstGeom prst="rect">
              <a:avLst/>
            </a:pr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66" name="Freeform 645">
              <a:extLst>
                <a:ext uri="{FF2B5EF4-FFF2-40B4-BE49-F238E27FC236}">
                  <a16:creationId xmlns:a16="http://schemas.microsoft.com/office/drawing/2014/main" id="{850B6312-DFAE-B348-89C0-356526D82F94}"/>
                </a:ext>
              </a:extLst>
            </p:cNvPr>
            <p:cNvSpPr>
              <a:spLocks/>
            </p:cNvSpPr>
            <p:nvPr/>
          </p:nvSpPr>
          <p:spPr bwMode="auto">
            <a:xfrm>
              <a:off x="6150543" y="2761402"/>
              <a:ext cx="162732" cy="94619"/>
            </a:xfrm>
            <a:custGeom>
              <a:avLst/>
              <a:gdLst>
                <a:gd name="T0" fmla="*/ 10 w 31"/>
                <a:gd name="T1" fmla="*/ 17 h 17"/>
                <a:gd name="T2" fmla="*/ 13 w 31"/>
                <a:gd name="T3" fmla="*/ 14 h 17"/>
                <a:gd name="T4" fmla="*/ 18 w 31"/>
                <a:gd name="T5" fmla="*/ 16 h 17"/>
                <a:gd name="T6" fmla="*/ 21 w 31"/>
                <a:gd name="T7" fmla="*/ 16 h 17"/>
                <a:gd name="T8" fmla="*/ 23 w 31"/>
                <a:gd name="T9" fmla="*/ 15 h 17"/>
                <a:gd name="T10" fmla="*/ 29 w 31"/>
                <a:gd name="T11" fmla="*/ 11 h 17"/>
                <a:gd name="T12" fmla="*/ 27 w 31"/>
                <a:gd name="T13" fmla="*/ 7 h 17"/>
                <a:gd name="T14" fmla="*/ 21 w 31"/>
                <a:gd name="T15" fmla="*/ 5 h 17"/>
                <a:gd name="T16" fmla="*/ 17 w 31"/>
                <a:gd name="T17" fmla="*/ 3 h 17"/>
                <a:gd name="T18" fmla="*/ 13 w 31"/>
                <a:gd name="T19" fmla="*/ 0 h 17"/>
                <a:gd name="T20" fmla="*/ 11 w 31"/>
                <a:gd name="T21" fmla="*/ 2 h 17"/>
                <a:gd name="T22" fmla="*/ 8 w 31"/>
                <a:gd name="T23" fmla="*/ 2 h 17"/>
                <a:gd name="T24" fmla="*/ 0 w 31"/>
                <a:gd name="T25" fmla="*/ 6 h 17"/>
                <a:gd name="T26" fmla="*/ 2 w 31"/>
                <a:gd name="T27" fmla="*/ 10 h 17"/>
                <a:gd name="T28" fmla="*/ 4 w 31"/>
                <a:gd name="T29" fmla="*/ 13 h 17"/>
                <a:gd name="T30" fmla="*/ 10 w 31"/>
                <a:gd name="T31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1" h="17">
                  <a:moveTo>
                    <a:pt x="10" y="17"/>
                  </a:moveTo>
                  <a:cubicBezTo>
                    <a:pt x="12" y="17"/>
                    <a:pt x="11" y="14"/>
                    <a:pt x="13" y="14"/>
                  </a:cubicBezTo>
                  <a:cubicBezTo>
                    <a:pt x="15" y="14"/>
                    <a:pt x="16" y="16"/>
                    <a:pt x="18" y="16"/>
                  </a:cubicBezTo>
                  <a:cubicBezTo>
                    <a:pt x="19" y="16"/>
                    <a:pt x="20" y="16"/>
                    <a:pt x="21" y="16"/>
                  </a:cubicBezTo>
                  <a:cubicBezTo>
                    <a:pt x="22" y="16"/>
                    <a:pt x="23" y="15"/>
                    <a:pt x="23" y="15"/>
                  </a:cubicBezTo>
                  <a:cubicBezTo>
                    <a:pt x="26" y="14"/>
                    <a:pt x="27" y="13"/>
                    <a:pt x="29" y="11"/>
                  </a:cubicBezTo>
                  <a:cubicBezTo>
                    <a:pt x="31" y="9"/>
                    <a:pt x="29" y="8"/>
                    <a:pt x="27" y="7"/>
                  </a:cubicBezTo>
                  <a:cubicBezTo>
                    <a:pt x="25" y="6"/>
                    <a:pt x="22" y="3"/>
                    <a:pt x="21" y="5"/>
                  </a:cubicBezTo>
                  <a:cubicBezTo>
                    <a:pt x="19" y="8"/>
                    <a:pt x="18" y="4"/>
                    <a:pt x="17" y="3"/>
                  </a:cubicBezTo>
                  <a:cubicBezTo>
                    <a:pt x="16" y="2"/>
                    <a:pt x="13" y="3"/>
                    <a:pt x="13" y="0"/>
                  </a:cubicBezTo>
                  <a:cubicBezTo>
                    <a:pt x="13" y="1"/>
                    <a:pt x="12" y="3"/>
                    <a:pt x="11" y="2"/>
                  </a:cubicBezTo>
                  <a:cubicBezTo>
                    <a:pt x="9" y="0"/>
                    <a:pt x="9" y="0"/>
                    <a:pt x="8" y="2"/>
                  </a:cubicBezTo>
                  <a:cubicBezTo>
                    <a:pt x="7" y="3"/>
                    <a:pt x="0" y="5"/>
                    <a:pt x="0" y="6"/>
                  </a:cubicBezTo>
                  <a:cubicBezTo>
                    <a:pt x="0" y="6"/>
                    <a:pt x="1" y="9"/>
                    <a:pt x="2" y="10"/>
                  </a:cubicBezTo>
                  <a:cubicBezTo>
                    <a:pt x="2" y="11"/>
                    <a:pt x="3" y="12"/>
                    <a:pt x="4" y="13"/>
                  </a:cubicBezTo>
                  <a:cubicBezTo>
                    <a:pt x="6" y="14"/>
                    <a:pt x="8" y="17"/>
                    <a:pt x="10" y="17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67" name="Freeform 646">
              <a:extLst>
                <a:ext uri="{FF2B5EF4-FFF2-40B4-BE49-F238E27FC236}">
                  <a16:creationId xmlns:a16="http://schemas.microsoft.com/office/drawing/2014/main" id="{BF5F16FD-B77F-78D1-8850-090A49D734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7224" y="2838989"/>
              <a:ext cx="194918" cy="88941"/>
            </a:xfrm>
            <a:custGeom>
              <a:avLst/>
              <a:gdLst>
                <a:gd name="T0" fmla="*/ 32 w 37"/>
                <a:gd name="T1" fmla="*/ 2 h 16"/>
                <a:gd name="T2" fmla="*/ 27 w 37"/>
                <a:gd name="T3" fmla="*/ 0 h 16"/>
                <a:gd name="T4" fmla="*/ 24 w 37"/>
                <a:gd name="T5" fmla="*/ 3 h 16"/>
                <a:gd name="T6" fmla="*/ 20 w 37"/>
                <a:gd name="T7" fmla="*/ 3 h 16"/>
                <a:gd name="T8" fmla="*/ 17 w 37"/>
                <a:gd name="T9" fmla="*/ 7 h 16"/>
                <a:gd name="T10" fmla="*/ 16 w 37"/>
                <a:gd name="T11" fmla="*/ 9 h 16"/>
                <a:gd name="T12" fmla="*/ 13 w 37"/>
                <a:gd name="T13" fmla="*/ 9 h 16"/>
                <a:gd name="T14" fmla="*/ 9 w 37"/>
                <a:gd name="T15" fmla="*/ 10 h 16"/>
                <a:gd name="T16" fmla="*/ 5 w 37"/>
                <a:gd name="T17" fmla="*/ 11 h 16"/>
                <a:gd name="T18" fmla="*/ 0 w 37"/>
                <a:gd name="T19" fmla="*/ 9 h 16"/>
                <a:gd name="T20" fmla="*/ 4 w 37"/>
                <a:gd name="T21" fmla="*/ 13 h 16"/>
                <a:gd name="T22" fmla="*/ 6 w 37"/>
                <a:gd name="T23" fmla="*/ 13 h 16"/>
                <a:gd name="T24" fmla="*/ 8 w 37"/>
                <a:gd name="T25" fmla="*/ 14 h 16"/>
                <a:gd name="T26" fmla="*/ 12 w 37"/>
                <a:gd name="T27" fmla="*/ 13 h 16"/>
                <a:gd name="T28" fmla="*/ 15 w 37"/>
                <a:gd name="T29" fmla="*/ 15 h 16"/>
                <a:gd name="T30" fmla="*/ 22 w 37"/>
                <a:gd name="T31" fmla="*/ 16 h 16"/>
                <a:gd name="T32" fmla="*/ 29 w 37"/>
                <a:gd name="T33" fmla="*/ 14 h 16"/>
                <a:gd name="T34" fmla="*/ 33 w 37"/>
                <a:gd name="T35" fmla="*/ 12 h 16"/>
                <a:gd name="T36" fmla="*/ 34 w 37"/>
                <a:gd name="T37" fmla="*/ 9 h 16"/>
                <a:gd name="T38" fmla="*/ 36 w 37"/>
                <a:gd name="T39" fmla="*/ 8 h 16"/>
                <a:gd name="T40" fmla="*/ 36 w 37"/>
                <a:gd name="T41" fmla="*/ 2 h 16"/>
                <a:gd name="T42" fmla="*/ 32 w 37"/>
                <a:gd name="T43" fmla="*/ 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7" h="16">
                  <a:moveTo>
                    <a:pt x="32" y="2"/>
                  </a:moveTo>
                  <a:cubicBezTo>
                    <a:pt x="30" y="2"/>
                    <a:pt x="28" y="0"/>
                    <a:pt x="27" y="0"/>
                  </a:cubicBezTo>
                  <a:cubicBezTo>
                    <a:pt x="25" y="0"/>
                    <a:pt x="26" y="3"/>
                    <a:pt x="24" y="3"/>
                  </a:cubicBezTo>
                  <a:cubicBezTo>
                    <a:pt x="22" y="3"/>
                    <a:pt x="22" y="2"/>
                    <a:pt x="20" y="3"/>
                  </a:cubicBezTo>
                  <a:cubicBezTo>
                    <a:pt x="20" y="3"/>
                    <a:pt x="16" y="6"/>
                    <a:pt x="17" y="7"/>
                  </a:cubicBezTo>
                  <a:cubicBezTo>
                    <a:pt x="17" y="8"/>
                    <a:pt x="19" y="10"/>
                    <a:pt x="16" y="9"/>
                  </a:cubicBezTo>
                  <a:cubicBezTo>
                    <a:pt x="15" y="9"/>
                    <a:pt x="14" y="8"/>
                    <a:pt x="13" y="9"/>
                  </a:cubicBezTo>
                  <a:cubicBezTo>
                    <a:pt x="12" y="9"/>
                    <a:pt x="10" y="10"/>
                    <a:pt x="9" y="10"/>
                  </a:cubicBezTo>
                  <a:cubicBezTo>
                    <a:pt x="7" y="10"/>
                    <a:pt x="6" y="8"/>
                    <a:pt x="5" y="11"/>
                  </a:cubicBezTo>
                  <a:cubicBezTo>
                    <a:pt x="5" y="11"/>
                    <a:pt x="1" y="9"/>
                    <a:pt x="0" y="9"/>
                  </a:cubicBezTo>
                  <a:cubicBezTo>
                    <a:pt x="0" y="11"/>
                    <a:pt x="1" y="12"/>
                    <a:pt x="4" y="13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7" y="13"/>
                    <a:pt x="7" y="15"/>
                    <a:pt x="8" y="14"/>
                  </a:cubicBezTo>
                  <a:cubicBezTo>
                    <a:pt x="10" y="13"/>
                    <a:pt x="10" y="13"/>
                    <a:pt x="12" y="13"/>
                  </a:cubicBezTo>
                  <a:cubicBezTo>
                    <a:pt x="14" y="13"/>
                    <a:pt x="13" y="14"/>
                    <a:pt x="15" y="15"/>
                  </a:cubicBezTo>
                  <a:cubicBezTo>
                    <a:pt x="17" y="16"/>
                    <a:pt x="20" y="16"/>
                    <a:pt x="22" y="16"/>
                  </a:cubicBezTo>
                  <a:cubicBezTo>
                    <a:pt x="25" y="16"/>
                    <a:pt x="26" y="14"/>
                    <a:pt x="29" y="14"/>
                  </a:cubicBezTo>
                  <a:cubicBezTo>
                    <a:pt x="31" y="14"/>
                    <a:pt x="33" y="13"/>
                    <a:pt x="33" y="12"/>
                  </a:cubicBezTo>
                  <a:cubicBezTo>
                    <a:pt x="34" y="11"/>
                    <a:pt x="34" y="10"/>
                    <a:pt x="34" y="9"/>
                  </a:cubicBezTo>
                  <a:cubicBezTo>
                    <a:pt x="34" y="7"/>
                    <a:pt x="35" y="9"/>
                    <a:pt x="36" y="8"/>
                  </a:cubicBezTo>
                  <a:cubicBezTo>
                    <a:pt x="37" y="6"/>
                    <a:pt x="36" y="3"/>
                    <a:pt x="36" y="2"/>
                  </a:cubicBezTo>
                  <a:cubicBezTo>
                    <a:pt x="34" y="2"/>
                    <a:pt x="33" y="2"/>
                    <a:pt x="32" y="2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68" name="Freeform 647">
              <a:extLst>
                <a:ext uri="{FF2B5EF4-FFF2-40B4-BE49-F238E27FC236}">
                  <a16:creationId xmlns:a16="http://schemas.microsoft.com/office/drawing/2014/main" id="{48925519-09D7-A615-157C-15A49ACE86E6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9270" y="2905222"/>
              <a:ext cx="298639" cy="306562"/>
            </a:xfrm>
            <a:custGeom>
              <a:avLst/>
              <a:gdLst>
                <a:gd name="T0" fmla="*/ 37 w 57"/>
                <a:gd name="T1" fmla="*/ 10 h 55"/>
                <a:gd name="T2" fmla="*/ 41 w 57"/>
                <a:gd name="T3" fmla="*/ 9 h 55"/>
                <a:gd name="T4" fmla="*/ 43 w 57"/>
                <a:gd name="T5" fmla="*/ 6 h 55"/>
                <a:gd name="T6" fmla="*/ 45 w 57"/>
                <a:gd name="T7" fmla="*/ 4 h 55"/>
                <a:gd name="T8" fmla="*/ 45 w 57"/>
                <a:gd name="T9" fmla="*/ 1 h 55"/>
                <a:gd name="T10" fmla="*/ 41 w 57"/>
                <a:gd name="T11" fmla="*/ 2 h 55"/>
                <a:gd name="T12" fmla="*/ 36 w 57"/>
                <a:gd name="T13" fmla="*/ 4 h 55"/>
                <a:gd name="T14" fmla="*/ 27 w 57"/>
                <a:gd name="T15" fmla="*/ 1 h 55"/>
                <a:gd name="T16" fmla="*/ 22 w 57"/>
                <a:gd name="T17" fmla="*/ 1 h 55"/>
                <a:gd name="T18" fmla="*/ 19 w 57"/>
                <a:gd name="T19" fmla="*/ 1 h 55"/>
                <a:gd name="T20" fmla="*/ 18 w 57"/>
                <a:gd name="T21" fmla="*/ 3 h 55"/>
                <a:gd name="T22" fmla="*/ 17 w 57"/>
                <a:gd name="T23" fmla="*/ 4 h 55"/>
                <a:gd name="T24" fmla="*/ 15 w 57"/>
                <a:gd name="T25" fmla="*/ 5 h 55"/>
                <a:gd name="T26" fmla="*/ 13 w 57"/>
                <a:gd name="T27" fmla="*/ 5 h 55"/>
                <a:gd name="T28" fmla="*/ 12 w 57"/>
                <a:gd name="T29" fmla="*/ 4 h 55"/>
                <a:gd name="T30" fmla="*/ 11 w 57"/>
                <a:gd name="T31" fmla="*/ 8 h 55"/>
                <a:gd name="T32" fmla="*/ 9 w 57"/>
                <a:gd name="T33" fmla="*/ 5 h 55"/>
                <a:gd name="T34" fmla="*/ 5 w 57"/>
                <a:gd name="T35" fmla="*/ 7 h 55"/>
                <a:gd name="T36" fmla="*/ 0 w 57"/>
                <a:gd name="T37" fmla="*/ 7 h 55"/>
                <a:gd name="T38" fmla="*/ 1 w 57"/>
                <a:gd name="T39" fmla="*/ 10 h 55"/>
                <a:gd name="T40" fmla="*/ 0 w 57"/>
                <a:gd name="T41" fmla="*/ 14 h 55"/>
                <a:gd name="T42" fmla="*/ 2 w 57"/>
                <a:gd name="T43" fmla="*/ 18 h 55"/>
                <a:gd name="T44" fmla="*/ 4 w 57"/>
                <a:gd name="T45" fmla="*/ 21 h 55"/>
                <a:gd name="T46" fmla="*/ 12 w 57"/>
                <a:gd name="T47" fmla="*/ 17 h 55"/>
                <a:gd name="T48" fmla="*/ 15 w 57"/>
                <a:gd name="T49" fmla="*/ 19 h 55"/>
                <a:gd name="T50" fmla="*/ 17 w 57"/>
                <a:gd name="T51" fmla="*/ 22 h 55"/>
                <a:gd name="T52" fmla="*/ 18 w 57"/>
                <a:gd name="T53" fmla="*/ 25 h 55"/>
                <a:gd name="T54" fmla="*/ 21 w 57"/>
                <a:gd name="T55" fmla="*/ 28 h 55"/>
                <a:gd name="T56" fmla="*/ 28 w 57"/>
                <a:gd name="T57" fmla="*/ 33 h 55"/>
                <a:gd name="T58" fmla="*/ 33 w 57"/>
                <a:gd name="T59" fmla="*/ 36 h 55"/>
                <a:gd name="T60" fmla="*/ 42 w 57"/>
                <a:gd name="T61" fmla="*/ 42 h 55"/>
                <a:gd name="T62" fmla="*/ 45 w 57"/>
                <a:gd name="T63" fmla="*/ 48 h 55"/>
                <a:gd name="T64" fmla="*/ 43 w 57"/>
                <a:gd name="T65" fmla="*/ 55 h 55"/>
                <a:gd name="T66" fmla="*/ 49 w 57"/>
                <a:gd name="T67" fmla="*/ 48 h 55"/>
                <a:gd name="T68" fmla="*/ 47 w 57"/>
                <a:gd name="T69" fmla="*/ 45 h 55"/>
                <a:gd name="T70" fmla="*/ 50 w 57"/>
                <a:gd name="T71" fmla="*/ 40 h 55"/>
                <a:gd name="T72" fmla="*/ 53 w 57"/>
                <a:gd name="T73" fmla="*/ 41 h 55"/>
                <a:gd name="T74" fmla="*/ 55 w 57"/>
                <a:gd name="T75" fmla="*/ 44 h 55"/>
                <a:gd name="T76" fmla="*/ 53 w 57"/>
                <a:gd name="T77" fmla="*/ 39 h 55"/>
                <a:gd name="T78" fmla="*/ 44 w 57"/>
                <a:gd name="T79" fmla="*/ 35 h 55"/>
                <a:gd name="T80" fmla="*/ 44 w 57"/>
                <a:gd name="T81" fmla="*/ 32 h 55"/>
                <a:gd name="T82" fmla="*/ 39 w 57"/>
                <a:gd name="T83" fmla="*/ 31 h 55"/>
                <a:gd name="T84" fmla="*/ 35 w 57"/>
                <a:gd name="T85" fmla="*/ 26 h 55"/>
                <a:gd name="T86" fmla="*/ 32 w 57"/>
                <a:gd name="T87" fmla="*/ 21 h 55"/>
                <a:gd name="T88" fmla="*/ 27 w 57"/>
                <a:gd name="T89" fmla="*/ 17 h 55"/>
                <a:gd name="T90" fmla="*/ 27 w 57"/>
                <a:gd name="T91" fmla="*/ 15 h 55"/>
                <a:gd name="T92" fmla="*/ 28 w 57"/>
                <a:gd name="T93" fmla="*/ 12 h 55"/>
                <a:gd name="T94" fmla="*/ 30 w 57"/>
                <a:gd name="T95" fmla="*/ 9 h 55"/>
                <a:gd name="T96" fmla="*/ 32 w 57"/>
                <a:gd name="T97" fmla="*/ 8 h 55"/>
                <a:gd name="T98" fmla="*/ 34 w 57"/>
                <a:gd name="T99" fmla="*/ 10 h 55"/>
                <a:gd name="T100" fmla="*/ 37 w 57"/>
                <a:gd name="T101" fmla="*/ 10 h 55"/>
                <a:gd name="T102" fmla="*/ 37 w 57"/>
                <a:gd name="T103" fmla="*/ 1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7" h="55">
                  <a:moveTo>
                    <a:pt x="37" y="10"/>
                  </a:moveTo>
                  <a:cubicBezTo>
                    <a:pt x="38" y="9"/>
                    <a:pt x="40" y="10"/>
                    <a:pt x="41" y="9"/>
                  </a:cubicBezTo>
                  <a:cubicBezTo>
                    <a:pt x="43" y="8"/>
                    <a:pt x="42" y="7"/>
                    <a:pt x="43" y="6"/>
                  </a:cubicBezTo>
                  <a:cubicBezTo>
                    <a:pt x="43" y="5"/>
                    <a:pt x="44" y="4"/>
                    <a:pt x="45" y="4"/>
                  </a:cubicBezTo>
                  <a:cubicBezTo>
                    <a:pt x="46" y="3"/>
                    <a:pt x="45" y="3"/>
                    <a:pt x="45" y="1"/>
                  </a:cubicBezTo>
                  <a:cubicBezTo>
                    <a:pt x="44" y="2"/>
                    <a:pt x="43" y="2"/>
                    <a:pt x="41" y="2"/>
                  </a:cubicBezTo>
                  <a:cubicBezTo>
                    <a:pt x="39" y="2"/>
                    <a:pt x="37" y="5"/>
                    <a:pt x="36" y="4"/>
                  </a:cubicBezTo>
                  <a:cubicBezTo>
                    <a:pt x="33" y="3"/>
                    <a:pt x="28" y="4"/>
                    <a:pt x="27" y="1"/>
                  </a:cubicBezTo>
                  <a:cubicBezTo>
                    <a:pt x="26" y="0"/>
                    <a:pt x="23" y="1"/>
                    <a:pt x="22" y="1"/>
                  </a:cubicBezTo>
                  <a:cubicBezTo>
                    <a:pt x="20" y="3"/>
                    <a:pt x="20" y="1"/>
                    <a:pt x="19" y="1"/>
                  </a:cubicBezTo>
                  <a:cubicBezTo>
                    <a:pt x="18" y="1"/>
                    <a:pt x="18" y="3"/>
                    <a:pt x="18" y="3"/>
                  </a:cubicBezTo>
                  <a:cubicBezTo>
                    <a:pt x="18" y="3"/>
                    <a:pt x="17" y="4"/>
                    <a:pt x="17" y="4"/>
                  </a:cubicBezTo>
                  <a:cubicBezTo>
                    <a:pt x="17" y="5"/>
                    <a:pt x="16" y="5"/>
                    <a:pt x="15" y="5"/>
                  </a:cubicBezTo>
                  <a:cubicBezTo>
                    <a:pt x="15" y="5"/>
                    <a:pt x="14" y="5"/>
                    <a:pt x="13" y="5"/>
                  </a:cubicBezTo>
                  <a:cubicBezTo>
                    <a:pt x="13" y="5"/>
                    <a:pt x="13" y="5"/>
                    <a:pt x="12" y="4"/>
                  </a:cubicBezTo>
                  <a:cubicBezTo>
                    <a:pt x="12" y="4"/>
                    <a:pt x="11" y="7"/>
                    <a:pt x="11" y="8"/>
                  </a:cubicBezTo>
                  <a:cubicBezTo>
                    <a:pt x="11" y="9"/>
                    <a:pt x="9" y="6"/>
                    <a:pt x="9" y="5"/>
                  </a:cubicBezTo>
                  <a:cubicBezTo>
                    <a:pt x="7" y="4"/>
                    <a:pt x="6" y="7"/>
                    <a:pt x="5" y="7"/>
                  </a:cubicBezTo>
                  <a:cubicBezTo>
                    <a:pt x="3" y="7"/>
                    <a:pt x="1" y="7"/>
                    <a:pt x="0" y="7"/>
                  </a:cubicBezTo>
                  <a:cubicBezTo>
                    <a:pt x="0" y="8"/>
                    <a:pt x="1" y="9"/>
                    <a:pt x="1" y="10"/>
                  </a:cubicBezTo>
                  <a:cubicBezTo>
                    <a:pt x="1" y="12"/>
                    <a:pt x="0" y="12"/>
                    <a:pt x="0" y="14"/>
                  </a:cubicBezTo>
                  <a:cubicBezTo>
                    <a:pt x="0" y="15"/>
                    <a:pt x="0" y="18"/>
                    <a:pt x="2" y="18"/>
                  </a:cubicBezTo>
                  <a:cubicBezTo>
                    <a:pt x="3" y="19"/>
                    <a:pt x="4" y="18"/>
                    <a:pt x="4" y="21"/>
                  </a:cubicBezTo>
                  <a:cubicBezTo>
                    <a:pt x="6" y="20"/>
                    <a:pt x="10" y="16"/>
                    <a:pt x="12" y="17"/>
                  </a:cubicBezTo>
                  <a:cubicBezTo>
                    <a:pt x="13" y="18"/>
                    <a:pt x="14" y="19"/>
                    <a:pt x="15" y="19"/>
                  </a:cubicBezTo>
                  <a:cubicBezTo>
                    <a:pt x="16" y="19"/>
                    <a:pt x="17" y="21"/>
                    <a:pt x="17" y="22"/>
                  </a:cubicBezTo>
                  <a:cubicBezTo>
                    <a:pt x="18" y="23"/>
                    <a:pt x="18" y="24"/>
                    <a:pt x="18" y="25"/>
                  </a:cubicBezTo>
                  <a:cubicBezTo>
                    <a:pt x="19" y="26"/>
                    <a:pt x="20" y="27"/>
                    <a:pt x="21" y="28"/>
                  </a:cubicBezTo>
                  <a:cubicBezTo>
                    <a:pt x="23" y="29"/>
                    <a:pt x="25" y="31"/>
                    <a:pt x="28" y="33"/>
                  </a:cubicBezTo>
                  <a:cubicBezTo>
                    <a:pt x="30" y="35"/>
                    <a:pt x="31" y="35"/>
                    <a:pt x="33" y="36"/>
                  </a:cubicBezTo>
                  <a:cubicBezTo>
                    <a:pt x="36" y="38"/>
                    <a:pt x="38" y="41"/>
                    <a:pt x="42" y="42"/>
                  </a:cubicBezTo>
                  <a:cubicBezTo>
                    <a:pt x="44" y="43"/>
                    <a:pt x="44" y="46"/>
                    <a:pt x="45" y="48"/>
                  </a:cubicBezTo>
                  <a:cubicBezTo>
                    <a:pt x="45" y="50"/>
                    <a:pt x="42" y="52"/>
                    <a:pt x="43" y="55"/>
                  </a:cubicBezTo>
                  <a:cubicBezTo>
                    <a:pt x="43" y="54"/>
                    <a:pt x="49" y="49"/>
                    <a:pt x="49" y="48"/>
                  </a:cubicBezTo>
                  <a:cubicBezTo>
                    <a:pt x="50" y="47"/>
                    <a:pt x="47" y="45"/>
                    <a:pt x="47" y="45"/>
                  </a:cubicBezTo>
                  <a:cubicBezTo>
                    <a:pt x="45" y="43"/>
                    <a:pt x="49" y="39"/>
                    <a:pt x="50" y="40"/>
                  </a:cubicBezTo>
                  <a:cubicBezTo>
                    <a:pt x="51" y="41"/>
                    <a:pt x="52" y="41"/>
                    <a:pt x="53" y="41"/>
                  </a:cubicBezTo>
                  <a:cubicBezTo>
                    <a:pt x="54" y="42"/>
                    <a:pt x="54" y="43"/>
                    <a:pt x="55" y="44"/>
                  </a:cubicBezTo>
                  <a:cubicBezTo>
                    <a:pt x="57" y="44"/>
                    <a:pt x="54" y="40"/>
                    <a:pt x="53" y="39"/>
                  </a:cubicBezTo>
                  <a:cubicBezTo>
                    <a:pt x="51" y="37"/>
                    <a:pt x="47" y="37"/>
                    <a:pt x="44" y="35"/>
                  </a:cubicBezTo>
                  <a:cubicBezTo>
                    <a:pt x="43" y="34"/>
                    <a:pt x="46" y="32"/>
                    <a:pt x="44" y="32"/>
                  </a:cubicBezTo>
                  <a:cubicBezTo>
                    <a:pt x="43" y="31"/>
                    <a:pt x="41" y="32"/>
                    <a:pt x="39" y="31"/>
                  </a:cubicBezTo>
                  <a:cubicBezTo>
                    <a:pt x="37" y="30"/>
                    <a:pt x="36" y="28"/>
                    <a:pt x="35" y="26"/>
                  </a:cubicBezTo>
                  <a:cubicBezTo>
                    <a:pt x="34" y="24"/>
                    <a:pt x="34" y="22"/>
                    <a:pt x="32" y="21"/>
                  </a:cubicBezTo>
                  <a:cubicBezTo>
                    <a:pt x="31" y="20"/>
                    <a:pt x="27" y="19"/>
                    <a:pt x="27" y="17"/>
                  </a:cubicBezTo>
                  <a:cubicBezTo>
                    <a:pt x="27" y="16"/>
                    <a:pt x="27" y="15"/>
                    <a:pt x="27" y="15"/>
                  </a:cubicBezTo>
                  <a:cubicBezTo>
                    <a:pt x="28" y="13"/>
                    <a:pt x="28" y="13"/>
                    <a:pt x="28" y="12"/>
                  </a:cubicBezTo>
                  <a:cubicBezTo>
                    <a:pt x="27" y="9"/>
                    <a:pt x="30" y="10"/>
                    <a:pt x="30" y="9"/>
                  </a:cubicBezTo>
                  <a:cubicBezTo>
                    <a:pt x="31" y="8"/>
                    <a:pt x="32" y="8"/>
                    <a:pt x="32" y="8"/>
                  </a:cubicBezTo>
                  <a:cubicBezTo>
                    <a:pt x="34" y="8"/>
                    <a:pt x="34" y="9"/>
                    <a:pt x="34" y="10"/>
                  </a:cubicBezTo>
                  <a:cubicBezTo>
                    <a:pt x="35" y="10"/>
                    <a:pt x="36" y="10"/>
                    <a:pt x="37" y="10"/>
                  </a:cubicBezTo>
                  <a:cubicBezTo>
                    <a:pt x="37" y="9"/>
                    <a:pt x="36" y="10"/>
                    <a:pt x="37" y="10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69" name="Freeform 648">
              <a:extLst>
                <a:ext uri="{FF2B5EF4-FFF2-40B4-BE49-F238E27FC236}">
                  <a16:creationId xmlns:a16="http://schemas.microsoft.com/office/drawing/2014/main" id="{2B1037AA-C735-2C5A-DE4C-4CABA33EA0B1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2730" y="2922253"/>
              <a:ext cx="141272" cy="140035"/>
            </a:xfrm>
            <a:custGeom>
              <a:avLst/>
              <a:gdLst>
                <a:gd name="T0" fmla="*/ 12 w 27"/>
                <a:gd name="T1" fmla="*/ 10 h 25"/>
                <a:gd name="T2" fmla="*/ 21 w 27"/>
                <a:gd name="T3" fmla="*/ 9 h 25"/>
                <a:gd name="T4" fmla="*/ 27 w 27"/>
                <a:gd name="T5" fmla="*/ 11 h 25"/>
                <a:gd name="T6" fmla="*/ 25 w 27"/>
                <a:gd name="T7" fmla="*/ 4 h 25"/>
                <a:gd name="T8" fmla="*/ 17 w 27"/>
                <a:gd name="T9" fmla="*/ 3 h 25"/>
                <a:gd name="T10" fmla="*/ 13 w 27"/>
                <a:gd name="T11" fmla="*/ 0 h 25"/>
                <a:gd name="T12" fmla="*/ 11 w 27"/>
                <a:gd name="T13" fmla="*/ 2 h 25"/>
                <a:gd name="T14" fmla="*/ 6 w 27"/>
                <a:gd name="T15" fmla="*/ 7 h 25"/>
                <a:gd name="T16" fmla="*/ 1 w 27"/>
                <a:gd name="T17" fmla="*/ 7 h 25"/>
                <a:gd name="T18" fmla="*/ 1 w 27"/>
                <a:gd name="T19" fmla="*/ 11 h 25"/>
                <a:gd name="T20" fmla="*/ 3 w 27"/>
                <a:gd name="T21" fmla="*/ 10 h 25"/>
                <a:gd name="T22" fmla="*/ 4 w 27"/>
                <a:gd name="T23" fmla="*/ 13 h 25"/>
                <a:gd name="T24" fmla="*/ 6 w 27"/>
                <a:gd name="T25" fmla="*/ 10 h 25"/>
                <a:gd name="T26" fmla="*/ 11 w 27"/>
                <a:gd name="T27" fmla="*/ 17 h 25"/>
                <a:gd name="T28" fmla="*/ 23 w 27"/>
                <a:gd name="T29" fmla="*/ 25 h 25"/>
                <a:gd name="T30" fmla="*/ 21 w 27"/>
                <a:gd name="T31" fmla="*/ 22 h 25"/>
                <a:gd name="T32" fmla="*/ 16 w 27"/>
                <a:gd name="T33" fmla="*/ 19 h 25"/>
                <a:gd name="T34" fmla="*/ 12 w 27"/>
                <a:gd name="T35" fmla="*/ 1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7" h="25">
                  <a:moveTo>
                    <a:pt x="12" y="10"/>
                  </a:moveTo>
                  <a:cubicBezTo>
                    <a:pt x="15" y="10"/>
                    <a:pt x="18" y="8"/>
                    <a:pt x="21" y="9"/>
                  </a:cubicBezTo>
                  <a:cubicBezTo>
                    <a:pt x="23" y="9"/>
                    <a:pt x="25" y="10"/>
                    <a:pt x="27" y="11"/>
                  </a:cubicBezTo>
                  <a:cubicBezTo>
                    <a:pt x="26" y="9"/>
                    <a:pt x="26" y="7"/>
                    <a:pt x="25" y="4"/>
                  </a:cubicBezTo>
                  <a:cubicBezTo>
                    <a:pt x="22" y="6"/>
                    <a:pt x="19" y="4"/>
                    <a:pt x="17" y="3"/>
                  </a:cubicBezTo>
                  <a:cubicBezTo>
                    <a:pt x="15" y="2"/>
                    <a:pt x="14" y="2"/>
                    <a:pt x="13" y="0"/>
                  </a:cubicBezTo>
                  <a:cubicBezTo>
                    <a:pt x="13" y="0"/>
                    <a:pt x="11" y="1"/>
                    <a:pt x="11" y="2"/>
                  </a:cubicBezTo>
                  <a:cubicBezTo>
                    <a:pt x="9" y="3"/>
                    <a:pt x="10" y="8"/>
                    <a:pt x="6" y="7"/>
                  </a:cubicBezTo>
                  <a:cubicBezTo>
                    <a:pt x="4" y="6"/>
                    <a:pt x="2" y="7"/>
                    <a:pt x="1" y="7"/>
                  </a:cubicBezTo>
                  <a:cubicBezTo>
                    <a:pt x="0" y="8"/>
                    <a:pt x="1" y="11"/>
                    <a:pt x="1" y="11"/>
                  </a:cubicBezTo>
                  <a:cubicBezTo>
                    <a:pt x="1" y="11"/>
                    <a:pt x="3" y="10"/>
                    <a:pt x="3" y="10"/>
                  </a:cubicBezTo>
                  <a:cubicBezTo>
                    <a:pt x="4" y="10"/>
                    <a:pt x="4" y="12"/>
                    <a:pt x="4" y="13"/>
                  </a:cubicBezTo>
                  <a:cubicBezTo>
                    <a:pt x="4" y="11"/>
                    <a:pt x="5" y="8"/>
                    <a:pt x="6" y="10"/>
                  </a:cubicBezTo>
                  <a:cubicBezTo>
                    <a:pt x="7" y="13"/>
                    <a:pt x="9" y="15"/>
                    <a:pt x="11" y="17"/>
                  </a:cubicBezTo>
                  <a:cubicBezTo>
                    <a:pt x="14" y="20"/>
                    <a:pt x="19" y="22"/>
                    <a:pt x="23" y="25"/>
                  </a:cubicBezTo>
                  <a:cubicBezTo>
                    <a:pt x="23" y="23"/>
                    <a:pt x="23" y="23"/>
                    <a:pt x="21" y="22"/>
                  </a:cubicBezTo>
                  <a:cubicBezTo>
                    <a:pt x="19" y="21"/>
                    <a:pt x="17" y="20"/>
                    <a:pt x="16" y="19"/>
                  </a:cubicBezTo>
                  <a:cubicBezTo>
                    <a:pt x="14" y="17"/>
                    <a:pt x="9" y="10"/>
                    <a:pt x="12" y="10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70" name="Freeform 649">
              <a:extLst>
                <a:ext uri="{FF2B5EF4-FFF2-40B4-BE49-F238E27FC236}">
                  <a16:creationId xmlns:a16="http://schemas.microsoft.com/office/drawing/2014/main" id="{694842B6-152B-9CC7-A1D3-355C383FC8FA}"/>
                </a:ext>
              </a:extLst>
            </p:cNvPr>
            <p:cNvSpPr>
              <a:spLocks/>
            </p:cNvSpPr>
            <p:nvPr/>
          </p:nvSpPr>
          <p:spPr bwMode="auto">
            <a:xfrm>
              <a:off x="5699901" y="2761402"/>
              <a:ext cx="346921" cy="316025"/>
            </a:xfrm>
            <a:custGeom>
              <a:avLst/>
              <a:gdLst>
                <a:gd name="T0" fmla="*/ 59 w 66"/>
                <a:gd name="T1" fmla="*/ 31 h 57"/>
                <a:gd name="T2" fmla="*/ 56 w 66"/>
                <a:gd name="T3" fmla="*/ 30 h 57"/>
                <a:gd name="T4" fmla="*/ 60 w 66"/>
                <a:gd name="T5" fmla="*/ 24 h 57"/>
                <a:gd name="T6" fmla="*/ 63 w 66"/>
                <a:gd name="T7" fmla="*/ 23 h 57"/>
                <a:gd name="T8" fmla="*/ 65 w 66"/>
                <a:gd name="T9" fmla="*/ 15 h 57"/>
                <a:gd name="T10" fmla="*/ 60 w 66"/>
                <a:gd name="T11" fmla="*/ 13 h 57"/>
                <a:gd name="T12" fmla="*/ 57 w 66"/>
                <a:gd name="T13" fmla="*/ 11 h 57"/>
                <a:gd name="T14" fmla="*/ 55 w 66"/>
                <a:gd name="T15" fmla="*/ 11 h 57"/>
                <a:gd name="T16" fmla="*/ 48 w 66"/>
                <a:gd name="T17" fmla="*/ 7 h 57"/>
                <a:gd name="T18" fmla="*/ 43 w 66"/>
                <a:gd name="T19" fmla="*/ 5 h 57"/>
                <a:gd name="T20" fmla="*/ 38 w 66"/>
                <a:gd name="T21" fmla="*/ 1 h 57"/>
                <a:gd name="T22" fmla="*/ 34 w 66"/>
                <a:gd name="T23" fmla="*/ 1 h 57"/>
                <a:gd name="T24" fmla="*/ 33 w 66"/>
                <a:gd name="T25" fmla="*/ 5 h 57"/>
                <a:gd name="T26" fmla="*/ 30 w 66"/>
                <a:gd name="T27" fmla="*/ 8 h 57"/>
                <a:gd name="T28" fmla="*/ 26 w 66"/>
                <a:gd name="T29" fmla="*/ 10 h 57"/>
                <a:gd name="T30" fmla="*/ 24 w 66"/>
                <a:gd name="T31" fmla="*/ 12 h 57"/>
                <a:gd name="T32" fmla="*/ 20 w 66"/>
                <a:gd name="T33" fmla="*/ 11 h 57"/>
                <a:gd name="T34" fmla="*/ 16 w 66"/>
                <a:gd name="T35" fmla="*/ 10 h 57"/>
                <a:gd name="T36" fmla="*/ 16 w 66"/>
                <a:gd name="T37" fmla="*/ 16 h 57"/>
                <a:gd name="T38" fmla="*/ 9 w 66"/>
                <a:gd name="T39" fmla="*/ 15 h 57"/>
                <a:gd name="T40" fmla="*/ 1 w 66"/>
                <a:gd name="T41" fmla="*/ 17 h 57"/>
                <a:gd name="T42" fmla="*/ 2 w 66"/>
                <a:gd name="T43" fmla="*/ 19 h 57"/>
                <a:gd name="T44" fmla="*/ 4 w 66"/>
                <a:gd name="T45" fmla="*/ 21 h 57"/>
                <a:gd name="T46" fmla="*/ 15 w 66"/>
                <a:gd name="T47" fmla="*/ 25 h 57"/>
                <a:gd name="T48" fmla="*/ 14 w 66"/>
                <a:gd name="T49" fmla="*/ 28 h 57"/>
                <a:gd name="T50" fmla="*/ 19 w 66"/>
                <a:gd name="T51" fmla="*/ 31 h 57"/>
                <a:gd name="T52" fmla="*/ 20 w 66"/>
                <a:gd name="T53" fmla="*/ 35 h 57"/>
                <a:gd name="T54" fmla="*/ 22 w 66"/>
                <a:gd name="T55" fmla="*/ 38 h 57"/>
                <a:gd name="T56" fmla="*/ 19 w 66"/>
                <a:gd name="T57" fmla="*/ 36 h 57"/>
                <a:gd name="T58" fmla="*/ 16 w 66"/>
                <a:gd name="T59" fmla="*/ 49 h 57"/>
                <a:gd name="T60" fmla="*/ 27 w 66"/>
                <a:gd name="T61" fmla="*/ 53 h 57"/>
                <a:gd name="T62" fmla="*/ 30 w 66"/>
                <a:gd name="T63" fmla="*/ 53 h 57"/>
                <a:gd name="T64" fmla="*/ 33 w 66"/>
                <a:gd name="T65" fmla="*/ 55 h 57"/>
                <a:gd name="T66" fmla="*/ 40 w 66"/>
                <a:gd name="T67" fmla="*/ 54 h 57"/>
                <a:gd name="T68" fmla="*/ 47 w 66"/>
                <a:gd name="T69" fmla="*/ 48 h 57"/>
                <a:gd name="T70" fmla="*/ 57 w 66"/>
                <a:gd name="T71" fmla="*/ 50 h 57"/>
                <a:gd name="T72" fmla="*/ 62 w 66"/>
                <a:gd name="T73" fmla="*/ 47 h 57"/>
                <a:gd name="T74" fmla="*/ 62 w 66"/>
                <a:gd name="T75" fmla="*/ 45 h 57"/>
                <a:gd name="T76" fmla="*/ 59 w 66"/>
                <a:gd name="T77" fmla="*/ 38 h 57"/>
                <a:gd name="T78" fmla="*/ 59 w 66"/>
                <a:gd name="T79" fmla="*/ 34 h 57"/>
                <a:gd name="T80" fmla="*/ 59 w 66"/>
                <a:gd name="T81" fmla="*/ 31 h 57"/>
                <a:gd name="T82" fmla="*/ 59 w 66"/>
                <a:gd name="T83" fmla="*/ 31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6" h="57">
                  <a:moveTo>
                    <a:pt x="59" y="31"/>
                  </a:moveTo>
                  <a:cubicBezTo>
                    <a:pt x="58" y="29"/>
                    <a:pt x="55" y="33"/>
                    <a:pt x="56" y="30"/>
                  </a:cubicBezTo>
                  <a:cubicBezTo>
                    <a:pt x="56" y="29"/>
                    <a:pt x="59" y="24"/>
                    <a:pt x="60" y="24"/>
                  </a:cubicBezTo>
                  <a:cubicBezTo>
                    <a:pt x="61" y="23"/>
                    <a:pt x="62" y="25"/>
                    <a:pt x="63" y="23"/>
                  </a:cubicBezTo>
                  <a:cubicBezTo>
                    <a:pt x="64" y="20"/>
                    <a:pt x="63" y="18"/>
                    <a:pt x="65" y="15"/>
                  </a:cubicBezTo>
                  <a:cubicBezTo>
                    <a:pt x="66" y="13"/>
                    <a:pt x="61" y="13"/>
                    <a:pt x="60" y="13"/>
                  </a:cubicBezTo>
                  <a:cubicBezTo>
                    <a:pt x="58" y="13"/>
                    <a:pt x="57" y="12"/>
                    <a:pt x="57" y="11"/>
                  </a:cubicBezTo>
                  <a:cubicBezTo>
                    <a:pt x="56" y="11"/>
                    <a:pt x="55" y="11"/>
                    <a:pt x="55" y="11"/>
                  </a:cubicBezTo>
                  <a:cubicBezTo>
                    <a:pt x="53" y="11"/>
                    <a:pt x="48" y="9"/>
                    <a:pt x="48" y="7"/>
                  </a:cubicBezTo>
                  <a:cubicBezTo>
                    <a:pt x="47" y="10"/>
                    <a:pt x="44" y="5"/>
                    <a:pt x="43" y="5"/>
                  </a:cubicBezTo>
                  <a:cubicBezTo>
                    <a:pt x="41" y="4"/>
                    <a:pt x="39" y="3"/>
                    <a:pt x="38" y="1"/>
                  </a:cubicBezTo>
                  <a:cubicBezTo>
                    <a:pt x="37" y="0"/>
                    <a:pt x="35" y="0"/>
                    <a:pt x="34" y="1"/>
                  </a:cubicBezTo>
                  <a:cubicBezTo>
                    <a:pt x="33" y="2"/>
                    <a:pt x="32" y="4"/>
                    <a:pt x="33" y="5"/>
                  </a:cubicBezTo>
                  <a:cubicBezTo>
                    <a:pt x="33" y="6"/>
                    <a:pt x="31" y="7"/>
                    <a:pt x="30" y="8"/>
                  </a:cubicBezTo>
                  <a:cubicBezTo>
                    <a:pt x="29" y="8"/>
                    <a:pt x="27" y="8"/>
                    <a:pt x="26" y="10"/>
                  </a:cubicBezTo>
                  <a:cubicBezTo>
                    <a:pt x="26" y="11"/>
                    <a:pt x="25" y="12"/>
                    <a:pt x="24" y="12"/>
                  </a:cubicBezTo>
                  <a:cubicBezTo>
                    <a:pt x="22" y="12"/>
                    <a:pt x="21" y="12"/>
                    <a:pt x="20" y="11"/>
                  </a:cubicBezTo>
                  <a:cubicBezTo>
                    <a:pt x="18" y="11"/>
                    <a:pt x="18" y="10"/>
                    <a:pt x="16" y="10"/>
                  </a:cubicBezTo>
                  <a:cubicBezTo>
                    <a:pt x="14" y="9"/>
                    <a:pt x="20" y="16"/>
                    <a:pt x="16" y="16"/>
                  </a:cubicBezTo>
                  <a:cubicBezTo>
                    <a:pt x="13" y="16"/>
                    <a:pt x="11" y="17"/>
                    <a:pt x="9" y="15"/>
                  </a:cubicBezTo>
                  <a:cubicBezTo>
                    <a:pt x="8" y="14"/>
                    <a:pt x="1" y="16"/>
                    <a:pt x="1" y="17"/>
                  </a:cubicBezTo>
                  <a:cubicBezTo>
                    <a:pt x="1" y="18"/>
                    <a:pt x="4" y="18"/>
                    <a:pt x="2" y="19"/>
                  </a:cubicBezTo>
                  <a:cubicBezTo>
                    <a:pt x="0" y="20"/>
                    <a:pt x="3" y="21"/>
                    <a:pt x="4" y="21"/>
                  </a:cubicBezTo>
                  <a:cubicBezTo>
                    <a:pt x="6" y="22"/>
                    <a:pt x="15" y="23"/>
                    <a:pt x="15" y="25"/>
                  </a:cubicBezTo>
                  <a:cubicBezTo>
                    <a:pt x="15" y="26"/>
                    <a:pt x="13" y="26"/>
                    <a:pt x="14" y="28"/>
                  </a:cubicBezTo>
                  <a:cubicBezTo>
                    <a:pt x="16" y="30"/>
                    <a:pt x="17" y="30"/>
                    <a:pt x="19" y="31"/>
                  </a:cubicBezTo>
                  <a:cubicBezTo>
                    <a:pt x="21" y="32"/>
                    <a:pt x="18" y="34"/>
                    <a:pt x="20" y="35"/>
                  </a:cubicBezTo>
                  <a:cubicBezTo>
                    <a:pt x="20" y="35"/>
                    <a:pt x="22" y="38"/>
                    <a:pt x="22" y="38"/>
                  </a:cubicBezTo>
                  <a:cubicBezTo>
                    <a:pt x="21" y="39"/>
                    <a:pt x="20" y="36"/>
                    <a:pt x="19" y="36"/>
                  </a:cubicBezTo>
                  <a:cubicBezTo>
                    <a:pt x="18" y="36"/>
                    <a:pt x="19" y="48"/>
                    <a:pt x="16" y="49"/>
                  </a:cubicBezTo>
                  <a:cubicBezTo>
                    <a:pt x="19" y="51"/>
                    <a:pt x="23" y="54"/>
                    <a:pt x="27" y="53"/>
                  </a:cubicBezTo>
                  <a:cubicBezTo>
                    <a:pt x="28" y="53"/>
                    <a:pt x="29" y="52"/>
                    <a:pt x="30" y="53"/>
                  </a:cubicBezTo>
                  <a:cubicBezTo>
                    <a:pt x="31" y="53"/>
                    <a:pt x="32" y="54"/>
                    <a:pt x="33" y="55"/>
                  </a:cubicBezTo>
                  <a:cubicBezTo>
                    <a:pt x="35" y="56"/>
                    <a:pt x="41" y="57"/>
                    <a:pt x="40" y="54"/>
                  </a:cubicBezTo>
                  <a:cubicBezTo>
                    <a:pt x="39" y="49"/>
                    <a:pt x="44" y="47"/>
                    <a:pt x="47" y="48"/>
                  </a:cubicBezTo>
                  <a:cubicBezTo>
                    <a:pt x="51" y="49"/>
                    <a:pt x="53" y="52"/>
                    <a:pt x="57" y="50"/>
                  </a:cubicBezTo>
                  <a:cubicBezTo>
                    <a:pt x="59" y="49"/>
                    <a:pt x="60" y="48"/>
                    <a:pt x="62" y="47"/>
                  </a:cubicBezTo>
                  <a:cubicBezTo>
                    <a:pt x="62" y="47"/>
                    <a:pt x="64" y="45"/>
                    <a:pt x="62" y="45"/>
                  </a:cubicBezTo>
                  <a:cubicBezTo>
                    <a:pt x="60" y="44"/>
                    <a:pt x="58" y="40"/>
                    <a:pt x="59" y="38"/>
                  </a:cubicBezTo>
                  <a:cubicBezTo>
                    <a:pt x="61" y="36"/>
                    <a:pt x="60" y="36"/>
                    <a:pt x="59" y="34"/>
                  </a:cubicBezTo>
                  <a:cubicBezTo>
                    <a:pt x="59" y="33"/>
                    <a:pt x="59" y="32"/>
                    <a:pt x="59" y="31"/>
                  </a:cubicBezTo>
                  <a:cubicBezTo>
                    <a:pt x="58" y="30"/>
                    <a:pt x="59" y="32"/>
                    <a:pt x="59" y="31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71" name="Freeform 650">
              <a:extLst>
                <a:ext uri="{FF2B5EF4-FFF2-40B4-BE49-F238E27FC236}">
                  <a16:creationId xmlns:a16="http://schemas.microsoft.com/office/drawing/2014/main" id="{073D88EA-B10E-1DE3-B87A-68464E596883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7810" y="2884407"/>
              <a:ext cx="116236" cy="83263"/>
            </a:xfrm>
            <a:custGeom>
              <a:avLst/>
              <a:gdLst>
                <a:gd name="T0" fmla="*/ 17 w 22"/>
                <a:gd name="T1" fmla="*/ 1 h 15"/>
                <a:gd name="T2" fmla="*/ 9 w 22"/>
                <a:gd name="T3" fmla="*/ 1 h 15"/>
                <a:gd name="T4" fmla="*/ 8 w 22"/>
                <a:gd name="T5" fmla="*/ 2 h 15"/>
                <a:gd name="T6" fmla="*/ 5 w 22"/>
                <a:gd name="T7" fmla="*/ 2 h 15"/>
                <a:gd name="T8" fmla="*/ 3 w 22"/>
                <a:gd name="T9" fmla="*/ 5 h 15"/>
                <a:gd name="T10" fmla="*/ 1 w 22"/>
                <a:gd name="T11" fmla="*/ 9 h 15"/>
                <a:gd name="T12" fmla="*/ 4 w 22"/>
                <a:gd name="T13" fmla="*/ 10 h 15"/>
                <a:gd name="T14" fmla="*/ 7 w 22"/>
                <a:gd name="T15" fmla="*/ 11 h 15"/>
                <a:gd name="T16" fmla="*/ 11 w 22"/>
                <a:gd name="T17" fmla="*/ 10 h 15"/>
                <a:gd name="T18" fmla="*/ 13 w 22"/>
                <a:gd name="T19" fmla="*/ 10 h 15"/>
                <a:gd name="T20" fmla="*/ 16 w 22"/>
                <a:gd name="T21" fmla="*/ 8 h 15"/>
                <a:gd name="T22" fmla="*/ 18 w 22"/>
                <a:gd name="T23" fmla="*/ 9 h 15"/>
                <a:gd name="T24" fmla="*/ 21 w 22"/>
                <a:gd name="T25" fmla="*/ 8 h 15"/>
                <a:gd name="T26" fmla="*/ 22 w 22"/>
                <a:gd name="T27" fmla="*/ 5 h 15"/>
                <a:gd name="T28" fmla="*/ 18 w 22"/>
                <a:gd name="T29" fmla="*/ 4 h 15"/>
                <a:gd name="T30" fmla="*/ 17 w 22"/>
                <a:gd name="T31" fmla="*/ 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" h="15">
                  <a:moveTo>
                    <a:pt x="17" y="1"/>
                  </a:moveTo>
                  <a:cubicBezTo>
                    <a:pt x="14" y="0"/>
                    <a:pt x="12" y="1"/>
                    <a:pt x="9" y="1"/>
                  </a:cubicBezTo>
                  <a:cubicBezTo>
                    <a:pt x="7" y="1"/>
                    <a:pt x="9" y="1"/>
                    <a:pt x="8" y="2"/>
                  </a:cubicBezTo>
                  <a:cubicBezTo>
                    <a:pt x="7" y="2"/>
                    <a:pt x="5" y="2"/>
                    <a:pt x="5" y="2"/>
                  </a:cubicBezTo>
                  <a:cubicBezTo>
                    <a:pt x="4" y="2"/>
                    <a:pt x="3" y="5"/>
                    <a:pt x="3" y="5"/>
                  </a:cubicBezTo>
                  <a:cubicBezTo>
                    <a:pt x="2" y="6"/>
                    <a:pt x="0" y="10"/>
                    <a:pt x="1" y="9"/>
                  </a:cubicBezTo>
                  <a:cubicBezTo>
                    <a:pt x="3" y="9"/>
                    <a:pt x="3" y="8"/>
                    <a:pt x="4" y="10"/>
                  </a:cubicBezTo>
                  <a:cubicBezTo>
                    <a:pt x="4" y="12"/>
                    <a:pt x="5" y="11"/>
                    <a:pt x="7" y="11"/>
                  </a:cubicBezTo>
                  <a:cubicBezTo>
                    <a:pt x="8" y="11"/>
                    <a:pt x="10" y="11"/>
                    <a:pt x="11" y="10"/>
                  </a:cubicBezTo>
                  <a:cubicBezTo>
                    <a:pt x="12" y="8"/>
                    <a:pt x="13" y="9"/>
                    <a:pt x="13" y="10"/>
                  </a:cubicBezTo>
                  <a:cubicBezTo>
                    <a:pt x="16" y="15"/>
                    <a:pt x="15" y="8"/>
                    <a:pt x="16" y="8"/>
                  </a:cubicBezTo>
                  <a:cubicBezTo>
                    <a:pt x="17" y="8"/>
                    <a:pt x="17" y="9"/>
                    <a:pt x="18" y="9"/>
                  </a:cubicBezTo>
                  <a:cubicBezTo>
                    <a:pt x="19" y="9"/>
                    <a:pt x="20" y="9"/>
                    <a:pt x="21" y="8"/>
                  </a:cubicBezTo>
                  <a:cubicBezTo>
                    <a:pt x="22" y="7"/>
                    <a:pt x="22" y="7"/>
                    <a:pt x="22" y="5"/>
                  </a:cubicBezTo>
                  <a:cubicBezTo>
                    <a:pt x="22" y="5"/>
                    <a:pt x="19" y="4"/>
                    <a:pt x="18" y="4"/>
                  </a:cubicBezTo>
                  <a:cubicBezTo>
                    <a:pt x="17" y="3"/>
                    <a:pt x="17" y="2"/>
                    <a:pt x="17" y="1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72" name="Freeform 651">
              <a:extLst>
                <a:ext uri="{FF2B5EF4-FFF2-40B4-BE49-F238E27FC236}">
                  <a16:creationId xmlns:a16="http://schemas.microsoft.com/office/drawing/2014/main" id="{60CEF913-E268-09CC-469A-4E52C2C1585B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9457" y="2750048"/>
              <a:ext cx="109084" cy="71909"/>
            </a:xfrm>
            <a:custGeom>
              <a:avLst/>
              <a:gdLst>
                <a:gd name="T0" fmla="*/ 19 w 21"/>
                <a:gd name="T1" fmla="*/ 9 h 13"/>
                <a:gd name="T2" fmla="*/ 20 w 21"/>
                <a:gd name="T3" fmla="*/ 6 h 13"/>
                <a:gd name="T4" fmla="*/ 18 w 21"/>
                <a:gd name="T5" fmla="*/ 3 h 13"/>
                <a:gd name="T6" fmla="*/ 13 w 21"/>
                <a:gd name="T7" fmla="*/ 0 h 13"/>
                <a:gd name="T8" fmla="*/ 8 w 21"/>
                <a:gd name="T9" fmla="*/ 1 h 13"/>
                <a:gd name="T10" fmla="*/ 3 w 21"/>
                <a:gd name="T11" fmla="*/ 1 h 13"/>
                <a:gd name="T12" fmla="*/ 5 w 21"/>
                <a:gd name="T13" fmla="*/ 6 h 13"/>
                <a:gd name="T14" fmla="*/ 10 w 21"/>
                <a:gd name="T15" fmla="*/ 9 h 13"/>
                <a:gd name="T16" fmla="*/ 12 w 21"/>
                <a:gd name="T17" fmla="*/ 9 h 13"/>
                <a:gd name="T18" fmla="*/ 18 w 21"/>
                <a:gd name="T19" fmla="*/ 13 h 13"/>
                <a:gd name="T20" fmla="*/ 19 w 21"/>
                <a:gd name="T21" fmla="*/ 9 h 13"/>
                <a:gd name="T22" fmla="*/ 19 w 21"/>
                <a:gd name="T23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13">
                  <a:moveTo>
                    <a:pt x="19" y="9"/>
                  </a:moveTo>
                  <a:cubicBezTo>
                    <a:pt x="18" y="9"/>
                    <a:pt x="21" y="7"/>
                    <a:pt x="20" y="6"/>
                  </a:cubicBezTo>
                  <a:cubicBezTo>
                    <a:pt x="20" y="5"/>
                    <a:pt x="19" y="3"/>
                    <a:pt x="18" y="3"/>
                  </a:cubicBezTo>
                  <a:cubicBezTo>
                    <a:pt x="17" y="2"/>
                    <a:pt x="15" y="0"/>
                    <a:pt x="13" y="0"/>
                  </a:cubicBezTo>
                  <a:cubicBezTo>
                    <a:pt x="11" y="0"/>
                    <a:pt x="10" y="1"/>
                    <a:pt x="8" y="1"/>
                  </a:cubicBezTo>
                  <a:cubicBezTo>
                    <a:pt x="6" y="1"/>
                    <a:pt x="5" y="0"/>
                    <a:pt x="3" y="1"/>
                  </a:cubicBezTo>
                  <a:cubicBezTo>
                    <a:pt x="0" y="3"/>
                    <a:pt x="3" y="5"/>
                    <a:pt x="5" y="6"/>
                  </a:cubicBezTo>
                  <a:cubicBezTo>
                    <a:pt x="7" y="7"/>
                    <a:pt x="8" y="7"/>
                    <a:pt x="10" y="9"/>
                  </a:cubicBezTo>
                  <a:cubicBezTo>
                    <a:pt x="10" y="10"/>
                    <a:pt x="12" y="10"/>
                    <a:pt x="12" y="9"/>
                  </a:cubicBezTo>
                  <a:cubicBezTo>
                    <a:pt x="12" y="10"/>
                    <a:pt x="17" y="13"/>
                    <a:pt x="18" y="13"/>
                  </a:cubicBezTo>
                  <a:cubicBezTo>
                    <a:pt x="18" y="11"/>
                    <a:pt x="18" y="10"/>
                    <a:pt x="19" y="9"/>
                  </a:cubicBezTo>
                  <a:cubicBezTo>
                    <a:pt x="19" y="9"/>
                    <a:pt x="17" y="10"/>
                    <a:pt x="19" y="9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73" name="Freeform 652">
              <a:extLst>
                <a:ext uri="{FF2B5EF4-FFF2-40B4-BE49-F238E27FC236}">
                  <a16:creationId xmlns:a16="http://schemas.microsoft.com/office/drawing/2014/main" id="{C139FC5E-B4DC-48BC-64D8-60D2C62065E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8870" y="2801142"/>
              <a:ext cx="19671" cy="20817"/>
            </a:xfrm>
            <a:custGeom>
              <a:avLst/>
              <a:gdLst>
                <a:gd name="T0" fmla="*/ 2 w 4"/>
                <a:gd name="T1" fmla="*/ 0 h 4"/>
                <a:gd name="T2" fmla="*/ 1 w 4"/>
                <a:gd name="T3" fmla="*/ 3 h 4"/>
                <a:gd name="T4" fmla="*/ 4 w 4"/>
                <a:gd name="T5" fmla="*/ 4 h 4"/>
                <a:gd name="T6" fmla="*/ 2 w 4"/>
                <a:gd name="T7" fmla="*/ 0 h 4"/>
                <a:gd name="T8" fmla="*/ 2 w 4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2" y="0"/>
                  </a:moveTo>
                  <a:cubicBezTo>
                    <a:pt x="1" y="0"/>
                    <a:pt x="1" y="2"/>
                    <a:pt x="1" y="3"/>
                  </a:cubicBezTo>
                  <a:cubicBezTo>
                    <a:pt x="1" y="4"/>
                    <a:pt x="3" y="4"/>
                    <a:pt x="4" y="4"/>
                  </a:cubicBezTo>
                  <a:cubicBezTo>
                    <a:pt x="4" y="2"/>
                    <a:pt x="4" y="1"/>
                    <a:pt x="2" y="0"/>
                  </a:cubicBezTo>
                  <a:cubicBezTo>
                    <a:pt x="0" y="1"/>
                    <a:pt x="3" y="1"/>
                    <a:pt x="2" y="0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74" name="Freeform 653">
              <a:extLst>
                <a:ext uri="{FF2B5EF4-FFF2-40B4-BE49-F238E27FC236}">
                  <a16:creationId xmlns:a16="http://schemas.microsoft.com/office/drawing/2014/main" id="{1223B932-F65E-897E-5338-5869B4E6311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4493" y="2672461"/>
              <a:ext cx="105509" cy="100297"/>
            </a:xfrm>
            <a:custGeom>
              <a:avLst/>
              <a:gdLst>
                <a:gd name="T0" fmla="*/ 5 w 20"/>
                <a:gd name="T1" fmla="*/ 14 h 18"/>
                <a:gd name="T2" fmla="*/ 14 w 20"/>
                <a:gd name="T3" fmla="*/ 18 h 18"/>
                <a:gd name="T4" fmla="*/ 14 w 20"/>
                <a:gd name="T5" fmla="*/ 13 h 18"/>
                <a:gd name="T6" fmla="*/ 17 w 20"/>
                <a:gd name="T7" fmla="*/ 11 h 18"/>
                <a:gd name="T8" fmla="*/ 18 w 20"/>
                <a:gd name="T9" fmla="*/ 6 h 18"/>
                <a:gd name="T10" fmla="*/ 20 w 20"/>
                <a:gd name="T11" fmla="*/ 5 h 18"/>
                <a:gd name="T12" fmla="*/ 19 w 20"/>
                <a:gd name="T13" fmla="*/ 0 h 18"/>
                <a:gd name="T14" fmla="*/ 15 w 20"/>
                <a:gd name="T15" fmla="*/ 1 h 18"/>
                <a:gd name="T16" fmla="*/ 10 w 20"/>
                <a:gd name="T17" fmla="*/ 3 h 18"/>
                <a:gd name="T18" fmla="*/ 12 w 20"/>
                <a:gd name="T19" fmla="*/ 6 h 18"/>
                <a:gd name="T20" fmla="*/ 10 w 20"/>
                <a:gd name="T21" fmla="*/ 4 h 18"/>
                <a:gd name="T22" fmla="*/ 7 w 20"/>
                <a:gd name="T23" fmla="*/ 6 h 18"/>
                <a:gd name="T24" fmla="*/ 5 w 20"/>
                <a:gd name="T25" fmla="*/ 8 h 18"/>
                <a:gd name="T26" fmla="*/ 5 w 20"/>
                <a:gd name="T27" fmla="*/ 12 h 18"/>
                <a:gd name="T28" fmla="*/ 3 w 20"/>
                <a:gd name="T29" fmla="*/ 12 h 18"/>
                <a:gd name="T30" fmla="*/ 4 w 20"/>
                <a:gd name="T31" fmla="*/ 12 h 18"/>
                <a:gd name="T32" fmla="*/ 3 w 20"/>
                <a:gd name="T33" fmla="*/ 12 h 18"/>
                <a:gd name="T34" fmla="*/ 4 w 20"/>
                <a:gd name="T35" fmla="*/ 14 h 18"/>
                <a:gd name="T36" fmla="*/ 2 w 20"/>
                <a:gd name="T37" fmla="*/ 13 h 18"/>
                <a:gd name="T38" fmla="*/ 3 w 20"/>
                <a:gd name="T39" fmla="*/ 14 h 18"/>
                <a:gd name="T40" fmla="*/ 1 w 20"/>
                <a:gd name="T41" fmla="*/ 14 h 18"/>
                <a:gd name="T42" fmla="*/ 2 w 20"/>
                <a:gd name="T43" fmla="*/ 15 h 18"/>
                <a:gd name="T44" fmla="*/ 0 w 20"/>
                <a:gd name="T45" fmla="*/ 15 h 18"/>
                <a:gd name="T46" fmla="*/ 5 w 20"/>
                <a:gd name="T47" fmla="*/ 14 h 18"/>
                <a:gd name="T48" fmla="*/ 5 w 20"/>
                <a:gd name="T49" fmla="*/ 1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0" h="18">
                  <a:moveTo>
                    <a:pt x="5" y="14"/>
                  </a:moveTo>
                  <a:cubicBezTo>
                    <a:pt x="7" y="12"/>
                    <a:pt x="13" y="16"/>
                    <a:pt x="14" y="18"/>
                  </a:cubicBezTo>
                  <a:cubicBezTo>
                    <a:pt x="15" y="16"/>
                    <a:pt x="15" y="14"/>
                    <a:pt x="14" y="13"/>
                  </a:cubicBezTo>
                  <a:cubicBezTo>
                    <a:pt x="13" y="9"/>
                    <a:pt x="15" y="11"/>
                    <a:pt x="17" y="11"/>
                  </a:cubicBezTo>
                  <a:cubicBezTo>
                    <a:pt x="19" y="10"/>
                    <a:pt x="19" y="8"/>
                    <a:pt x="18" y="6"/>
                  </a:cubicBezTo>
                  <a:cubicBezTo>
                    <a:pt x="18" y="6"/>
                    <a:pt x="20" y="5"/>
                    <a:pt x="20" y="5"/>
                  </a:cubicBezTo>
                  <a:cubicBezTo>
                    <a:pt x="20" y="3"/>
                    <a:pt x="20" y="2"/>
                    <a:pt x="19" y="0"/>
                  </a:cubicBezTo>
                  <a:cubicBezTo>
                    <a:pt x="19" y="0"/>
                    <a:pt x="15" y="1"/>
                    <a:pt x="15" y="1"/>
                  </a:cubicBezTo>
                  <a:cubicBezTo>
                    <a:pt x="13" y="1"/>
                    <a:pt x="12" y="1"/>
                    <a:pt x="10" y="3"/>
                  </a:cubicBezTo>
                  <a:cubicBezTo>
                    <a:pt x="10" y="3"/>
                    <a:pt x="13" y="5"/>
                    <a:pt x="12" y="6"/>
                  </a:cubicBezTo>
                  <a:cubicBezTo>
                    <a:pt x="10" y="8"/>
                    <a:pt x="9" y="4"/>
                    <a:pt x="10" y="4"/>
                  </a:cubicBezTo>
                  <a:cubicBezTo>
                    <a:pt x="10" y="4"/>
                    <a:pt x="7" y="5"/>
                    <a:pt x="7" y="6"/>
                  </a:cubicBezTo>
                  <a:cubicBezTo>
                    <a:pt x="7" y="7"/>
                    <a:pt x="6" y="7"/>
                    <a:pt x="5" y="8"/>
                  </a:cubicBezTo>
                  <a:cubicBezTo>
                    <a:pt x="5" y="9"/>
                    <a:pt x="3" y="12"/>
                    <a:pt x="5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2"/>
                    <a:pt x="4" y="12"/>
                    <a:pt x="4" y="12"/>
                  </a:cubicBezTo>
                  <a:cubicBezTo>
                    <a:pt x="4" y="12"/>
                    <a:pt x="3" y="12"/>
                    <a:pt x="3" y="12"/>
                  </a:cubicBezTo>
                  <a:cubicBezTo>
                    <a:pt x="2" y="13"/>
                    <a:pt x="4" y="14"/>
                    <a:pt x="4" y="14"/>
                  </a:cubicBezTo>
                  <a:cubicBezTo>
                    <a:pt x="4" y="13"/>
                    <a:pt x="2" y="13"/>
                    <a:pt x="2" y="13"/>
                  </a:cubicBezTo>
                  <a:cubicBezTo>
                    <a:pt x="2" y="13"/>
                    <a:pt x="3" y="14"/>
                    <a:pt x="3" y="14"/>
                  </a:cubicBezTo>
                  <a:cubicBezTo>
                    <a:pt x="3" y="14"/>
                    <a:pt x="2" y="13"/>
                    <a:pt x="1" y="14"/>
                  </a:cubicBezTo>
                  <a:cubicBezTo>
                    <a:pt x="1" y="14"/>
                    <a:pt x="2" y="15"/>
                    <a:pt x="2" y="15"/>
                  </a:cubicBezTo>
                  <a:cubicBezTo>
                    <a:pt x="2" y="14"/>
                    <a:pt x="1" y="14"/>
                    <a:pt x="0" y="15"/>
                  </a:cubicBezTo>
                  <a:cubicBezTo>
                    <a:pt x="1" y="15"/>
                    <a:pt x="4" y="16"/>
                    <a:pt x="5" y="14"/>
                  </a:cubicBezTo>
                  <a:cubicBezTo>
                    <a:pt x="5" y="14"/>
                    <a:pt x="5" y="15"/>
                    <a:pt x="5" y="14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75" name="Freeform 654">
              <a:extLst>
                <a:ext uri="{FF2B5EF4-FFF2-40B4-BE49-F238E27FC236}">
                  <a16:creationId xmlns:a16="http://schemas.microsoft.com/office/drawing/2014/main" id="{749E7DA8-1A88-61D5-77B6-562B1564C1BC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1457" y="2505932"/>
              <a:ext cx="78683" cy="123003"/>
            </a:xfrm>
            <a:custGeom>
              <a:avLst/>
              <a:gdLst>
                <a:gd name="T0" fmla="*/ 10 w 15"/>
                <a:gd name="T1" fmla="*/ 21 h 22"/>
                <a:gd name="T2" fmla="*/ 8 w 15"/>
                <a:gd name="T3" fmla="*/ 17 h 22"/>
                <a:gd name="T4" fmla="*/ 11 w 15"/>
                <a:gd name="T5" fmla="*/ 12 h 22"/>
                <a:gd name="T6" fmla="*/ 11 w 15"/>
                <a:gd name="T7" fmla="*/ 13 h 22"/>
                <a:gd name="T8" fmla="*/ 15 w 15"/>
                <a:gd name="T9" fmla="*/ 10 h 22"/>
                <a:gd name="T10" fmla="*/ 11 w 15"/>
                <a:gd name="T11" fmla="*/ 7 h 22"/>
                <a:gd name="T12" fmla="*/ 10 w 15"/>
                <a:gd name="T13" fmla="*/ 5 h 22"/>
                <a:gd name="T14" fmla="*/ 12 w 15"/>
                <a:gd name="T15" fmla="*/ 4 h 22"/>
                <a:gd name="T16" fmla="*/ 12 w 15"/>
                <a:gd name="T17" fmla="*/ 1 h 22"/>
                <a:gd name="T18" fmla="*/ 11 w 15"/>
                <a:gd name="T19" fmla="*/ 1 h 22"/>
                <a:gd name="T20" fmla="*/ 7 w 15"/>
                <a:gd name="T21" fmla="*/ 4 h 22"/>
                <a:gd name="T22" fmla="*/ 2 w 15"/>
                <a:gd name="T23" fmla="*/ 5 h 22"/>
                <a:gd name="T24" fmla="*/ 4 w 15"/>
                <a:gd name="T25" fmla="*/ 6 h 22"/>
                <a:gd name="T26" fmla="*/ 6 w 15"/>
                <a:gd name="T27" fmla="*/ 8 h 22"/>
                <a:gd name="T28" fmla="*/ 4 w 15"/>
                <a:gd name="T29" fmla="*/ 8 h 22"/>
                <a:gd name="T30" fmla="*/ 2 w 15"/>
                <a:gd name="T31" fmla="*/ 8 h 22"/>
                <a:gd name="T32" fmla="*/ 0 w 15"/>
                <a:gd name="T33" fmla="*/ 9 h 22"/>
                <a:gd name="T34" fmla="*/ 0 w 15"/>
                <a:gd name="T35" fmla="*/ 14 h 22"/>
                <a:gd name="T36" fmla="*/ 2 w 15"/>
                <a:gd name="T37" fmla="*/ 16 h 22"/>
                <a:gd name="T38" fmla="*/ 2 w 15"/>
                <a:gd name="T39" fmla="*/ 20 h 22"/>
                <a:gd name="T40" fmla="*/ 10 w 15"/>
                <a:gd name="T41" fmla="*/ 2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5" h="22">
                  <a:moveTo>
                    <a:pt x="10" y="21"/>
                  </a:moveTo>
                  <a:cubicBezTo>
                    <a:pt x="10" y="20"/>
                    <a:pt x="6" y="18"/>
                    <a:pt x="8" y="17"/>
                  </a:cubicBezTo>
                  <a:cubicBezTo>
                    <a:pt x="9" y="16"/>
                    <a:pt x="9" y="13"/>
                    <a:pt x="11" y="12"/>
                  </a:cubicBezTo>
                  <a:cubicBezTo>
                    <a:pt x="11" y="12"/>
                    <a:pt x="11" y="13"/>
                    <a:pt x="11" y="13"/>
                  </a:cubicBezTo>
                  <a:cubicBezTo>
                    <a:pt x="12" y="13"/>
                    <a:pt x="15" y="11"/>
                    <a:pt x="15" y="10"/>
                  </a:cubicBezTo>
                  <a:cubicBezTo>
                    <a:pt x="15" y="9"/>
                    <a:pt x="11" y="9"/>
                    <a:pt x="11" y="7"/>
                  </a:cubicBezTo>
                  <a:cubicBezTo>
                    <a:pt x="11" y="6"/>
                    <a:pt x="10" y="6"/>
                    <a:pt x="10" y="5"/>
                  </a:cubicBezTo>
                  <a:cubicBezTo>
                    <a:pt x="10" y="4"/>
                    <a:pt x="12" y="5"/>
                    <a:pt x="12" y="4"/>
                  </a:cubicBezTo>
                  <a:cubicBezTo>
                    <a:pt x="12" y="3"/>
                    <a:pt x="12" y="2"/>
                    <a:pt x="12" y="1"/>
                  </a:cubicBezTo>
                  <a:cubicBezTo>
                    <a:pt x="12" y="0"/>
                    <a:pt x="12" y="1"/>
                    <a:pt x="11" y="1"/>
                  </a:cubicBezTo>
                  <a:cubicBezTo>
                    <a:pt x="8" y="1"/>
                    <a:pt x="9" y="2"/>
                    <a:pt x="7" y="4"/>
                  </a:cubicBezTo>
                  <a:cubicBezTo>
                    <a:pt x="6" y="5"/>
                    <a:pt x="3" y="3"/>
                    <a:pt x="2" y="5"/>
                  </a:cubicBezTo>
                  <a:cubicBezTo>
                    <a:pt x="0" y="7"/>
                    <a:pt x="3" y="7"/>
                    <a:pt x="4" y="6"/>
                  </a:cubicBezTo>
                  <a:cubicBezTo>
                    <a:pt x="5" y="5"/>
                    <a:pt x="7" y="6"/>
                    <a:pt x="6" y="8"/>
                  </a:cubicBezTo>
                  <a:cubicBezTo>
                    <a:pt x="6" y="7"/>
                    <a:pt x="4" y="6"/>
                    <a:pt x="4" y="8"/>
                  </a:cubicBezTo>
                  <a:cubicBezTo>
                    <a:pt x="3" y="8"/>
                    <a:pt x="2" y="9"/>
                    <a:pt x="2" y="8"/>
                  </a:cubicBezTo>
                  <a:cubicBezTo>
                    <a:pt x="2" y="9"/>
                    <a:pt x="0" y="7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1" y="15"/>
                    <a:pt x="2" y="15"/>
                    <a:pt x="2" y="16"/>
                  </a:cubicBezTo>
                  <a:cubicBezTo>
                    <a:pt x="3" y="18"/>
                    <a:pt x="1" y="19"/>
                    <a:pt x="2" y="20"/>
                  </a:cubicBezTo>
                  <a:cubicBezTo>
                    <a:pt x="4" y="22"/>
                    <a:pt x="8" y="21"/>
                    <a:pt x="10" y="21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76" name="Freeform 655">
              <a:extLst>
                <a:ext uri="{FF2B5EF4-FFF2-40B4-BE49-F238E27FC236}">
                  <a16:creationId xmlns:a16="http://schemas.microsoft.com/office/drawing/2014/main" id="{60B8BA1D-7699-22A8-2134-4177EC455CAA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4234" y="2617584"/>
              <a:ext cx="234261" cy="287639"/>
            </a:xfrm>
            <a:custGeom>
              <a:avLst/>
              <a:gdLst>
                <a:gd name="T0" fmla="*/ 44 w 45"/>
                <a:gd name="T1" fmla="*/ 24 h 52"/>
                <a:gd name="T2" fmla="*/ 43 w 45"/>
                <a:gd name="T3" fmla="*/ 18 h 52"/>
                <a:gd name="T4" fmla="*/ 42 w 45"/>
                <a:gd name="T5" fmla="*/ 12 h 52"/>
                <a:gd name="T6" fmla="*/ 41 w 45"/>
                <a:gd name="T7" fmla="*/ 7 h 52"/>
                <a:gd name="T8" fmla="*/ 38 w 45"/>
                <a:gd name="T9" fmla="*/ 4 h 52"/>
                <a:gd name="T10" fmla="*/ 38 w 45"/>
                <a:gd name="T11" fmla="*/ 2 h 52"/>
                <a:gd name="T12" fmla="*/ 37 w 45"/>
                <a:gd name="T13" fmla="*/ 5 h 52"/>
                <a:gd name="T14" fmla="*/ 33 w 45"/>
                <a:gd name="T15" fmla="*/ 4 h 52"/>
                <a:gd name="T16" fmla="*/ 25 w 45"/>
                <a:gd name="T17" fmla="*/ 7 h 52"/>
                <a:gd name="T18" fmla="*/ 26 w 45"/>
                <a:gd name="T19" fmla="*/ 4 h 52"/>
                <a:gd name="T20" fmla="*/ 21 w 45"/>
                <a:gd name="T21" fmla="*/ 4 h 52"/>
                <a:gd name="T22" fmla="*/ 20 w 45"/>
                <a:gd name="T23" fmla="*/ 1 h 52"/>
                <a:gd name="T24" fmla="*/ 13 w 45"/>
                <a:gd name="T25" fmla="*/ 0 h 52"/>
                <a:gd name="T26" fmla="*/ 15 w 45"/>
                <a:gd name="T27" fmla="*/ 3 h 52"/>
                <a:gd name="T28" fmla="*/ 15 w 45"/>
                <a:gd name="T29" fmla="*/ 6 h 52"/>
                <a:gd name="T30" fmla="*/ 17 w 45"/>
                <a:gd name="T31" fmla="*/ 7 h 52"/>
                <a:gd name="T32" fmla="*/ 20 w 45"/>
                <a:gd name="T33" fmla="*/ 9 h 52"/>
                <a:gd name="T34" fmla="*/ 15 w 45"/>
                <a:gd name="T35" fmla="*/ 8 h 52"/>
                <a:gd name="T36" fmla="*/ 14 w 45"/>
                <a:gd name="T37" fmla="*/ 8 h 52"/>
                <a:gd name="T38" fmla="*/ 13 w 45"/>
                <a:gd name="T39" fmla="*/ 10 h 52"/>
                <a:gd name="T40" fmla="*/ 6 w 45"/>
                <a:gd name="T41" fmla="*/ 10 h 52"/>
                <a:gd name="T42" fmla="*/ 6 w 45"/>
                <a:gd name="T43" fmla="*/ 15 h 52"/>
                <a:gd name="T44" fmla="*/ 6 w 45"/>
                <a:gd name="T45" fmla="*/ 17 h 52"/>
                <a:gd name="T46" fmla="*/ 1 w 45"/>
                <a:gd name="T47" fmla="*/ 22 h 52"/>
                <a:gd name="T48" fmla="*/ 2 w 45"/>
                <a:gd name="T49" fmla="*/ 26 h 52"/>
                <a:gd name="T50" fmla="*/ 2 w 45"/>
                <a:gd name="T51" fmla="*/ 30 h 52"/>
                <a:gd name="T52" fmla="*/ 1 w 45"/>
                <a:gd name="T53" fmla="*/ 33 h 52"/>
                <a:gd name="T54" fmla="*/ 3 w 45"/>
                <a:gd name="T55" fmla="*/ 37 h 52"/>
                <a:gd name="T56" fmla="*/ 11 w 45"/>
                <a:gd name="T57" fmla="*/ 40 h 52"/>
                <a:gd name="T58" fmla="*/ 9 w 45"/>
                <a:gd name="T59" fmla="*/ 49 h 52"/>
                <a:gd name="T60" fmla="*/ 19 w 45"/>
                <a:gd name="T61" fmla="*/ 49 h 52"/>
                <a:gd name="T62" fmla="*/ 23 w 45"/>
                <a:gd name="T63" fmla="*/ 51 h 52"/>
                <a:gd name="T64" fmla="*/ 26 w 45"/>
                <a:gd name="T65" fmla="*/ 50 h 52"/>
                <a:gd name="T66" fmla="*/ 33 w 45"/>
                <a:gd name="T67" fmla="*/ 49 h 52"/>
                <a:gd name="T68" fmla="*/ 36 w 45"/>
                <a:gd name="T69" fmla="*/ 49 h 52"/>
                <a:gd name="T70" fmla="*/ 36 w 45"/>
                <a:gd name="T71" fmla="*/ 45 h 52"/>
                <a:gd name="T72" fmla="*/ 40 w 45"/>
                <a:gd name="T73" fmla="*/ 43 h 52"/>
                <a:gd name="T74" fmla="*/ 35 w 45"/>
                <a:gd name="T75" fmla="*/ 37 h 52"/>
                <a:gd name="T76" fmla="*/ 32 w 45"/>
                <a:gd name="T77" fmla="*/ 31 h 52"/>
                <a:gd name="T78" fmla="*/ 41 w 45"/>
                <a:gd name="T79" fmla="*/ 26 h 52"/>
                <a:gd name="T80" fmla="*/ 44 w 45"/>
                <a:gd name="T81" fmla="*/ 28 h 52"/>
                <a:gd name="T82" fmla="*/ 44 w 45"/>
                <a:gd name="T83" fmla="*/ 24 h 52"/>
                <a:gd name="T84" fmla="*/ 44 w 45"/>
                <a:gd name="T85" fmla="*/ 24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" h="52">
                  <a:moveTo>
                    <a:pt x="44" y="24"/>
                  </a:moveTo>
                  <a:cubicBezTo>
                    <a:pt x="43" y="22"/>
                    <a:pt x="43" y="20"/>
                    <a:pt x="43" y="18"/>
                  </a:cubicBezTo>
                  <a:cubicBezTo>
                    <a:pt x="42" y="16"/>
                    <a:pt x="41" y="15"/>
                    <a:pt x="42" y="12"/>
                  </a:cubicBezTo>
                  <a:cubicBezTo>
                    <a:pt x="43" y="10"/>
                    <a:pt x="42" y="8"/>
                    <a:pt x="41" y="7"/>
                  </a:cubicBezTo>
                  <a:cubicBezTo>
                    <a:pt x="40" y="6"/>
                    <a:pt x="38" y="5"/>
                    <a:pt x="38" y="4"/>
                  </a:cubicBezTo>
                  <a:cubicBezTo>
                    <a:pt x="38" y="4"/>
                    <a:pt x="39" y="3"/>
                    <a:pt x="38" y="2"/>
                  </a:cubicBezTo>
                  <a:cubicBezTo>
                    <a:pt x="37" y="2"/>
                    <a:pt x="37" y="5"/>
                    <a:pt x="37" y="5"/>
                  </a:cubicBezTo>
                  <a:cubicBezTo>
                    <a:pt x="35" y="5"/>
                    <a:pt x="35" y="4"/>
                    <a:pt x="33" y="4"/>
                  </a:cubicBezTo>
                  <a:cubicBezTo>
                    <a:pt x="31" y="5"/>
                    <a:pt x="28" y="7"/>
                    <a:pt x="25" y="7"/>
                  </a:cubicBezTo>
                  <a:cubicBezTo>
                    <a:pt x="24" y="6"/>
                    <a:pt x="26" y="5"/>
                    <a:pt x="26" y="4"/>
                  </a:cubicBezTo>
                  <a:cubicBezTo>
                    <a:pt x="24" y="4"/>
                    <a:pt x="23" y="5"/>
                    <a:pt x="21" y="4"/>
                  </a:cubicBezTo>
                  <a:cubicBezTo>
                    <a:pt x="20" y="3"/>
                    <a:pt x="23" y="1"/>
                    <a:pt x="20" y="1"/>
                  </a:cubicBezTo>
                  <a:cubicBezTo>
                    <a:pt x="18" y="1"/>
                    <a:pt x="16" y="1"/>
                    <a:pt x="13" y="0"/>
                  </a:cubicBezTo>
                  <a:cubicBezTo>
                    <a:pt x="14" y="1"/>
                    <a:pt x="15" y="1"/>
                    <a:pt x="15" y="3"/>
                  </a:cubicBezTo>
                  <a:cubicBezTo>
                    <a:pt x="14" y="4"/>
                    <a:pt x="14" y="4"/>
                    <a:pt x="15" y="6"/>
                  </a:cubicBezTo>
                  <a:cubicBezTo>
                    <a:pt x="15" y="8"/>
                    <a:pt x="15" y="7"/>
                    <a:pt x="17" y="7"/>
                  </a:cubicBezTo>
                  <a:cubicBezTo>
                    <a:pt x="18" y="7"/>
                    <a:pt x="19" y="8"/>
                    <a:pt x="20" y="9"/>
                  </a:cubicBezTo>
                  <a:cubicBezTo>
                    <a:pt x="19" y="8"/>
                    <a:pt x="16" y="8"/>
                    <a:pt x="15" y="8"/>
                  </a:cubicBezTo>
                  <a:cubicBezTo>
                    <a:pt x="15" y="8"/>
                    <a:pt x="14" y="8"/>
                    <a:pt x="14" y="8"/>
                  </a:cubicBezTo>
                  <a:cubicBezTo>
                    <a:pt x="13" y="9"/>
                    <a:pt x="14" y="10"/>
                    <a:pt x="13" y="10"/>
                  </a:cubicBezTo>
                  <a:cubicBezTo>
                    <a:pt x="11" y="11"/>
                    <a:pt x="7" y="6"/>
                    <a:pt x="6" y="10"/>
                  </a:cubicBezTo>
                  <a:cubicBezTo>
                    <a:pt x="7" y="12"/>
                    <a:pt x="8" y="14"/>
                    <a:pt x="6" y="15"/>
                  </a:cubicBezTo>
                  <a:cubicBezTo>
                    <a:pt x="5" y="17"/>
                    <a:pt x="5" y="15"/>
                    <a:pt x="6" y="17"/>
                  </a:cubicBezTo>
                  <a:cubicBezTo>
                    <a:pt x="6" y="22"/>
                    <a:pt x="0" y="20"/>
                    <a:pt x="1" y="22"/>
                  </a:cubicBezTo>
                  <a:cubicBezTo>
                    <a:pt x="1" y="23"/>
                    <a:pt x="2" y="24"/>
                    <a:pt x="2" y="26"/>
                  </a:cubicBezTo>
                  <a:cubicBezTo>
                    <a:pt x="2" y="28"/>
                    <a:pt x="1" y="28"/>
                    <a:pt x="2" y="30"/>
                  </a:cubicBezTo>
                  <a:cubicBezTo>
                    <a:pt x="3" y="31"/>
                    <a:pt x="0" y="33"/>
                    <a:pt x="1" y="33"/>
                  </a:cubicBezTo>
                  <a:cubicBezTo>
                    <a:pt x="3" y="34"/>
                    <a:pt x="2" y="36"/>
                    <a:pt x="3" y="37"/>
                  </a:cubicBezTo>
                  <a:cubicBezTo>
                    <a:pt x="4" y="40"/>
                    <a:pt x="8" y="39"/>
                    <a:pt x="11" y="40"/>
                  </a:cubicBezTo>
                  <a:cubicBezTo>
                    <a:pt x="11" y="40"/>
                    <a:pt x="9" y="48"/>
                    <a:pt x="9" y="49"/>
                  </a:cubicBezTo>
                  <a:cubicBezTo>
                    <a:pt x="13" y="49"/>
                    <a:pt x="15" y="48"/>
                    <a:pt x="19" y="49"/>
                  </a:cubicBezTo>
                  <a:cubicBezTo>
                    <a:pt x="19" y="49"/>
                    <a:pt x="23" y="52"/>
                    <a:pt x="23" y="51"/>
                  </a:cubicBezTo>
                  <a:cubicBezTo>
                    <a:pt x="24" y="49"/>
                    <a:pt x="25" y="49"/>
                    <a:pt x="26" y="50"/>
                  </a:cubicBezTo>
                  <a:cubicBezTo>
                    <a:pt x="27" y="51"/>
                    <a:pt x="32" y="48"/>
                    <a:pt x="33" y="49"/>
                  </a:cubicBezTo>
                  <a:cubicBezTo>
                    <a:pt x="33" y="49"/>
                    <a:pt x="37" y="50"/>
                    <a:pt x="36" y="49"/>
                  </a:cubicBezTo>
                  <a:cubicBezTo>
                    <a:pt x="35" y="46"/>
                    <a:pt x="34" y="46"/>
                    <a:pt x="36" y="45"/>
                  </a:cubicBezTo>
                  <a:cubicBezTo>
                    <a:pt x="38" y="43"/>
                    <a:pt x="38" y="43"/>
                    <a:pt x="40" y="43"/>
                  </a:cubicBezTo>
                  <a:cubicBezTo>
                    <a:pt x="41" y="42"/>
                    <a:pt x="36" y="38"/>
                    <a:pt x="35" y="37"/>
                  </a:cubicBezTo>
                  <a:cubicBezTo>
                    <a:pt x="34" y="37"/>
                    <a:pt x="31" y="32"/>
                    <a:pt x="32" y="31"/>
                  </a:cubicBezTo>
                  <a:cubicBezTo>
                    <a:pt x="36" y="30"/>
                    <a:pt x="38" y="29"/>
                    <a:pt x="41" y="26"/>
                  </a:cubicBezTo>
                  <a:cubicBezTo>
                    <a:pt x="42" y="25"/>
                    <a:pt x="43" y="29"/>
                    <a:pt x="44" y="28"/>
                  </a:cubicBezTo>
                  <a:cubicBezTo>
                    <a:pt x="45" y="27"/>
                    <a:pt x="45" y="25"/>
                    <a:pt x="44" y="24"/>
                  </a:cubicBezTo>
                  <a:cubicBezTo>
                    <a:pt x="44" y="23"/>
                    <a:pt x="44" y="24"/>
                    <a:pt x="44" y="24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77" name="Freeform 656">
              <a:extLst>
                <a:ext uri="{FF2B5EF4-FFF2-40B4-BE49-F238E27FC236}">
                  <a16:creationId xmlns:a16="http://schemas.microsoft.com/office/drawing/2014/main" id="{DD90F818-CD24-F945-2794-3180C2D4575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7322" y="2706524"/>
              <a:ext cx="466735" cy="293317"/>
            </a:xfrm>
            <a:custGeom>
              <a:avLst/>
              <a:gdLst>
                <a:gd name="T0" fmla="*/ 0 w 89"/>
                <a:gd name="T1" fmla="*/ 27 h 53"/>
                <a:gd name="T2" fmla="*/ 9 w 89"/>
                <a:gd name="T3" fmla="*/ 30 h 53"/>
                <a:gd name="T4" fmla="*/ 16 w 89"/>
                <a:gd name="T5" fmla="*/ 31 h 53"/>
                <a:gd name="T6" fmla="*/ 22 w 89"/>
                <a:gd name="T7" fmla="*/ 28 h 53"/>
                <a:gd name="T8" fmla="*/ 33 w 89"/>
                <a:gd name="T9" fmla="*/ 30 h 53"/>
                <a:gd name="T10" fmla="*/ 40 w 89"/>
                <a:gd name="T11" fmla="*/ 41 h 53"/>
                <a:gd name="T12" fmla="*/ 44 w 89"/>
                <a:gd name="T13" fmla="*/ 38 h 53"/>
                <a:gd name="T14" fmla="*/ 47 w 89"/>
                <a:gd name="T15" fmla="*/ 41 h 53"/>
                <a:gd name="T16" fmla="*/ 57 w 89"/>
                <a:gd name="T17" fmla="*/ 42 h 53"/>
                <a:gd name="T18" fmla="*/ 51 w 89"/>
                <a:gd name="T19" fmla="*/ 46 h 53"/>
                <a:gd name="T20" fmla="*/ 55 w 89"/>
                <a:gd name="T21" fmla="*/ 49 h 53"/>
                <a:gd name="T22" fmla="*/ 59 w 89"/>
                <a:gd name="T23" fmla="*/ 51 h 53"/>
                <a:gd name="T24" fmla="*/ 67 w 89"/>
                <a:gd name="T25" fmla="*/ 48 h 53"/>
                <a:gd name="T26" fmla="*/ 72 w 89"/>
                <a:gd name="T27" fmla="*/ 46 h 53"/>
                <a:gd name="T28" fmla="*/ 68 w 89"/>
                <a:gd name="T29" fmla="*/ 46 h 53"/>
                <a:gd name="T30" fmla="*/ 63 w 89"/>
                <a:gd name="T31" fmla="*/ 44 h 53"/>
                <a:gd name="T32" fmla="*/ 72 w 89"/>
                <a:gd name="T33" fmla="*/ 38 h 53"/>
                <a:gd name="T34" fmla="*/ 78 w 89"/>
                <a:gd name="T35" fmla="*/ 35 h 53"/>
                <a:gd name="T36" fmla="*/ 84 w 89"/>
                <a:gd name="T37" fmla="*/ 31 h 53"/>
                <a:gd name="T38" fmla="*/ 87 w 89"/>
                <a:gd name="T39" fmla="*/ 28 h 53"/>
                <a:gd name="T40" fmla="*/ 86 w 89"/>
                <a:gd name="T41" fmla="*/ 26 h 53"/>
                <a:gd name="T42" fmla="*/ 88 w 89"/>
                <a:gd name="T43" fmla="*/ 25 h 53"/>
                <a:gd name="T44" fmla="*/ 86 w 89"/>
                <a:gd name="T45" fmla="*/ 24 h 53"/>
                <a:gd name="T46" fmla="*/ 88 w 89"/>
                <a:gd name="T47" fmla="*/ 21 h 53"/>
                <a:gd name="T48" fmla="*/ 85 w 89"/>
                <a:gd name="T49" fmla="*/ 19 h 53"/>
                <a:gd name="T50" fmla="*/ 82 w 89"/>
                <a:gd name="T51" fmla="*/ 18 h 53"/>
                <a:gd name="T52" fmla="*/ 78 w 89"/>
                <a:gd name="T53" fmla="*/ 18 h 53"/>
                <a:gd name="T54" fmla="*/ 75 w 89"/>
                <a:gd name="T55" fmla="*/ 15 h 53"/>
                <a:gd name="T56" fmla="*/ 72 w 89"/>
                <a:gd name="T57" fmla="*/ 17 h 53"/>
                <a:gd name="T58" fmla="*/ 69 w 89"/>
                <a:gd name="T59" fmla="*/ 14 h 53"/>
                <a:gd name="T60" fmla="*/ 65 w 89"/>
                <a:gd name="T61" fmla="*/ 14 h 53"/>
                <a:gd name="T62" fmla="*/ 64 w 89"/>
                <a:gd name="T63" fmla="*/ 10 h 53"/>
                <a:gd name="T64" fmla="*/ 60 w 89"/>
                <a:gd name="T65" fmla="*/ 9 h 53"/>
                <a:gd name="T66" fmla="*/ 60 w 89"/>
                <a:gd name="T67" fmla="*/ 5 h 53"/>
                <a:gd name="T68" fmla="*/ 58 w 89"/>
                <a:gd name="T69" fmla="*/ 2 h 53"/>
                <a:gd name="T70" fmla="*/ 53 w 89"/>
                <a:gd name="T71" fmla="*/ 1 h 53"/>
                <a:gd name="T72" fmla="*/ 47 w 89"/>
                <a:gd name="T73" fmla="*/ 2 h 53"/>
                <a:gd name="T74" fmla="*/ 43 w 89"/>
                <a:gd name="T75" fmla="*/ 3 h 53"/>
                <a:gd name="T76" fmla="*/ 41 w 89"/>
                <a:gd name="T77" fmla="*/ 9 h 53"/>
                <a:gd name="T78" fmla="*/ 38 w 89"/>
                <a:gd name="T79" fmla="*/ 7 h 53"/>
                <a:gd name="T80" fmla="*/ 36 w 89"/>
                <a:gd name="T81" fmla="*/ 8 h 53"/>
                <a:gd name="T82" fmla="*/ 34 w 89"/>
                <a:gd name="T83" fmla="*/ 6 h 53"/>
                <a:gd name="T84" fmla="*/ 31 w 89"/>
                <a:gd name="T85" fmla="*/ 7 h 53"/>
                <a:gd name="T86" fmla="*/ 29 w 89"/>
                <a:gd name="T87" fmla="*/ 6 h 53"/>
                <a:gd name="T88" fmla="*/ 28 w 89"/>
                <a:gd name="T89" fmla="*/ 8 h 53"/>
                <a:gd name="T90" fmla="*/ 21 w 89"/>
                <a:gd name="T91" fmla="*/ 5 h 53"/>
                <a:gd name="T92" fmla="*/ 12 w 89"/>
                <a:gd name="T93" fmla="*/ 4 h 53"/>
                <a:gd name="T94" fmla="*/ 6 w 89"/>
                <a:gd name="T95" fmla="*/ 6 h 53"/>
                <a:gd name="T96" fmla="*/ 9 w 89"/>
                <a:gd name="T97" fmla="*/ 11 h 53"/>
                <a:gd name="T98" fmla="*/ 10 w 89"/>
                <a:gd name="T99" fmla="*/ 14 h 53"/>
                <a:gd name="T100" fmla="*/ 5 w 89"/>
                <a:gd name="T101" fmla="*/ 16 h 53"/>
                <a:gd name="T102" fmla="*/ 2 w 89"/>
                <a:gd name="T103" fmla="*/ 23 h 53"/>
                <a:gd name="T104" fmla="*/ 0 w 89"/>
                <a:gd name="T105" fmla="*/ 27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9" h="53">
                  <a:moveTo>
                    <a:pt x="0" y="27"/>
                  </a:moveTo>
                  <a:cubicBezTo>
                    <a:pt x="0" y="30"/>
                    <a:pt x="7" y="30"/>
                    <a:pt x="9" y="30"/>
                  </a:cubicBezTo>
                  <a:cubicBezTo>
                    <a:pt x="11" y="30"/>
                    <a:pt x="13" y="32"/>
                    <a:pt x="16" y="31"/>
                  </a:cubicBezTo>
                  <a:cubicBezTo>
                    <a:pt x="17" y="29"/>
                    <a:pt x="20" y="28"/>
                    <a:pt x="22" y="28"/>
                  </a:cubicBezTo>
                  <a:cubicBezTo>
                    <a:pt x="25" y="26"/>
                    <a:pt x="31" y="28"/>
                    <a:pt x="33" y="30"/>
                  </a:cubicBezTo>
                  <a:cubicBezTo>
                    <a:pt x="36" y="34"/>
                    <a:pt x="37" y="38"/>
                    <a:pt x="40" y="41"/>
                  </a:cubicBezTo>
                  <a:cubicBezTo>
                    <a:pt x="42" y="40"/>
                    <a:pt x="42" y="39"/>
                    <a:pt x="44" y="38"/>
                  </a:cubicBezTo>
                  <a:cubicBezTo>
                    <a:pt x="46" y="38"/>
                    <a:pt x="46" y="40"/>
                    <a:pt x="47" y="41"/>
                  </a:cubicBezTo>
                  <a:cubicBezTo>
                    <a:pt x="48" y="42"/>
                    <a:pt x="57" y="43"/>
                    <a:pt x="57" y="42"/>
                  </a:cubicBezTo>
                  <a:cubicBezTo>
                    <a:pt x="57" y="43"/>
                    <a:pt x="51" y="45"/>
                    <a:pt x="51" y="46"/>
                  </a:cubicBezTo>
                  <a:cubicBezTo>
                    <a:pt x="52" y="47"/>
                    <a:pt x="56" y="46"/>
                    <a:pt x="55" y="49"/>
                  </a:cubicBezTo>
                  <a:cubicBezTo>
                    <a:pt x="54" y="51"/>
                    <a:pt x="57" y="53"/>
                    <a:pt x="59" y="51"/>
                  </a:cubicBezTo>
                  <a:cubicBezTo>
                    <a:pt x="61" y="50"/>
                    <a:pt x="64" y="48"/>
                    <a:pt x="67" y="48"/>
                  </a:cubicBezTo>
                  <a:cubicBezTo>
                    <a:pt x="70" y="48"/>
                    <a:pt x="71" y="48"/>
                    <a:pt x="72" y="46"/>
                  </a:cubicBezTo>
                  <a:cubicBezTo>
                    <a:pt x="72" y="46"/>
                    <a:pt x="69" y="46"/>
                    <a:pt x="68" y="46"/>
                  </a:cubicBezTo>
                  <a:cubicBezTo>
                    <a:pt x="66" y="46"/>
                    <a:pt x="64" y="47"/>
                    <a:pt x="63" y="44"/>
                  </a:cubicBezTo>
                  <a:cubicBezTo>
                    <a:pt x="60" y="40"/>
                    <a:pt x="70" y="38"/>
                    <a:pt x="72" y="38"/>
                  </a:cubicBezTo>
                  <a:cubicBezTo>
                    <a:pt x="74" y="37"/>
                    <a:pt x="76" y="36"/>
                    <a:pt x="78" y="35"/>
                  </a:cubicBezTo>
                  <a:cubicBezTo>
                    <a:pt x="79" y="33"/>
                    <a:pt x="81" y="31"/>
                    <a:pt x="84" y="31"/>
                  </a:cubicBezTo>
                  <a:cubicBezTo>
                    <a:pt x="85" y="31"/>
                    <a:pt x="87" y="31"/>
                    <a:pt x="87" y="28"/>
                  </a:cubicBezTo>
                  <a:cubicBezTo>
                    <a:pt x="87" y="27"/>
                    <a:pt x="86" y="27"/>
                    <a:pt x="86" y="26"/>
                  </a:cubicBezTo>
                  <a:cubicBezTo>
                    <a:pt x="86" y="25"/>
                    <a:pt x="88" y="25"/>
                    <a:pt x="88" y="25"/>
                  </a:cubicBezTo>
                  <a:cubicBezTo>
                    <a:pt x="88" y="25"/>
                    <a:pt x="86" y="24"/>
                    <a:pt x="86" y="24"/>
                  </a:cubicBezTo>
                  <a:cubicBezTo>
                    <a:pt x="86" y="23"/>
                    <a:pt x="89" y="23"/>
                    <a:pt x="88" y="21"/>
                  </a:cubicBezTo>
                  <a:cubicBezTo>
                    <a:pt x="88" y="21"/>
                    <a:pt x="86" y="20"/>
                    <a:pt x="85" y="19"/>
                  </a:cubicBezTo>
                  <a:cubicBezTo>
                    <a:pt x="84" y="18"/>
                    <a:pt x="83" y="20"/>
                    <a:pt x="82" y="18"/>
                  </a:cubicBezTo>
                  <a:cubicBezTo>
                    <a:pt x="81" y="17"/>
                    <a:pt x="80" y="17"/>
                    <a:pt x="78" y="18"/>
                  </a:cubicBezTo>
                  <a:cubicBezTo>
                    <a:pt x="77" y="18"/>
                    <a:pt x="76" y="15"/>
                    <a:pt x="75" y="15"/>
                  </a:cubicBezTo>
                  <a:cubicBezTo>
                    <a:pt x="74" y="14"/>
                    <a:pt x="73" y="16"/>
                    <a:pt x="72" y="17"/>
                  </a:cubicBezTo>
                  <a:cubicBezTo>
                    <a:pt x="71" y="17"/>
                    <a:pt x="70" y="14"/>
                    <a:pt x="69" y="14"/>
                  </a:cubicBezTo>
                  <a:cubicBezTo>
                    <a:pt x="68" y="14"/>
                    <a:pt x="65" y="15"/>
                    <a:pt x="65" y="14"/>
                  </a:cubicBezTo>
                  <a:cubicBezTo>
                    <a:pt x="65" y="13"/>
                    <a:pt x="65" y="11"/>
                    <a:pt x="64" y="10"/>
                  </a:cubicBezTo>
                  <a:cubicBezTo>
                    <a:pt x="63" y="9"/>
                    <a:pt x="61" y="10"/>
                    <a:pt x="60" y="9"/>
                  </a:cubicBezTo>
                  <a:cubicBezTo>
                    <a:pt x="59" y="8"/>
                    <a:pt x="58" y="6"/>
                    <a:pt x="60" y="5"/>
                  </a:cubicBezTo>
                  <a:cubicBezTo>
                    <a:pt x="61" y="5"/>
                    <a:pt x="59" y="2"/>
                    <a:pt x="58" y="2"/>
                  </a:cubicBezTo>
                  <a:cubicBezTo>
                    <a:pt x="57" y="1"/>
                    <a:pt x="54" y="2"/>
                    <a:pt x="53" y="1"/>
                  </a:cubicBezTo>
                  <a:cubicBezTo>
                    <a:pt x="50" y="0"/>
                    <a:pt x="50" y="6"/>
                    <a:pt x="47" y="2"/>
                  </a:cubicBezTo>
                  <a:cubicBezTo>
                    <a:pt x="46" y="2"/>
                    <a:pt x="44" y="3"/>
                    <a:pt x="43" y="3"/>
                  </a:cubicBezTo>
                  <a:cubicBezTo>
                    <a:pt x="41" y="4"/>
                    <a:pt x="42" y="9"/>
                    <a:pt x="41" y="9"/>
                  </a:cubicBezTo>
                  <a:cubicBezTo>
                    <a:pt x="40" y="9"/>
                    <a:pt x="39" y="7"/>
                    <a:pt x="38" y="7"/>
                  </a:cubicBezTo>
                  <a:cubicBezTo>
                    <a:pt x="38" y="7"/>
                    <a:pt x="37" y="8"/>
                    <a:pt x="36" y="8"/>
                  </a:cubicBezTo>
                  <a:cubicBezTo>
                    <a:pt x="35" y="8"/>
                    <a:pt x="34" y="7"/>
                    <a:pt x="34" y="6"/>
                  </a:cubicBezTo>
                  <a:cubicBezTo>
                    <a:pt x="34" y="5"/>
                    <a:pt x="32" y="7"/>
                    <a:pt x="31" y="7"/>
                  </a:cubicBezTo>
                  <a:cubicBezTo>
                    <a:pt x="30" y="7"/>
                    <a:pt x="30" y="6"/>
                    <a:pt x="29" y="6"/>
                  </a:cubicBezTo>
                  <a:cubicBezTo>
                    <a:pt x="28" y="6"/>
                    <a:pt x="28" y="7"/>
                    <a:pt x="28" y="8"/>
                  </a:cubicBezTo>
                  <a:cubicBezTo>
                    <a:pt x="28" y="8"/>
                    <a:pt x="21" y="5"/>
                    <a:pt x="21" y="5"/>
                  </a:cubicBezTo>
                  <a:cubicBezTo>
                    <a:pt x="18" y="4"/>
                    <a:pt x="15" y="4"/>
                    <a:pt x="12" y="4"/>
                  </a:cubicBezTo>
                  <a:cubicBezTo>
                    <a:pt x="10" y="4"/>
                    <a:pt x="9" y="6"/>
                    <a:pt x="6" y="6"/>
                  </a:cubicBezTo>
                  <a:cubicBezTo>
                    <a:pt x="6" y="9"/>
                    <a:pt x="9" y="9"/>
                    <a:pt x="9" y="11"/>
                  </a:cubicBezTo>
                  <a:cubicBezTo>
                    <a:pt x="9" y="12"/>
                    <a:pt x="10" y="13"/>
                    <a:pt x="10" y="14"/>
                  </a:cubicBezTo>
                  <a:cubicBezTo>
                    <a:pt x="9" y="15"/>
                    <a:pt x="6" y="15"/>
                    <a:pt x="5" y="16"/>
                  </a:cubicBezTo>
                  <a:cubicBezTo>
                    <a:pt x="2" y="18"/>
                    <a:pt x="3" y="20"/>
                    <a:pt x="2" y="23"/>
                  </a:cubicBezTo>
                  <a:cubicBezTo>
                    <a:pt x="2" y="25"/>
                    <a:pt x="1" y="26"/>
                    <a:pt x="0" y="27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78" name="Freeform 657">
              <a:extLst>
                <a:ext uri="{FF2B5EF4-FFF2-40B4-BE49-F238E27FC236}">
                  <a16:creationId xmlns:a16="http://schemas.microsoft.com/office/drawing/2014/main" id="{4D378DF1-0689-328D-D583-F14F1CF6711D}"/>
                </a:ext>
              </a:extLst>
            </p:cNvPr>
            <p:cNvSpPr>
              <a:spLocks/>
            </p:cNvSpPr>
            <p:nvPr/>
          </p:nvSpPr>
          <p:spPr bwMode="auto">
            <a:xfrm>
              <a:off x="6250685" y="2816280"/>
              <a:ext cx="157367" cy="68125"/>
            </a:xfrm>
            <a:custGeom>
              <a:avLst/>
              <a:gdLst>
                <a:gd name="T0" fmla="*/ 30 w 30"/>
                <a:gd name="T1" fmla="*/ 4 h 12"/>
                <a:gd name="T2" fmla="*/ 22 w 30"/>
                <a:gd name="T3" fmla="*/ 0 h 12"/>
                <a:gd name="T4" fmla="*/ 17 w 30"/>
                <a:gd name="T5" fmla="*/ 0 h 12"/>
                <a:gd name="T6" fmla="*/ 14 w 30"/>
                <a:gd name="T7" fmla="*/ 1 h 12"/>
                <a:gd name="T8" fmla="*/ 11 w 30"/>
                <a:gd name="T9" fmla="*/ 0 h 12"/>
                <a:gd name="T10" fmla="*/ 8 w 30"/>
                <a:gd name="T11" fmla="*/ 3 h 12"/>
                <a:gd name="T12" fmla="*/ 3 w 30"/>
                <a:gd name="T13" fmla="*/ 9 h 12"/>
                <a:gd name="T14" fmla="*/ 11 w 30"/>
                <a:gd name="T15" fmla="*/ 11 h 12"/>
                <a:gd name="T16" fmla="*/ 13 w 30"/>
                <a:gd name="T17" fmla="*/ 9 h 12"/>
                <a:gd name="T18" fmla="*/ 18 w 30"/>
                <a:gd name="T19" fmla="*/ 9 h 12"/>
                <a:gd name="T20" fmla="*/ 19 w 30"/>
                <a:gd name="T21" fmla="*/ 6 h 12"/>
                <a:gd name="T22" fmla="*/ 24 w 30"/>
                <a:gd name="T23" fmla="*/ 7 h 12"/>
                <a:gd name="T24" fmla="*/ 28 w 30"/>
                <a:gd name="T25" fmla="*/ 7 h 12"/>
                <a:gd name="T26" fmla="*/ 30 w 30"/>
                <a:gd name="T27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0" h="12">
                  <a:moveTo>
                    <a:pt x="30" y="4"/>
                  </a:moveTo>
                  <a:cubicBezTo>
                    <a:pt x="27" y="2"/>
                    <a:pt x="26" y="0"/>
                    <a:pt x="22" y="0"/>
                  </a:cubicBezTo>
                  <a:cubicBezTo>
                    <a:pt x="20" y="0"/>
                    <a:pt x="19" y="0"/>
                    <a:pt x="17" y="0"/>
                  </a:cubicBezTo>
                  <a:cubicBezTo>
                    <a:pt x="15" y="0"/>
                    <a:pt x="15" y="1"/>
                    <a:pt x="14" y="1"/>
                  </a:cubicBezTo>
                  <a:cubicBezTo>
                    <a:pt x="13" y="1"/>
                    <a:pt x="12" y="0"/>
                    <a:pt x="11" y="0"/>
                  </a:cubicBezTo>
                  <a:cubicBezTo>
                    <a:pt x="10" y="1"/>
                    <a:pt x="9" y="2"/>
                    <a:pt x="8" y="3"/>
                  </a:cubicBezTo>
                  <a:cubicBezTo>
                    <a:pt x="6" y="5"/>
                    <a:pt x="0" y="4"/>
                    <a:pt x="3" y="9"/>
                  </a:cubicBezTo>
                  <a:cubicBezTo>
                    <a:pt x="4" y="11"/>
                    <a:pt x="8" y="12"/>
                    <a:pt x="11" y="11"/>
                  </a:cubicBezTo>
                  <a:cubicBezTo>
                    <a:pt x="12" y="11"/>
                    <a:pt x="12" y="9"/>
                    <a:pt x="13" y="9"/>
                  </a:cubicBezTo>
                  <a:cubicBezTo>
                    <a:pt x="15" y="9"/>
                    <a:pt x="17" y="9"/>
                    <a:pt x="18" y="9"/>
                  </a:cubicBezTo>
                  <a:cubicBezTo>
                    <a:pt x="19" y="9"/>
                    <a:pt x="19" y="7"/>
                    <a:pt x="19" y="6"/>
                  </a:cubicBezTo>
                  <a:cubicBezTo>
                    <a:pt x="20" y="5"/>
                    <a:pt x="23" y="7"/>
                    <a:pt x="24" y="7"/>
                  </a:cubicBezTo>
                  <a:cubicBezTo>
                    <a:pt x="25" y="7"/>
                    <a:pt x="27" y="7"/>
                    <a:pt x="28" y="7"/>
                  </a:cubicBezTo>
                  <a:cubicBezTo>
                    <a:pt x="29" y="7"/>
                    <a:pt x="29" y="5"/>
                    <a:pt x="30" y="4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79" name="Freeform 658">
              <a:extLst>
                <a:ext uri="{FF2B5EF4-FFF2-40B4-BE49-F238E27FC236}">
                  <a16:creationId xmlns:a16="http://schemas.microsoft.com/office/drawing/2014/main" id="{FEB74F98-1187-7864-124D-2CF078396F80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4144" y="2566488"/>
              <a:ext cx="246779" cy="194915"/>
            </a:xfrm>
            <a:custGeom>
              <a:avLst/>
              <a:gdLst>
                <a:gd name="T0" fmla="*/ 11 w 47"/>
                <a:gd name="T1" fmla="*/ 29 h 35"/>
                <a:gd name="T2" fmla="*/ 18 w 47"/>
                <a:gd name="T3" fmla="*/ 30 h 35"/>
                <a:gd name="T4" fmla="*/ 23 w 47"/>
                <a:gd name="T5" fmla="*/ 33 h 35"/>
                <a:gd name="T6" fmla="*/ 25 w 47"/>
                <a:gd name="T7" fmla="*/ 31 h 35"/>
                <a:gd name="T8" fmla="*/ 29 w 47"/>
                <a:gd name="T9" fmla="*/ 32 h 35"/>
                <a:gd name="T10" fmla="*/ 33 w 47"/>
                <a:gd name="T11" fmla="*/ 32 h 35"/>
                <a:gd name="T12" fmla="*/ 36 w 47"/>
                <a:gd name="T13" fmla="*/ 33 h 35"/>
                <a:gd name="T14" fmla="*/ 38 w 47"/>
                <a:gd name="T15" fmla="*/ 28 h 35"/>
                <a:gd name="T16" fmla="*/ 42 w 47"/>
                <a:gd name="T17" fmla="*/ 27 h 35"/>
                <a:gd name="T18" fmla="*/ 40 w 47"/>
                <a:gd name="T19" fmla="*/ 22 h 35"/>
                <a:gd name="T20" fmla="*/ 44 w 47"/>
                <a:gd name="T21" fmla="*/ 21 h 35"/>
                <a:gd name="T22" fmla="*/ 45 w 47"/>
                <a:gd name="T23" fmla="*/ 17 h 35"/>
                <a:gd name="T24" fmla="*/ 42 w 47"/>
                <a:gd name="T25" fmla="*/ 15 h 35"/>
                <a:gd name="T26" fmla="*/ 39 w 47"/>
                <a:gd name="T27" fmla="*/ 11 h 35"/>
                <a:gd name="T28" fmla="*/ 38 w 47"/>
                <a:gd name="T29" fmla="*/ 6 h 35"/>
                <a:gd name="T30" fmla="*/ 35 w 47"/>
                <a:gd name="T31" fmla="*/ 2 h 35"/>
                <a:gd name="T32" fmla="*/ 33 w 47"/>
                <a:gd name="T33" fmla="*/ 2 h 35"/>
                <a:gd name="T34" fmla="*/ 30 w 47"/>
                <a:gd name="T35" fmla="*/ 1 h 35"/>
                <a:gd name="T36" fmla="*/ 28 w 47"/>
                <a:gd name="T37" fmla="*/ 2 h 35"/>
                <a:gd name="T38" fmla="*/ 25 w 47"/>
                <a:gd name="T39" fmla="*/ 0 h 35"/>
                <a:gd name="T40" fmla="*/ 22 w 47"/>
                <a:gd name="T41" fmla="*/ 2 h 35"/>
                <a:gd name="T42" fmla="*/ 17 w 47"/>
                <a:gd name="T43" fmla="*/ 3 h 35"/>
                <a:gd name="T44" fmla="*/ 17 w 47"/>
                <a:gd name="T45" fmla="*/ 6 h 35"/>
                <a:gd name="T46" fmla="*/ 13 w 47"/>
                <a:gd name="T47" fmla="*/ 9 h 35"/>
                <a:gd name="T48" fmla="*/ 12 w 47"/>
                <a:gd name="T49" fmla="*/ 13 h 35"/>
                <a:gd name="T50" fmla="*/ 8 w 47"/>
                <a:gd name="T51" fmla="*/ 14 h 35"/>
                <a:gd name="T52" fmla="*/ 1 w 47"/>
                <a:gd name="T53" fmla="*/ 16 h 35"/>
                <a:gd name="T54" fmla="*/ 2 w 47"/>
                <a:gd name="T55" fmla="*/ 24 h 35"/>
                <a:gd name="T56" fmla="*/ 1 w 47"/>
                <a:gd name="T57" fmla="*/ 27 h 35"/>
                <a:gd name="T58" fmla="*/ 1 w 47"/>
                <a:gd name="T59" fmla="*/ 31 h 35"/>
                <a:gd name="T60" fmla="*/ 5 w 47"/>
                <a:gd name="T61" fmla="*/ 30 h 35"/>
                <a:gd name="T62" fmla="*/ 11 w 47"/>
                <a:gd name="T63" fmla="*/ 2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" h="35">
                  <a:moveTo>
                    <a:pt x="11" y="29"/>
                  </a:moveTo>
                  <a:cubicBezTo>
                    <a:pt x="14" y="29"/>
                    <a:pt x="16" y="30"/>
                    <a:pt x="18" y="30"/>
                  </a:cubicBezTo>
                  <a:cubicBezTo>
                    <a:pt x="18" y="30"/>
                    <a:pt x="23" y="33"/>
                    <a:pt x="23" y="33"/>
                  </a:cubicBezTo>
                  <a:cubicBezTo>
                    <a:pt x="23" y="32"/>
                    <a:pt x="24" y="29"/>
                    <a:pt x="25" y="31"/>
                  </a:cubicBezTo>
                  <a:cubicBezTo>
                    <a:pt x="27" y="34"/>
                    <a:pt x="28" y="29"/>
                    <a:pt x="29" y="32"/>
                  </a:cubicBezTo>
                  <a:cubicBezTo>
                    <a:pt x="30" y="34"/>
                    <a:pt x="32" y="32"/>
                    <a:pt x="33" y="32"/>
                  </a:cubicBezTo>
                  <a:cubicBezTo>
                    <a:pt x="34" y="31"/>
                    <a:pt x="36" y="35"/>
                    <a:pt x="36" y="33"/>
                  </a:cubicBezTo>
                  <a:cubicBezTo>
                    <a:pt x="37" y="31"/>
                    <a:pt x="36" y="29"/>
                    <a:pt x="38" y="28"/>
                  </a:cubicBezTo>
                  <a:cubicBezTo>
                    <a:pt x="39" y="28"/>
                    <a:pt x="41" y="27"/>
                    <a:pt x="42" y="27"/>
                  </a:cubicBezTo>
                  <a:cubicBezTo>
                    <a:pt x="41" y="26"/>
                    <a:pt x="40" y="24"/>
                    <a:pt x="40" y="22"/>
                  </a:cubicBezTo>
                  <a:cubicBezTo>
                    <a:pt x="40" y="20"/>
                    <a:pt x="42" y="22"/>
                    <a:pt x="44" y="21"/>
                  </a:cubicBezTo>
                  <a:cubicBezTo>
                    <a:pt x="46" y="21"/>
                    <a:pt x="47" y="19"/>
                    <a:pt x="45" y="17"/>
                  </a:cubicBezTo>
                  <a:cubicBezTo>
                    <a:pt x="44" y="16"/>
                    <a:pt x="43" y="17"/>
                    <a:pt x="42" y="15"/>
                  </a:cubicBezTo>
                  <a:cubicBezTo>
                    <a:pt x="41" y="14"/>
                    <a:pt x="40" y="13"/>
                    <a:pt x="39" y="11"/>
                  </a:cubicBezTo>
                  <a:cubicBezTo>
                    <a:pt x="38" y="10"/>
                    <a:pt x="38" y="8"/>
                    <a:pt x="38" y="6"/>
                  </a:cubicBezTo>
                  <a:cubicBezTo>
                    <a:pt x="39" y="4"/>
                    <a:pt x="36" y="2"/>
                    <a:pt x="35" y="2"/>
                  </a:cubicBezTo>
                  <a:cubicBezTo>
                    <a:pt x="34" y="1"/>
                    <a:pt x="34" y="2"/>
                    <a:pt x="33" y="2"/>
                  </a:cubicBezTo>
                  <a:cubicBezTo>
                    <a:pt x="31" y="3"/>
                    <a:pt x="31" y="2"/>
                    <a:pt x="30" y="1"/>
                  </a:cubicBezTo>
                  <a:cubicBezTo>
                    <a:pt x="29" y="0"/>
                    <a:pt x="29" y="2"/>
                    <a:pt x="28" y="2"/>
                  </a:cubicBezTo>
                  <a:cubicBezTo>
                    <a:pt x="27" y="2"/>
                    <a:pt x="25" y="0"/>
                    <a:pt x="25" y="0"/>
                  </a:cubicBezTo>
                  <a:cubicBezTo>
                    <a:pt x="23" y="0"/>
                    <a:pt x="23" y="2"/>
                    <a:pt x="22" y="2"/>
                  </a:cubicBezTo>
                  <a:cubicBezTo>
                    <a:pt x="20" y="3"/>
                    <a:pt x="19" y="3"/>
                    <a:pt x="17" y="3"/>
                  </a:cubicBezTo>
                  <a:cubicBezTo>
                    <a:pt x="16" y="4"/>
                    <a:pt x="17" y="6"/>
                    <a:pt x="17" y="6"/>
                  </a:cubicBezTo>
                  <a:cubicBezTo>
                    <a:pt x="16" y="8"/>
                    <a:pt x="13" y="7"/>
                    <a:pt x="13" y="9"/>
                  </a:cubicBezTo>
                  <a:cubicBezTo>
                    <a:pt x="12" y="10"/>
                    <a:pt x="12" y="11"/>
                    <a:pt x="12" y="13"/>
                  </a:cubicBezTo>
                  <a:cubicBezTo>
                    <a:pt x="12" y="14"/>
                    <a:pt x="9" y="14"/>
                    <a:pt x="8" y="14"/>
                  </a:cubicBezTo>
                  <a:cubicBezTo>
                    <a:pt x="5" y="15"/>
                    <a:pt x="4" y="16"/>
                    <a:pt x="1" y="16"/>
                  </a:cubicBezTo>
                  <a:cubicBezTo>
                    <a:pt x="2" y="19"/>
                    <a:pt x="5" y="21"/>
                    <a:pt x="2" y="24"/>
                  </a:cubicBezTo>
                  <a:cubicBezTo>
                    <a:pt x="0" y="25"/>
                    <a:pt x="0" y="26"/>
                    <a:pt x="1" y="27"/>
                  </a:cubicBezTo>
                  <a:cubicBezTo>
                    <a:pt x="3" y="28"/>
                    <a:pt x="1" y="30"/>
                    <a:pt x="1" y="31"/>
                  </a:cubicBezTo>
                  <a:cubicBezTo>
                    <a:pt x="3" y="31"/>
                    <a:pt x="4" y="31"/>
                    <a:pt x="5" y="30"/>
                  </a:cubicBezTo>
                  <a:cubicBezTo>
                    <a:pt x="7" y="29"/>
                    <a:pt x="10" y="29"/>
                    <a:pt x="11" y="29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80" name="Freeform 659">
              <a:extLst>
                <a:ext uri="{FF2B5EF4-FFF2-40B4-BE49-F238E27FC236}">
                  <a16:creationId xmlns:a16="http://schemas.microsoft.com/office/drawing/2014/main" id="{46309371-F476-D810-5B07-43AEEBD8AB3B}"/>
                </a:ext>
              </a:extLst>
            </p:cNvPr>
            <p:cNvSpPr>
              <a:spLocks/>
            </p:cNvSpPr>
            <p:nvPr/>
          </p:nvSpPr>
          <p:spPr bwMode="auto">
            <a:xfrm>
              <a:off x="6366921" y="2555134"/>
              <a:ext cx="152001" cy="105974"/>
            </a:xfrm>
            <a:custGeom>
              <a:avLst/>
              <a:gdLst>
                <a:gd name="T0" fmla="*/ 16 w 29"/>
                <a:gd name="T1" fmla="*/ 18 h 19"/>
                <a:gd name="T2" fmla="*/ 23 w 29"/>
                <a:gd name="T3" fmla="*/ 15 h 19"/>
                <a:gd name="T4" fmla="*/ 23 w 29"/>
                <a:gd name="T5" fmla="*/ 12 h 19"/>
                <a:gd name="T6" fmla="*/ 27 w 29"/>
                <a:gd name="T7" fmla="*/ 9 h 19"/>
                <a:gd name="T8" fmla="*/ 26 w 29"/>
                <a:gd name="T9" fmla="*/ 4 h 19"/>
                <a:gd name="T10" fmla="*/ 19 w 29"/>
                <a:gd name="T11" fmla="*/ 1 h 19"/>
                <a:gd name="T12" fmla="*/ 10 w 29"/>
                <a:gd name="T13" fmla="*/ 1 h 19"/>
                <a:gd name="T14" fmla="*/ 0 w 29"/>
                <a:gd name="T15" fmla="*/ 4 h 19"/>
                <a:gd name="T16" fmla="*/ 1 w 29"/>
                <a:gd name="T17" fmla="*/ 6 h 19"/>
                <a:gd name="T18" fmla="*/ 2 w 29"/>
                <a:gd name="T19" fmla="*/ 9 h 19"/>
                <a:gd name="T20" fmla="*/ 5 w 29"/>
                <a:gd name="T21" fmla="*/ 10 h 19"/>
                <a:gd name="T22" fmla="*/ 9 w 29"/>
                <a:gd name="T23" fmla="*/ 11 h 19"/>
                <a:gd name="T24" fmla="*/ 8 w 29"/>
                <a:gd name="T25" fmla="*/ 15 h 19"/>
                <a:gd name="T26" fmla="*/ 12 w 29"/>
                <a:gd name="T27" fmla="*/ 18 h 19"/>
                <a:gd name="T28" fmla="*/ 16 w 29"/>
                <a:gd name="T29" fmla="*/ 18 h 19"/>
                <a:gd name="T30" fmla="*/ 16 w 29"/>
                <a:gd name="T31" fmla="*/ 1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9" h="19">
                  <a:moveTo>
                    <a:pt x="16" y="18"/>
                  </a:moveTo>
                  <a:cubicBezTo>
                    <a:pt x="18" y="16"/>
                    <a:pt x="21" y="16"/>
                    <a:pt x="23" y="15"/>
                  </a:cubicBezTo>
                  <a:cubicBezTo>
                    <a:pt x="23" y="14"/>
                    <a:pt x="23" y="13"/>
                    <a:pt x="23" y="12"/>
                  </a:cubicBezTo>
                  <a:cubicBezTo>
                    <a:pt x="24" y="10"/>
                    <a:pt x="25" y="10"/>
                    <a:pt x="27" y="9"/>
                  </a:cubicBezTo>
                  <a:cubicBezTo>
                    <a:pt x="29" y="8"/>
                    <a:pt x="28" y="5"/>
                    <a:pt x="26" y="4"/>
                  </a:cubicBezTo>
                  <a:cubicBezTo>
                    <a:pt x="24" y="3"/>
                    <a:pt x="22" y="2"/>
                    <a:pt x="19" y="1"/>
                  </a:cubicBezTo>
                  <a:cubicBezTo>
                    <a:pt x="17" y="0"/>
                    <a:pt x="13" y="1"/>
                    <a:pt x="10" y="1"/>
                  </a:cubicBezTo>
                  <a:cubicBezTo>
                    <a:pt x="8" y="1"/>
                    <a:pt x="0" y="0"/>
                    <a:pt x="0" y="4"/>
                  </a:cubicBezTo>
                  <a:cubicBezTo>
                    <a:pt x="0" y="4"/>
                    <a:pt x="1" y="5"/>
                    <a:pt x="1" y="6"/>
                  </a:cubicBezTo>
                  <a:cubicBezTo>
                    <a:pt x="2" y="7"/>
                    <a:pt x="1" y="8"/>
                    <a:pt x="2" y="9"/>
                  </a:cubicBezTo>
                  <a:cubicBezTo>
                    <a:pt x="3" y="9"/>
                    <a:pt x="4" y="11"/>
                    <a:pt x="5" y="10"/>
                  </a:cubicBezTo>
                  <a:cubicBezTo>
                    <a:pt x="7" y="10"/>
                    <a:pt x="9" y="9"/>
                    <a:pt x="9" y="11"/>
                  </a:cubicBezTo>
                  <a:cubicBezTo>
                    <a:pt x="9" y="12"/>
                    <a:pt x="9" y="14"/>
                    <a:pt x="8" y="15"/>
                  </a:cubicBezTo>
                  <a:cubicBezTo>
                    <a:pt x="11" y="15"/>
                    <a:pt x="11" y="15"/>
                    <a:pt x="12" y="18"/>
                  </a:cubicBezTo>
                  <a:cubicBezTo>
                    <a:pt x="13" y="18"/>
                    <a:pt x="16" y="18"/>
                    <a:pt x="16" y="18"/>
                  </a:cubicBezTo>
                  <a:cubicBezTo>
                    <a:pt x="17" y="17"/>
                    <a:pt x="15" y="19"/>
                    <a:pt x="16" y="18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81" name="Freeform 660">
              <a:extLst>
                <a:ext uri="{FF2B5EF4-FFF2-40B4-BE49-F238E27FC236}">
                  <a16:creationId xmlns:a16="http://schemas.microsoft.com/office/drawing/2014/main" id="{BC32934E-3D7E-042A-147A-B4920B0A3E81}"/>
                </a:ext>
              </a:extLst>
            </p:cNvPr>
            <p:cNvSpPr>
              <a:spLocks/>
            </p:cNvSpPr>
            <p:nvPr/>
          </p:nvSpPr>
          <p:spPr bwMode="auto">
            <a:xfrm>
              <a:off x="6366921" y="2488902"/>
              <a:ext cx="187768" cy="100297"/>
            </a:xfrm>
            <a:custGeom>
              <a:avLst/>
              <a:gdLst>
                <a:gd name="T0" fmla="*/ 11 w 36"/>
                <a:gd name="T1" fmla="*/ 13 h 18"/>
                <a:gd name="T2" fmla="*/ 19 w 36"/>
                <a:gd name="T3" fmla="*/ 12 h 18"/>
                <a:gd name="T4" fmla="*/ 25 w 36"/>
                <a:gd name="T5" fmla="*/ 15 h 18"/>
                <a:gd name="T6" fmla="*/ 29 w 36"/>
                <a:gd name="T7" fmla="*/ 17 h 18"/>
                <a:gd name="T8" fmla="*/ 33 w 36"/>
                <a:gd name="T9" fmla="*/ 16 h 18"/>
                <a:gd name="T10" fmla="*/ 36 w 36"/>
                <a:gd name="T11" fmla="*/ 14 h 18"/>
                <a:gd name="T12" fmla="*/ 34 w 36"/>
                <a:gd name="T13" fmla="*/ 8 h 18"/>
                <a:gd name="T14" fmla="*/ 31 w 36"/>
                <a:gd name="T15" fmla="*/ 4 h 18"/>
                <a:gd name="T16" fmla="*/ 25 w 36"/>
                <a:gd name="T17" fmla="*/ 3 h 18"/>
                <a:gd name="T18" fmla="*/ 18 w 36"/>
                <a:gd name="T19" fmla="*/ 1 h 18"/>
                <a:gd name="T20" fmla="*/ 17 w 36"/>
                <a:gd name="T21" fmla="*/ 5 h 18"/>
                <a:gd name="T22" fmla="*/ 15 w 36"/>
                <a:gd name="T23" fmla="*/ 7 h 18"/>
                <a:gd name="T24" fmla="*/ 8 w 36"/>
                <a:gd name="T25" fmla="*/ 4 h 18"/>
                <a:gd name="T26" fmla="*/ 0 w 36"/>
                <a:gd name="T27" fmla="*/ 15 h 18"/>
                <a:gd name="T28" fmla="*/ 11 w 36"/>
                <a:gd name="T29" fmla="*/ 1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6" h="18">
                  <a:moveTo>
                    <a:pt x="11" y="13"/>
                  </a:moveTo>
                  <a:cubicBezTo>
                    <a:pt x="14" y="13"/>
                    <a:pt x="16" y="12"/>
                    <a:pt x="19" y="12"/>
                  </a:cubicBezTo>
                  <a:cubicBezTo>
                    <a:pt x="20" y="12"/>
                    <a:pt x="24" y="14"/>
                    <a:pt x="25" y="15"/>
                  </a:cubicBezTo>
                  <a:cubicBezTo>
                    <a:pt x="26" y="16"/>
                    <a:pt x="27" y="18"/>
                    <a:pt x="29" y="17"/>
                  </a:cubicBezTo>
                  <a:cubicBezTo>
                    <a:pt x="30" y="17"/>
                    <a:pt x="31" y="16"/>
                    <a:pt x="33" y="16"/>
                  </a:cubicBezTo>
                  <a:cubicBezTo>
                    <a:pt x="34" y="16"/>
                    <a:pt x="34" y="14"/>
                    <a:pt x="36" y="14"/>
                  </a:cubicBezTo>
                  <a:cubicBezTo>
                    <a:pt x="35" y="12"/>
                    <a:pt x="33" y="9"/>
                    <a:pt x="34" y="8"/>
                  </a:cubicBezTo>
                  <a:cubicBezTo>
                    <a:pt x="35" y="6"/>
                    <a:pt x="32" y="4"/>
                    <a:pt x="31" y="4"/>
                  </a:cubicBezTo>
                  <a:cubicBezTo>
                    <a:pt x="29" y="3"/>
                    <a:pt x="27" y="5"/>
                    <a:pt x="25" y="3"/>
                  </a:cubicBezTo>
                  <a:cubicBezTo>
                    <a:pt x="22" y="1"/>
                    <a:pt x="21" y="0"/>
                    <a:pt x="18" y="1"/>
                  </a:cubicBezTo>
                  <a:cubicBezTo>
                    <a:pt x="16" y="2"/>
                    <a:pt x="17" y="3"/>
                    <a:pt x="17" y="5"/>
                  </a:cubicBezTo>
                  <a:cubicBezTo>
                    <a:pt x="16" y="6"/>
                    <a:pt x="16" y="7"/>
                    <a:pt x="15" y="7"/>
                  </a:cubicBezTo>
                  <a:cubicBezTo>
                    <a:pt x="12" y="9"/>
                    <a:pt x="10" y="5"/>
                    <a:pt x="8" y="4"/>
                  </a:cubicBezTo>
                  <a:cubicBezTo>
                    <a:pt x="3" y="0"/>
                    <a:pt x="0" y="11"/>
                    <a:pt x="0" y="15"/>
                  </a:cubicBezTo>
                  <a:cubicBezTo>
                    <a:pt x="4" y="13"/>
                    <a:pt x="7" y="13"/>
                    <a:pt x="11" y="13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82" name="Freeform 661">
              <a:extLst>
                <a:ext uri="{FF2B5EF4-FFF2-40B4-BE49-F238E27FC236}">
                  <a16:creationId xmlns:a16="http://schemas.microsoft.com/office/drawing/2014/main" id="{00B45C57-753E-5B25-79CA-AC83E862146C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4144" y="2428347"/>
              <a:ext cx="125179" cy="83263"/>
            </a:xfrm>
            <a:custGeom>
              <a:avLst/>
              <a:gdLst>
                <a:gd name="T0" fmla="*/ 16 w 24"/>
                <a:gd name="T1" fmla="*/ 15 h 15"/>
                <a:gd name="T2" fmla="*/ 20 w 24"/>
                <a:gd name="T3" fmla="*/ 15 h 15"/>
                <a:gd name="T4" fmla="*/ 22 w 24"/>
                <a:gd name="T5" fmla="*/ 13 h 15"/>
                <a:gd name="T6" fmla="*/ 22 w 24"/>
                <a:gd name="T7" fmla="*/ 10 h 15"/>
                <a:gd name="T8" fmla="*/ 21 w 24"/>
                <a:gd name="T9" fmla="*/ 5 h 15"/>
                <a:gd name="T10" fmla="*/ 24 w 24"/>
                <a:gd name="T11" fmla="*/ 0 h 15"/>
                <a:gd name="T12" fmla="*/ 12 w 24"/>
                <a:gd name="T13" fmla="*/ 0 h 15"/>
                <a:gd name="T14" fmla="*/ 6 w 24"/>
                <a:gd name="T15" fmla="*/ 1 h 15"/>
                <a:gd name="T16" fmla="*/ 0 w 24"/>
                <a:gd name="T17" fmla="*/ 5 h 15"/>
                <a:gd name="T18" fmla="*/ 2 w 24"/>
                <a:gd name="T19" fmla="*/ 6 h 15"/>
                <a:gd name="T20" fmla="*/ 2 w 24"/>
                <a:gd name="T21" fmla="*/ 8 h 15"/>
                <a:gd name="T22" fmla="*/ 7 w 24"/>
                <a:gd name="T23" fmla="*/ 9 h 15"/>
                <a:gd name="T24" fmla="*/ 6 w 24"/>
                <a:gd name="T25" fmla="*/ 13 h 15"/>
                <a:gd name="T26" fmla="*/ 11 w 24"/>
                <a:gd name="T27" fmla="*/ 12 h 15"/>
                <a:gd name="T28" fmla="*/ 16 w 24"/>
                <a:gd name="T2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4" h="15">
                  <a:moveTo>
                    <a:pt x="16" y="15"/>
                  </a:moveTo>
                  <a:cubicBezTo>
                    <a:pt x="17" y="15"/>
                    <a:pt x="19" y="15"/>
                    <a:pt x="20" y="15"/>
                  </a:cubicBezTo>
                  <a:cubicBezTo>
                    <a:pt x="20" y="14"/>
                    <a:pt x="22" y="14"/>
                    <a:pt x="22" y="13"/>
                  </a:cubicBezTo>
                  <a:cubicBezTo>
                    <a:pt x="22" y="12"/>
                    <a:pt x="22" y="11"/>
                    <a:pt x="22" y="10"/>
                  </a:cubicBezTo>
                  <a:cubicBezTo>
                    <a:pt x="21" y="8"/>
                    <a:pt x="20" y="7"/>
                    <a:pt x="21" y="5"/>
                  </a:cubicBezTo>
                  <a:cubicBezTo>
                    <a:pt x="23" y="4"/>
                    <a:pt x="24" y="2"/>
                    <a:pt x="24" y="0"/>
                  </a:cubicBezTo>
                  <a:cubicBezTo>
                    <a:pt x="22" y="3"/>
                    <a:pt x="15" y="0"/>
                    <a:pt x="12" y="0"/>
                  </a:cubicBezTo>
                  <a:cubicBezTo>
                    <a:pt x="10" y="0"/>
                    <a:pt x="8" y="0"/>
                    <a:pt x="6" y="1"/>
                  </a:cubicBezTo>
                  <a:cubicBezTo>
                    <a:pt x="5" y="1"/>
                    <a:pt x="0" y="5"/>
                    <a:pt x="0" y="5"/>
                  </a:cubicBezTo>
                  <a:cubicBezTo>
                    <a:pt x="0" y="6"/>
                    <a:pt x="3" y="5"/>
                    <a:pt x="2" y="6"/>
                  </a:cubicBezTo>
                  <a:cubicBezTo>
                    <a:pt x="2" y="7"/>
                    <a:pt x="2" y="7"/>
                    <a:pt x="2" y="8"/>
                  </a:cubicBezTo>
                  <a:cubicBezTo>
                    <a:pt x="3" y="10"/>
                    <a:pt x="7" y="9"/>
                    <a:pt x="7" y="9"/>
                  </a:cubicBezTo>
                  <a:cubicBezTo>
                    <a:pt x="7" y="10"/>
                    <a:pt x="6" y="12"/>
                    <a:pt x="6" y="13"/>
                  </a:cubicBezTo>
                  <a:cubicBezTo>
                    <a:pt x="7" y="12"/>
                    <a:pt x="9" y="11"/>
                    <a:pt x="11" y="12"/>
                  </a:cubicBezTo>
                  <a:cubicBezTo>
                    <a:pt x="13" y="13"/>
                    <a:pt x="14" y="15"/>
                    <a:pt x="16" y="15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83" name="Freeform 662">
              <a:extLst>
                <a:ext uri="{FF2B5EF4-FFF2-40B4-BE49-F238E27FC236}">
                  <a16:creationId xmlns:a16="http://schemas.microsoft.com/office/drawing/2014/main" id="{16234D12-9262-AA1E-37CD-0DC913ACF81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9369" y="2600552"/>
              <a:ext cx="84048" cy="43525"/>
            </a:xfrm>
            <a:custGeom>
              <a:avLst/>
              <a:gdLst>
                <a:gd name="T0" fmla="*/ 16 w 16"/>
                <a:gd name="T1" fmla="*/ 4 h 8"/>
                <a:gd name="T2" fmla="*/ 12 w 16"/>
                <a:gd name="T3" fmla="*/ 2 h 8"/>
                <a:gd name="T4" fmla="*/ 8 w 16"/>
                <a:gd name="T5" fmla="*/ 0 h 8"/>
                <a:gd name="T6" fmla="*/ 7 w 16"/>
                <a:gd name="T7" fmla="*/ 3 h 8"/>
                <a:gd name="T8" fmla="*/ 5 w 16"/>
                <a:gd name="T9" fmla="*/ 2 h 8"/>
                <a:gd name="T10" fmla="*/ 2 w 16"/>
                <a:gd name="T11" fmla="*/ 3 h 8"/>
                <a:gd name="T12" fmla="*/ 0 w 16"/>
                <a:gd name="T13" fmla="*/ 5 h 8"/>
                <a:gd name="T14" fmla="*/ 0 w 16"/>
                <a:gd name="T15" fmla="*/ 6 h 8"/>
                <a:gd name="T16" fmla="*/ 2 w 16"/>
                <a:gd name="T17" fmla="*/ 6 h 8"/>
                <a:gd name="T18" fmla="*/ 8 w 16"/>
                <a:gd name="T19" fmla="*/ 7 h 8"/>
                <a:gd name="T20" fmla="*/ 16 w 16"/>
                <a:gd name="T21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" h="8">
                  <a:moveTo>
                    <a:pt x="16" y="4"/>
                  </a:moveTo>
                  <a:cubicBezTo>
                    <a:pt x="16" y="1"/>
                    <a:pt x="14" y="2"/>
                    <a:pt x="12" y="2"/>
                  </a:cubicBezTo>
                  <a:cubicBezTo>
                    <a:pt x="11" y="3"/>
                    <a:pt x="10" y="1"/>
                    <a:pt x="8" y="0"/>
                  </a:cubicBezTo>
                  <a:cubicBezTo>
                    <a:pt x="8" y="1"/>
                    <a:pt x="8" y="2"/>
                    <a:pt x="7" y="3"/>
                  </a:cubicBezTo>
                  <a:cubicBezTo>
                    <a:pt x="6" y="3"/>
                    <a:pt x="7" y="1"/>
                    <a:pt x="5" y="2"/>
                  </a:cubicBezTo>
                  <a:cubicBezTo>
                    <a:pt x="4" y="2"/>
                    <a:pt x="2" y="2"/>
                    <a:pt x="2" y="3"/>
                  </a:cubicBezTo>
                  <a:cubicBezTo>
                    <a:pt x="1" y="5"/>
                    <a:pt x="2" y="6"/>
                    <a:pt x="0" y="5"/>
                  </a:cubicBezTo>
                  <a:cubicBezTo>
                    <a:pt x="0" y="5"/>
                    <a:pt x="0" y="5"/>
                    <a:pt x="0" y="6"/>
                  </a:cubicBezTo>
                  <a:cubicBezTo>
                    <a:pt x="0" y="6"/>
                    <a:pt x="1" y="6"/>
                    <a:pt x="2" y="6"/>
                  </a:cubicBezTo>
                  <a:cubicBezTo>
                    <a:pt x="4" y="7"/>
                    <a:pt x="6" y="7"/>
                    <a:pt x="8" y="7"/>
                  </a:cubicBezTo>
                  <a:cubicBezTo>
                    <a:pt x="10" y="7"/>
                    <a:pt x="16" y="8"/>
                    <a:pt x="16" y="4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84" name="Freeform 663">
              <a:extLst>
                <a:ext uri="{FF2B5EF4-FFF2-40B4-BE49-F238E27FC236}">
                  <a16:creationId xmlns:a16="http://schemas.microsoft.com/office/drawing/2014/main" id="{A136590C-E179-7008-1109-01D74ED0612F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824" y="2611904"/>
              <a:ext cx="250355" cy="232761"/>
            </a:xfrm>
            <a:custGeom>
              <a:avLst/>
              <a:gdLst>
                <a:gd name="T0" fmla="*/ 1 w 48"/>
                <a:gd name="T1" fmla="*/ 12 h 42"/>
                <a:gd name="T2" fmla="*/ 0 w 48"/>
                <a:gd name="T3" fmla="*/ 16 h 42"/>
                <a:gd name="T4" fmla="*/ 2 w 48"/>
                <a:gd name="T5" fmla="*/ 20 h 42"/>
                <a:gd name="T6" fmla="*/ 4 w 48"/>
                <a:gd name="T7" fmla="*/ 27 h 42"/>
                <a:gd name="T8" fmla="*/ 9 w 48"/>
                <a:gd name="T9" fmla="*/ 31 h 42"/>
                <a:gd name="T10" fmla="*/ 10 w 48"/>
                <a:gd name="T11" fmla="*/ 33 h 42"/>
                <a:gd name="T12" fmla="*/ 13 w 48"/>
                <a:gd name="T13" fmla="*/ 32 h 42"/>
                <a:gd name="T14" fmla="*/ 21 w 48"/>
                <a:gd name="T15" fmla="*/ 36 h 42"/>
                <a:gd name="T16" fmla="*/ 25 w 48"/>
                <a:gd name="T17" fmla="*/ 37 h 42"/>
                <a:gd name="T18" fmla="*/ 33 w 48"/>
                <a:gd name="T19" fmla="*/ 37 h 42"/>
                <a:gd name="T20" fmla="*/ 39 w 48"/>
                <a:gd name="T21" fmla="*/ 41 h 42"/>
                <a:gd name="T22" fmla="*/ 41 w 48"/>
                <a:gd name="T23" fmla="*/ 35 h 42"/>
                <a:gd name="T24" fmla="*/ 44 w 48"/>
                <a:gd name="T25" fmla="*/ 32 h 42"/>
                <a:gd name="T26" fmla="*/ 48 w 48"/>
                <a:gd name="T27" fmla="*/ 31 h 42"/>
                <a:gd name="T28" fmla="*/ 45 w 48"/>
                <a:gd name="T29" fmla="*/ 26 h 42"/>
                <a:gd name="T30" fmla="*/ 44 w 48"/>
                <a:gd name="T31" fmla="*/ 19 h 42"/>
                <a:gd name="T32" fmla="*/ 46 w 48"/>
                <a:gd name="T33" fmla="*/ 12 h 42"/>
                <a:gd name="T34" fmla="*/ 44 w 48"/>
                <a:gd name="T35" fmla="*/ 7 h 42"/>
                <a:gd name="T36" fmla="*/ 42 w 48"/>
                <a:gd name="T37" fmla="*/ 5 h 42"/>
                <a:gd name="T38" fmla="*/ 25 w 48"/>
                <a:gd name="T39" fmla="*/ 4 h 42"/>
                <a:gd name="T40" fmla="*/ 20 w 48"/>
                <a:gd name="T41" fmla="*/ 2 h 42"/>
                <a:gd name="T42" fmla="*/ 13 w 48"/>
                <a:gd name="T43" fmla="*/ 4 h 42"/>
                <a:gd name="T44" fmla="*/ 6 w 48"/>
                <a:gd name="T45" fmla="*/ 6 h 42"/>
                <a:gd name="T46" fmla="*/ 2 w 48"/>
                <a:gd name="T47" fmla="*/ 7 h 42"/>
                <a:gd name="T48" fmla="*/ 1 w 48"/>
                <a:gd name="T49" fmla="*/ 9 h 42"/>
                <a:gd name="T50" fmla="*/ 1 w 48"/>
                <a:gd name="T51" fmla="*/ 12 h 42"/>
                <a:gd name="T52" fmla="*/ 1 w 48"/>
                <a:gd name="T53" fmla="*/ 1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8" h="42">
                  <a:moveTo>
                    <a:pt x="1" y="12"/>
                  </a:moveTo>
                  <a:cubicBezTo>
                    <a:pt x="1" y="13"/>
                    <a:pt x="0" y="15"/>
                    <a:pt x="0" y="16"/>
                  </a:cubicBezTo>
                  <a:cubicBezTo>
                    <a:pt x="1" y="17"/>
                    <a:pt x="2" y="19"/>
                    <a:pt x="2" y="20"/>
                  </a:cubicBezTo>
                  <a:cubicBezTo>
                    <a:pt x="2" y="22"/>
                    <a:pt x="3" y="25"/>
                    <a:pt x="4" y="27"/>
                  </a:cubicBezTo>
                  <a:cubicBezTo>
                    <a:pt x="5" y="30"/>
                    <a:pt x="8" y="29"/>
                    <a:pt x="9" y="31"/>
                  </a:cubicBezTo>
                  <a:cubicBezTo>
                    <a:pt x="9" y="31"/>
                    <a:pt x="9" y="33"/>
                    <a:pt x="10" y="33"/>
                  </a:cubicBezTo>
                  <a:cubicBezTo>
                    <a:pt x="11" y="34"/>
                    <a:pt x="12" y="32"/>
                    <a:pt x="13" y="32"/>
                  </a:cubicBezTo>
                  <a:cubicBezTo>
                    <a:pt x="15" y="31"/>
                    <a:pt x="19" y="35"/>
                    <a:pt x="21" y="36"/>
                  </a:cubicBezTo>
                  <a:cubicBezTo>
                    <a:pt x="22" y="37"/>
                    <a:pt x="23" y="39"/>
                    <a:pt x="25" y="37"/>
                  </a:cubicBezTo>
                  <a:cubicBezTo>
                    <a:pt x="26" y="36"/>
                    <a:pt x="31" y="37"/>
                    <a:pt x="33" y="37"/>
                  </a:cubicBezTo>
                  <a:cubicBezTo>
                    <a:pt x="36" y="37"/>
                    <a:pt x="37" y="39"/>
                    <a:pt x="39" y="41"/>
                  </a:cubicBezTo>
                  <a:cubicBezTo>
                    <a:pt x="40" y="42"/>
                    <a:pt x="40" y="36"/>
                    <a:pt x="41" y="35"/>
                  </a:cubicBezTo>
                  <a:cubicBezTo>
                    <a:pt x="42" y="34"/>
                    <a:pt x="43" y="33"/>
                    <a:pt x="44" y="32"/>
                  </a:cubicBezTo>
                  <a:cubicBezTo>
                    <a:pt x="45" y="32"/>
                    <a:pt x="48" y="32"/>
                    <a:pt x="48" y="31"/>
                  </a:cubicBezTo>
                  <a:cubicBezTo>
                    <a:pt x="47" y="28"/>
                    <a:pt x="47" y="27"/>
                    <a:pt x="45" y="26"/>
                  </a:cubicBezTo>
                  <a:cubicBezTo>
                    <a:pt x="43" y="24"/>
                    <a:pt x="46" y="21"/>
                    <a:pt x="44" y="19"/>
                  </a:cubicBezTo>
                  <a:cubicBezTo>
                    <a:pt x="42" y="18"/>
                    <a:pt x="47" y="14"/>
                    <a:pt x="46" y="12"/>
                  </a:cubicBezTo>
                  <a:cubicBezTo>
                    <a:pt x="45" y="10"/>
                    <a:pt x="44" y="9"/>
                    <a:pt x="44" y="7"/>
                  </a:cubicBezTo>
                  <a:cubicBezTo>
                    <a:pt x="44" y="6"/>
                    <a:pt x="44" y="5"/>
                    <a:pt x="42" y="5"/>
                  </a:cubicBezTo>
                  <a:cubicBezTo>
                    <a:pt x="37" y="3"/>
                    <a:pt x="30" y="6"/>
                    <a:pt x="25" y="4"/>
                  </a:cubicBezTo>
                  <a:cubicBezTo>
                    <a:pt x="25" y="7"/>
                    <a:pt x="21" y="2"/>
                    <a:pt x="20" y="2"/>
                  </a:cubicBezTo>
                  <a:cubicBezTo>
                    <a:pt x="17" y="0"/>
                    <a:pt x="15" y="2"/>
                    <a:pt x="13" y="4"/>
                  </a:cubicBezTo>
                  <a:cubicBezTo>
                    <a:pt x="10" y="5"/>
                    <a:pt x="8" y="6"/>
                    <a:pt x="6" y="6"/>
                  </a:cubicBezTo>
                  <a:cubicBezTo>
                    <a:pt x="5" y="7"/>
                    <a:pt x="3" y="7"/>
                    <a:pt x="2" y="7"/>
                  </a:cubicBezTo>
                  <a:cubicBezTo>
                    <a:pt x="1" y="8"/>
                    <a:pt x="3" y="9"/>
                    <a:pt x="1" y="9"/>
                  </a:cubicBezTo>
                  <a:cubicBezTo>
                    <a:pt x="1" y="10"/>
                    <a:pt x="1" y="11"/>
                    <a:pt x="1" y="12"/>
                  </a:cubicBezTo>
                  <a:cubicBezTo>
                    <a:pt x="1" y="14"/>
                    <a:pt x="1" y="12"/>
                    <a:pt x="1" y="12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85" name="Freeform 664">
              <a:extLst>
                <a:ext uri="{FF2B5EF4-FFF2-40B4-BE49-F238E27FC236}">
                  <a16:creationId xmlns:a16="http://schemas.microsoft.com/office/drawing/2014/main" id="{09D9D892-BCA2-50CA-0E41-2F5F0744C177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0825" y="2856021"/>
              <a:ext cx="241415" cy="166529"/>
            </a:xfrm>
            <a:custGeom>
              <a:avLst/>
              <a:gdLst>
                <a:gd name="T0" fmla="*/ 38 w 46"/>
                <a:gd name="T1" fmla="*/ 13 h 30"/>
                <a:gd name="T2" fmla="*/ 35 w 46"/>
                <a:gd name="T3" fmla="*/ 6 h 30"/>
                <a:gd name="T4" fmla="*/ 32 w 46"/>
                <a:gd name="T5" fmla="*/ 0 h 30"/>
                <a:gd name="T6" fmla="*/ 22 w 46"/>
                <a:gd name="T7" fmla="*/ 4 h 30"/>
                <a:gd name="T8" fmla="*/ 18 w 46"/>
                <a:gd name="T9" fmla="*/ 3 h 30"/>
                <a:gd name="T10" fmla="*/ 12 w 46"/>
                <a:gd name="T11" fmla="*/ 3 h 30"/>
                <a:gd name="T12" fmla="*/ 8 w 46"/>
                <a:gd name="T13" fmla="*/ 6 h 30"/>
                <a:gd name="T14" fmla="*/ 4 w 46"/>
                <a:gd name="T15" fmla="*/ 14 h 30"/>
                <a:gd name="T16" fmla="*/ 0 w 46"/>
                <a:gd name="T17" fmla="*/ 15 h 30"/>
                <a:gd name="T18" fmla="*/ 3 w 46"/>
                <a:gd name="T19" fmla="*/ 18 h 30"/>
                <a:gd name="T20" fmla="*/ 5 w 46"/>
                <a:gd name="T21" fmla="*/ 22 h 30"/>
                <a:gd name="T22" fmla="*/ 8 w 46"/>
                <a:gd name="T23" fmla="*/ 24 h 30"/>
                <a:gd name="T24" fmla="*/ 11 w 46"/>
                <a:gd name="T25" fmla="*/ 25 h 30"/>
                <a:gd name="T26" fmla="*/ 11 w 46"/>
                <a:gd name="T27" fmla="*/ 28 h 30"/>
                <a:gd name="T28" fmla="*/ 21 w 46"/>
                <a:gd name="T29" fmla="*/ 30 h 30"/>
                <a:gd name="T30" fmla="*/ 28 w 46"/>
                <a:gd name="T31" fmla="*/ 28 h 30"/>
                <a:gd name="T32" fmla="*/ 40 w 46"/>
                <a:gd name="T33" fmla="*/ 30 h 30"/>
                <a:gd name="T34" fmla="*/ 41 w 46"/>
                <a:gd name="T35" fmla="*/ 23 h 30"/>
                <a:gd name="T36" fmla="*/ 46 w 46"/>
                <a:gd name="T37" fmla="*/ 20 h 30"/>
                <a:gd name="T38" fmla="*/ 39 w 46"/>
                <a:gd name="T39" fmla="*/ 20 h 30"/>
                <a:gd name="T40" fmla="*/ 38 w 46"/>
                <a:gd name="T41" fmla="*/ 13 h 30"/>
                <a:gd name="T42" fmla="*/ 38 w 46"/>
                <a:gd name="T43" fmla="*/ 13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6" h="30">
                  <a:moveTo>
                    <a:pt x="38" y="13"/>
                  </a:moveTo>
                  <a:cubicBezTo>
                    <a:pt x="39" y="10"/>
                    <a:pt x="36" y="8"/>
                    <a:pt x="35" y="6"/>
                  </a:cubicBezTo>
                  <a:cubicBezTo>
                    <a:pt x="33" y="5"/>
                    <a:pt x="32" y="2"/>
                    <a:pt x="32" y="0"/>
                  </a:cubicBezTo>
                  <a:cubicBezTo>
                    <a:pt x="29" y="1"/>
                    <a:pt x="26" y="4"/>
                    <a:pt x="22" y="4"/>
                  </a:cubicBezTo>
                  <a:cubicBezTo>
                    <a:pt x="21" y="4"/>
                    <a:pt x="19" y="3"/>
                    <a:pt x="18" y="3"/>
                  </a:cubicBezTo>
                  <a:cubicBezTo>
                    <a:pt x="16" y="3"/>
                    <a:pt x="14" y="3"/>
                    <a:pt x="12" y="3"/>
                  </a:cubicBezTo>
                  <a:cubicBezTo>
                    <a:pt x="12" y="3"/>
                    <a:pt x="9" y="6"/>
                    <a:pt x="8" y="6"/>
                  </a:cubicBezTo>
                  <a:cubicBezTo>
                    <a:pt x="7" y="9"/>
                    <a:pt x="5" y="11"/>
                    <a:pt x="4" y="14"/>
                  </a:cubicBezTo>
                  <a:cubicBezTo>
                    <a:pt x="3" y="14"/>
                    <a:pt x="1" y="14"/>
                    <a:pt x="0" y="15"/>
                  </a:cubicBezTo>
                  <a:cubicBezTo>
                    <a:pt x="0" y="16"/>
                    <a:pt x="3" y="17"/>
                    <a:pt x="3" y="18"/>
                  </a:cubicBezTo>
                  <a:cubicBezTo>
                    <a:pt x="3" y="20"/>
                    <a:pt x="4" y="20"/>
                    <a:pt x="5" y="22"/>
                  </a:cubicBezTo>
                  <a:cubicBezTo>
                    <a:pt x="5" y="24"/>
                    <a:pt x="6" y="24"/>
                    <a:pt x="8" y="24"/>
                  </a:cubicBezTo>
                  <a:cubicBezTo>
                    <a:pt x="9" y="24"/>
                    <a:pt x="11" y="24"/>
                    <a:pt x="11" y="25"/>
                  </a:cubicBezTo>
                  <a:cubicBezTo>
                    <a:pt x="11" y="26"/>
                    <a:pt x="11" y="27"/>
                    <a:pt x="11" y="28"/>
                  </a:cubicBezTo>
                  <a:cubicBezTo>
                    <a:pt x="13" y="30"/>
                    <a:pt x="18" y="30"/>
                    <a:pt x="21" y="30"/>
                  </a:cubicBezTo>
                  <a:cubicBezTo>
                    <a:pt x="24" y="30"/>
                    <a:pt x="26" y="30"/>
                    <a:pt x="28" y="28"/>
                  </a:cubicBezTo>
                  <a:cubicBezTo>
                    <a:pt x="32" y="26"/>
                    <a:pt x="36" y="28"/>
                    <a:pt x="40" y="30"/>
                  </a:cubicBezTo>
                  <a:cubicBezTo>
                    <a:pt x="40" y="28"/>
                    <a:pt x="40" y="25"/>
                    <a:pt x="41" y="23"/>
                  </a:cubicBezTo>
                  <a:cubicBezTo>
                    <a:pt x="42" y="22"/>
                    <a:pt x="45" y="24"/>
                    <a:pt x="46" y="20"/>
                  </a:cubicBezTo>
                  <a:cubicBezTo>
                    <a:pt x="43" y="18"/>
                    <a:pt x="42" y="20"/>
                    <a:pt x="39" y="20"/>
                  </a:cubicBezTo>
                  <a:cubicBezTo>
                    <a:pt x="37" y="19"/>
                    <a:pt x="37" y="14"/>
                    <a:pt x="38" y="13"/>
                  </a:cubicBezTo>
                  <a:cubicBezTo>
                    <a:pt x="39" y="11"/>
                    <a:pt x="37" y="15"/>
                    <a:pt x="38" y="13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86" name="Freeform 665">
              <a:extLst>
                <a:ext uri="{FF2B5EF4-FFF2-40B4-BE49-F238E27FC236}">
                  <a16:creationId xmlns:a16="http://schemas.microsoft.com/office/drawing/2014/main" id="{BD716BC9-3F69-85DD-8383-541D3F78C23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8922" y="2850344"/>
              <a:ext cx="87624" cy="111652"/>
            </a:xfrm>
            <a:custGeom>
              <a:avLst/>
              <a:gdLst>
                <a:gd name="T0" fmla="*/ 14 w 17"/>
                <a:gd name="T1" fmla="*/ 10 h 20"/>
                <a:gd name="T2" fmla="*/ 9 w 17"/>
                <a:gd name="T3" fmla="*/ 3 h 20"/>
                <a:gd name="T4" fmla="*/ 0 w 17"/>
                <a:gd name="T5" fmla="*/ 1 h 20"/>
                <a:gd name="T6" fmla="*/ 5 w 17"/>
                <a:gd name="T7" fmla="*/ 10 h 20"/>
                <a:gd name="T8" fmla="*/ 7 w 17"/>
                <a:gd name="T9" fmla="*/ 20 h 20"/>
                <a:gd name="T10" fmla="*/ 10 w 17"/>
                <a:gd name="T11" fmla="*/ 14 h 20"/>
                <a:gd name="T12" fmla="*/ 14 w 17"/>
                <a:gd name="T13" fmla="*/ 14 h 20"/>
                <a:gd name="T14" fmla="*/ 14 w 17"/>
                <a:gd name="T15" fmla="*/ 10 h 20"/>
                <a:gd name="T16" fmla="*/ 14 w 17"/>
                <a:gd name="T17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20">
                  <a:moveTo>
                    <a:pt x="14" y="10"/>
                  </a:moveTo>
                  <a:cubicBezTo>
                    <a:pt x="12" y="8"/>
                    <a:pt x="11" y="4"/>
                    <a:pt x="9" y="3"/>
                  </a:cubicBezTo>
                  <a:cubicBezTo>
                    <a:pt x="8" y="3"/>
                    <a:pt x="0" y="0"/>
                    <a:pt x="0" y="1"/>
                  </a:cubicBezTo>
                  <a:cubicBezTo>
                    <a:pt x="1" y="5"/>
                    <a:pt x="3" y="7"/>
                    <a:pt x="5" y="10"/>
                  </a:cubicBezTo>
                  <a:cubicBezTo>
                    <a:pt x="7" y="13"/>
                    <a:pt x="4" y="17"/>
                    <a:pt x="7" y="20"/>
                  </a:cubicBezTo>
                  <a:cubicBezTo>
                    <a:pt x="8" y="19"/>
                    <a:pt x="9" y="16"/>
                    <a:pt x="10" y="14"/>
                  </a:cubicBezTo>
                  <a:cubicBezTo>
                    <a:pt x="12" y="13"/>
                    <a:pt x="13" y="14"/>
                    <a:pt x="14" y="14"/>
                  </a:cubicBezTo>
                  <a:cubicBezTo>
                    <a:pt x="17" y="14"/>
                    <a:pt x="14" y="10"/>
                    <a:pt x="14" y="10"/>
                  </a:cubicBezTo>
                  <a:cubicBezTo>
                    <a:pt x="13" y="9"/>
                    <a:pt x="14" y="10"/>
                    <a:pt x="14" y="10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87" name="Freeform 666">
              <a:extLst>
                <a:ext uri="{FF2B5EF4-FFF2-40B4-BE49-F238E27FC236}">
                  <a16:creationId xmlns:a16="http://schemas.microsoft.com/office/drawing/2014/main" id="{57ACA3F1-A798-546E-9977-DDB79C19675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4687" y="2910898"/>
              <a:ext cx="51859" cy="56771"/>
            </a:xfrm>
            <a:custGeom>
              <a:avLst/>
              <a:gdLst>
                <a:gd name="T0" fmla="*/ 7 w 10"/>
                <a:gd name="T1" fmla="*/ 9 h 10"/>
                <a:gd name="T2" fmla="*/ 7 w 10"/>
                <a:gd name="T3" fmla="*/ 7 h 10"/>
                <a:gd name="T4" fmla="*/ 10 w 10"/>
                <a:gd name="T5" fmla="*/ 4 h 10"/>
                <a:gd name="T6" fmla="*/ 8 w 10"/>
                <a:gd name="T7" fmla="*/ 1 h 10"/>
                <a:gd name="T8" fmla="*/ 3 w 10"/>
                <a:gd name="T9" fmla="*/ 4 h 10"/>
                <a:gd name="T10" fmla="*/ 0 w 10"/>
                <a:gd name="T11" fmla="*/ 9 h 10"/>
                <a:gd name="T12" fmla="*/ 3 w 10"/>
                <a:gd name="T13" fmla="*/ 9 h 10"/>
                <a:gd name="T14" fmla="*/ 7 w 10"/>
                <a:gd name="T15" fmla="*/ 10 h 10"/>
                <a:gd name="T16" fmla="*/ 7 w 10"/>
                <a:gd name="T17" fmla="*/ 9 h 10"/>
                <a:gd name="T18" fmla="*/ 7 w 10"/>
                <a:gd name="T19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10">
                  <a:moveTo>
                    <a:pt x="7" y="9"/>
                  </a:moveTo>
                  <a:cubicBezTo>
                    <a:pt x="6" y="8"/>
                    <a:pt x="6" y="8"/>
                    <a:pt x="7" y="7"/>
                  </a:cubicBezTo>
                  <a:cubicBezTo>
                    <a:pt x="8" y="6"/>
                    <a:pt x="9" y="5"/>
                    <a:pt x="10" y="4"/>
                  </a:cubicBezTo>
                  <a:cubicBezTo>
                    <a:pt x="10" y="4"/>
                    <a:pt x="8" y="2"/>
                    <a:pt x="8" y="1"/>
                  </a:cubicBezTo>
                  <a:cubicBezTo>
                    <a:pt x="8" y="5"/>
                    <a:pt x="3" y="0"/>
                    <a:pt x="3" y="4"/>
                  </a:cubicBezTo>
                  <a:cubicBezTo>
                    <a:pt x="3" y="6"/>
                    <a:pt x="1" y="8"/>
                    <a:pt x="0" y="9"/>
                  </a:cubicBezTo>
                  <a:cubicBezTo>
                    <a:pt x="0" y="10"/>
                    <a:pt x="2" y="9"/>
                    <a:pt x="3" y="9"/>
                  </a:cubicBezTo>
                  <a:cubicBezTo>
                    <a:pt x="5" y="9"/>
                    <a:pt x="6" y="9"/>
                    <a:pt x="7" y="10"/>
                  </a:cubicBezTo>
                  <a:cubicBezTo>
                    <a:pt x="7" y="10"/>
                    <a:pt x="7" y="9"/>
                    <a:pt x="7" y="9"/>
                  </a:cubicBezTo>
                  <a:cubicBezTo>
                    <a:pt x="6" y="8"/>
                    <a:pt x="7" y="9"/>
                    <a:pt x="7" y="9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88" name="Freeform 667">
              <a:extLst>
                <a:ext uri="{FF2B5EF4-FFF2-40B4-BE49-F238E27FC236}">
                  <a16:creationId xmlns:a16="http://schemas.microsoft.com/office/drawing/2014/main" id="{F9064155-83DB-6892-9668-549CBBA65A62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7322" y="2999840"/>
              <a:ext cx="168096" cy="105974"/>
            </a:xfrm>
            <a:custGeom>
              <a:avLst/>
              <a:gdLst>
                <a:gd name="T0" fmla="*/ 17 w 32"/>
                <a:gd name="T1" fmla="*/ 4 h 19"/>
                <a:gd name="T2" fmla="*/ 2 w 32"/>
                <a:gd name="T3" fmla="*/ 0 h 19"/>
                <a:gd name="T4" fmla="*/ 2 w 32"/>
                <a:gd name="T5" fmla="*/ 5 h 19"/>
                <a:gd name="T6" fmla="*/ 3 w 32"/>
                <a:gd name="T7" fmla="*/ 8 h 19"/>
                <a:gd name="T8" fmla="*/ 1 w 32"/>
                <a:gd name="T9" fmla="*/ 11 h 19"/>
                <a:gd name="T10" fmla="*/ 3 w 32"/>
                <a:gd name="T11" fmla="*/ 17 h 19"/>
                <a:gd name="T12" fmla="*/ 9 w 32"/>
                <a:gd name="T13" fmla="*/ 17 h 19"/>
                <a:gd name="T14" fmla="*/ 16 w 32"/>
                <a:gd name="T15" fmla="*/ 18 h 19"/>
                <a:gd name="T16" fmla="*/ 21 w 32"/>
                <a:gd name="T17" fmla="*/ 15 h 19"/>
                <a:gd name="T18" fmla="*/ 28 w 32"/>
                <a:gd name="T19" fmla="*/ 14 h 19"/>
                <a:gd name="T20" fmla="*/ 28 w 32"/>
                <a:gd name="T21" fmla="*/ 8 h 19"/>
                <a:gd name="T22" fmla="*/ 29 w 32"/>
                <a:gd name="T23" fmla="*/ 3 h 19"/>
                <a:gd name="T24" fmla="*/ 21 w 32"/>
                <a:gd name="T25" fmla="*/ 2 h 19"/>
                <a:gd name="T26" fmla="*/ 17 w 32"/>
                <a:gd name="T27" fmla="*/ 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" h="19">
                  <a:moveTo>
                    <a:pt x="17" y="4"/>
                  </a:moveTo>
                  <a:cubicBezTo>
                    <a:pt x="13" y="4"/>
                    <a:pt x="3" y="6"/>
                    <a:pt x="2" y="0"/>
                  </a:cubicBezTo>
                  <a:cubicBezTo>
                    <a:pt x="1" y="2"/>
                    <a:pt x="0" y="4"/>
                    <a:pt x="2" y="5"/>
                  </a:cubicBezTo>
                  <a:cubicBezTo>
                    <a:pt x="3" y="6"/>
                    <a:pt x="4" y="7"/>
                    <a:pt x="3" y="8"/>
                  </a:cubicBezTo>
                  <a:cubicBezTo>
                    <a:pt x="2" y="9"/>
                    <a:pt x="1" y="9"/>
                    <a:pt x="1" y="11"/>
                  </a:cubicBezTo>
                  <a:cubicBezTo>
                    <a:pt x="2" y="13"/>
                    <a:pt x="3" y="14"/>
                    <a:pt x="3" y="17"/>
                  </a:cubicBezTo>
                  <a:cubicBezTo>
                    <a:pt x="5" y="17"/>
                    <a:pt x="7" y="17"/>
                    <a:pt x="9" y="17"/>
                  </a:cubicBezTo>
                  <a:cubicBezTo>
                    <a:pt x="11" y="17"/>
                    <a:pt x="14" y="19"/>
                    <a:pt x="16" y="18"/>
                  </a:cubicBezTo>
                  <a:cubicBezTo>
                    <a:pt x="18" y="18"/>
                    <a:pt x="20" y="16"/>
                    <a:pt x="21" y="15"/>
                  </a:cubicBezTo>
                  <a:cubicBezTo>
                    <a:pt x="23" y="13"/>
                    <a:pt x="25" y="14"/>
                    <a:pt x="28" y="14"/>
                  </a:cubicBezTo>
                  <a:cubicBezTo>
                    <a:pt x="27" y="12"/>
                    <a:pt x="27" y="11"/>
                    <a:pt x="28" y="8"/>
                  </a:cubicBezTo>
                  <a:cubicBezTo>
                    <a:pt x="29" y="6"/>
                    <a:pt x="32" y="4"/>
                    <a:pt x="29" y="3"/>
                  </a:cubicBezTo>
                  <a:cubicBezTo>
                    <a:pt x="27" y="2"/>
                    <a:pt x="24" y="1"/>
                    <a:pt x="21" y="2"/>
                  </a:cubicBezTo>
                  <a:cubicBezTo>
                    <a:pt x="19" y="2"/>
                    <a:pt x="18" y="4"/>
                    <a:pt x="17" y="4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89" name="Freeform 668">
              <a:extLst>
                <a:ext uri="{FF2B5EF4-FFF2-40B4-BE49-F238E27FC236}">
                  <a16:creationId xmlns:a16="http://schemas.microsoft.com/office/drawing/2014/main" id="{6F823FE0-3322-D086-A401-5FDB9D6A90DE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4590" y="2973347"/>
              <a:ext cx="94778" cy="83263"/>
            </a:xfrm>
            <a:custGeom>
              <a:avLst/>
              <a:gdLst>
                <a:gd name="T0" fmla="*/ 10 w 18"/>
                <a:gd name="T1" fmla="*/ 0 h 15"/>
                <a:gd name="T2" fmla="*/ 1 w 18"/>
                <a:gd name="T3" fmla="*/ 2 h 15"/>
                <a:gd name="T4" fmla="*/ 4 w 18"/>
                <a:gd name="T5" fmla="*/ 8 h 15"/>
                <a:gd name="T6" fmla="*/ 13 w 18"/>
                <a:gd name="T7" fmla="*/ 15 h 15"/>
                <a:gd name="T8" fmla="*/ 15 w 18"/>
                <a:gd name="T9" fmla="*/ 10 h 15"/>
                <a:gd name="T10" fmla="*/ 17 w 18"/>
                <a:gd name="T11" fmla="*/ 6 h 15"/>
                <a:gd name="T12" fmla="*/ 16 w 18"/>
                <a:gd name="T13" fmla="*/ 2 h 15"/>
                <a:gd name="T14" fmla="*/ 10 w 18"/>
                <a:gd name="T1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5">
                  <a:moveTo>
                    <a:pt x="10" y="0"/>
                  </a:moveTo>
                  <a:cubicBezTo>
                    <a:pt x="8" y="0"/>
                    <a:pt x="0" y="0"/>
                    <a:pt x="1" y="2"/>
                  </a:cubicBezTo>
                  <a:cubicBezTo>
                    <a:pt x="1" y="3"/>
                    <a:pt x="3" y="7"/>
                    <a:pt x="4" y="8"/>
                  </a:cubicBezTo>
                  <a:cubicBezTo>
                    <a:pt x="6" y="11"/>
                    <a:pt x="10" y="13"/>
                    <a:pt x="13" y="15"/>
                  </a:cubicBezTo>
                  <a:cubicBezTo>
                    <a:pt x="13" y="13"/>
                    <a:pt x="13" y="11"/>
                    <a:pt x="15" y="10"/>
                  </a:cubicBezTo>
                  <a:cubicBezTo>
                    <a:pt x="17" y="9"/>
                    <a:pt x="18" y="8"/>
                    <a:pt x="17" y="6"/>
                  </a:cubicBezTo>
                  <a:cubicBezTo>
                    <a:pt x="17" y="4"/>
                    <a:pt x="17" y="3"/>
                    <a:pt x="16" y="2"/>
                  </a:cubicBezTo>
                  <a:cubicBezTo>
                    <a:pt x="14" y="1"/>
                    <a:pt x="12" y="0"/>
                    <a:pt x="10" y="0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90" name="Freeform 669">
              <a:extLst>
                <a:ext uri="{FF2B5EF4-FFF2-40B4-BE49-F238E27FC236}">
                  <a16:creationId xmlns:a16="http://schemas.microsoft.com/office/drawing/2014/main" id="{F485E11C-5F0D-6E12-914F-BE0037DE16CF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2543" y="2933607"/>
              <a:ext cx="116236" cy="149496"/>
            </a:xfrm>
            <a:custGeom>
              <a:avLst/>
              <a:gdLst>
                <a:gd name="T0" fmla="*/ 21 w 22"/>
                <a:gd name="T1" fmla="*/ 19 h 27"/>
                <a:gd name="T2" fmla="*/ 20 w 22"/>
                <a:gd name="T3" fmla="*/ 17 h 27"/>
                <a:gd name="T4" fmla="*/ 19 w 22"/>
                <a:gd name="T5" fmla="*/ 13 h 27"/>
                <a:gd name="T6" fmla="*/ 15 w 22"/>
                <a:gd name="T7" fmla="*/ 10 h 27"/>
                <a:gd name="T8" fmla="*/ 14 w 22"/>
                <a:gd name="T9" fmla="*/ 8 h 27"/>
                <a:gd name="T10" fmla="*/ 12 w 22"/>
                <a:gd name="T11" fmla="*/ 5 h 27"/>
                <a:gd name="T12" fmla="*/ 5 w 22"/>
                <a:gd name="T13" fmla="*/ 1 h 27"/>
                <a:gd name="T14" fmla="*/ 2 w 22"/>
                <a:gd name="T15" fmla="*/ 4 h 27"/>
                <a:gd name="T16" fmla="*/ 4 w 22"/>
                <a:gd name="T17" fmla="*/ 14 h 27"/>
                <a:gd name="T18" fmla="*/ 1 w 22"/>
                <a:gd name="T19" fmla="*/ 19 h 27"/>
                <a:gd name="T20" fmla="*/ 0 w 22"/>
                <a:gd name="T21" fmla="*/ 23 h 27"/>
                <a:gd name="T22" fmla="*/ 4 w 22"/>
                <a:gd name="T23" fmla="*/ 27 h 27"/>
                <a:gd name="T24" fmla="*/ 6 w 22"/>
                <a:gd name="T25" fmla="*/ 23 h 27"/>
                <a:gd name="T26" fmla="*/ 10 w 22"/>
                <a:gd name="T27" fmla="*/ 26 h 27"/>
                <a:gd name="T28" fmla="*/ 20 w 22"/>
                <a:gd name="T29" fmla="*/ 24 h 27"/>
                <a:gd name="T30" fmla="*/ 21 w 22"/>
                <a:gd name="T31" fmla="*/ 19 h 27"/>
                <a:gd name="T32" fmla="*/ 21 w 22"/>
                <a:gd name="T33" fmla="*/ 19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27">
                  <a:moveTo>
                    <a:pt x="21" y="19"/>
                  </a:moveTo>
                  <a:cubicBezTo>
                    <a:pt x="22" y="18"/>
                    <a:pt x="21" y="18"/>
                    <a:pt x="20" y="17"/>
                  </a:cubicBezTo>
                  <a:cubicBezTo>
                    <a:pt x="19" y="16"/>
                    <a:pt x="19" y="15"/>
                    <a:pt x="19" y="13"/>
                  </a:cubicBezTo>
                  <a:cubicBezTo>
                    <a:pt x="21" y="10"/>
                    <a:pt x="18" y="10"/>
                    <a:pt x="15" y="10"/>
                  </a:cubicBezTo>
                  <a:cubicBezTo>
                    <a:pt x="14" y="10"/>
                    <a:pt x="14" y="9"/>
                    <a:pt x="14" y="8"/>
                  </a:cubicBezTo>
                  <a:cubicBezTo>
                    <a:pt x="13" y="6"/>
                    <a:pt x="12" y="7"/>
                    <a:pt x="12" y="5"/>
                  </a:cubicBezTo>
                  <a:cubicBezTo>
                    <a:pt x="11" y="2"/>
                    <a:pt x="9" y="0"/>
                    <a:pt x="5" y="1"/>
                  </a:cubicBezTo>
                  <a:cubicBezTo>
                    <a:pt x="2" y="2"/>
                    <a:pt x="2" y="2"/>
                    <a:pt x="2" y="4"/>
                  </a:cubicBezTo>
                  <a:cubicBezTo>
                    <a:pt x="3" y="7"/>
                    <a:pt x="4" y="10"/>
                    <a:pt x="4" y="14"/>
                  </a:cubicBezTo>
                  <a:cubicBezTo>
                    <a:pt x="5" y="17"/>
                    <a:pt x="2" y="16"/>
                    <a:pt x="1" y="19"/>
                  </a:cubicBezTo>
                  <a:cubicBezTo>
                    <a:pt x="0" y="20"/>
                    <a:pt x="0" y="22"/>
                    <a:pt x="0" y="23"/>
                  </a:cubicBezTo>
                  <a:cubicBezTo>
                    <a:pt x="0" y="25"/>
                    <a:pt x="3" y="26"/>
                    <a:pt x="4" y="27"/>
                  </a:cubicBezTo>
                  <a:cubicBezTo>
                    <a:pt x="4" y="26"/>
                    <a:pt x="4" y="23"/>
                    <a:pt x="6" y="23"/>
                  </a:cubicBezTo>
                  <a:cubicBezTo>
                    <a:pt x="8" y="23"/>
                    <a:pt x="9" y="24"/>
                    <a:pt x="10" y="26"/>
                  </a:cubicBezTo>
                  <a:cubicBezTo>
                    <a:pt x="11" y="26"/>
                    <a:pt x="18" y="24"/>
                    <a:pt x="20" y="24"/>
                  </a:cubicBezTo>
                  <a:cubicBezTo>
                    <a:pt x="18" y="22"/>
                    <a:pt x="20" y="21"/>
                    <a:pt x="21" y="19"/>
                  </a:cubicBezTo>
                  <a:cubicBezTo>
                    <a:pt x="22" y="18"/>
                    <a:pt x="20" y="20"/>
                    <a:pt x="21" y="19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91" name="Freeform 670">
              <a:extLst>
                <a:ext uri="{FF2B5EF4-FFF2-40B4-BE49-F238E27FC236}">
                  <a16:creationId xmlns:a16="http://schemas.microsoft.com/office/drawing/2014/main" id="{07F2B5A7-48D6-91AC-036A-6D96F9C3973B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9955" y="2844667"/>
              <a:ext cx="184192" cy="105974"/>
            </a:xfrm>
            <a:custGeom>
              <a:avLst/>
              <a:gdLst>
                <a:gd name="T0" fmla="*/ 30 w 35"/>
                <a:gd name="T1" fmla="*/ 3 h 19"/>
                <a:gd name="T2" fmla="*/ 24 w 35"/>
                <a:gd name="T3" fmla="*/ 1 h 19"/>
                <a:gd name="T4" fmla="*/ 19 w 35"/>
                <a:gd name="T5" fmla="*/ 4 h 19"/>
                <a:gd name="T6" fmla="*/ 15 w 35"/>
                <a:gd name="T7" fmla="*/ 4 h 19"/>
                <a:gd name="T8" fmla="*/ 13 w 35"/>
                <a:gd name="T9" fmla="*/ 6 h 19"/>
                <a:gd name="T10" fmla="*/ 5 w 35"/>
                <a:gd name="T11" fmla="*/ 4 h 19"/>
                <a:gd name="T12" fmla="*/ 5 w 35"/>
                <a:gd name="T13" fmla="*/ 7 h 19"/>
                <a:gd name="T14" fmla="*/ 3 w 35"/>
                <a:gd name="T15" fmla="*/ 8 h 19"/>
                <a:gd name="T16" fmla="*/ 3 w 35"/>
                <a:gd name="T17" fmla="*/ 15 h 19"/>
                <a:gd name="T18" fmla="*/ 11 w 35"/>
                <a:gd name="T19" fmla="*/ 19 h 19"/>
                <a:gd name="T20" fmla="*/ 21 w 35"/>
                <a:gd name="T21" fmla="*/ 17 h 19"/>
                <a:gd name="T22" fmla="*/ 25 w 35"/>
                <a:gd name="T23" fmla="*/ 15 h 19"/>
                <a:gd name="T24" fmla="*/ 29 w 35"/>
                <a:gd name="T25" fmla="*/ 9 h 19"/>
                <a:gd name="T26" fmla="*/ 33 w 35"/>
                <a:gd name="T27" fmla="*/ 6 h 19"/>
                <a:gd name="T28" fmla="*/ 30 w 35"/>
                <a:gd name="T29" fmla="*/ 3 h 19"/>
                <a:gd name="T30" fmla="*/ 30 w 35"/>
                <a:gd name="T31" fmla="*/ 3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5" h="19">
                  <a:moveTo>
                    <a:pt x="30" y="3"/>
                  </a:moveTo>
                  <a:cubicBezTo>
                    <a:pt x="30" y="2"/>
                    <a:pt x="25" y="2"/>
                    <a:pt x="24" y="1"/>
                  </a:cubicBezTo>
                  <a:cubicBezTo>
                    <a:pt x="20" y="0"/>
                    <a:pt x="22" y="4"/>
                    <a:pt x="19" y="4"/>
                  </a:cubicBezTo>
                  <a:cubicBezTo>
                    <a:pt x="18" y="3"/>
                    <a:pt x="17" y="4"/>
                    <a:pt x="15" y="4"/>
                  </a:cubicBezTo>
                  <a:cubicBezTo>
                    <a:pt x="14" y="4"/>
                    <a:pt x="14" y="6"/>
                    <a:pt x="13" y="6"/>
                  </a:cubicBezTo>
                  <a:cubicBezTo>
                    <a:pt x="9" y="8"/>
                    <a:pt x="7" y="6"/>
                    <a:pt x="5" y="4"/>
                  </a:cubicBezTo>
                  <a:cubicBezTo>
                    <a:pt x="5" y="5"/>
                    <a:pt x="5" y="6"/>
                    <a:pt x="5" y="7"/>
                  </a:cubicBezTo>
                  <a:cubicBezTo>
                    <a:pt x="4" y="8"/>
                    <a:pt x="3" y="6"/>
                    <a:pt x="3" y="8"/>
                  </a:cubicBezTo>
                  <a:cubicBezTo>
                    <a:pt x="3" y="11"/>
                    <a:pt x="0" y="13"/>
                    <a:pt x="3" y="15"/>
                  </a:cubicBezTo>
                  <a:cubicBezTo>
                    <a:pt x="5" y="17"/>
                    <a:pt x="8" y="19"/>
                    <a:pt x="11" y="19"/>
                  </a:cubicBezTo>
                  <a:cubicBezTo>
                    <a:pt x="15" y="19"/>
                    <a:pt x="17" y="16"/>
                    <a:pt x="21" y="17"/>
                  </a:cubicBezTo>
                  <a:cubicBezTo>
                    <a:pt x="21" y="16"/>
                    <a:pt x="24" y="16"/>
                    <a:pt x="25" y="15"/>
                  </a:cubicBezTo>
                  <a:cubicBezTo>
                    <a:pt x="26" y="13"/>
                    <a:pt x="27" y="11"/>
                    <a:pt x="29" y="9"/>
                  </a:cubicBezTo>
                  <a:cubicBezTo>
                    <a:pt x="30" y="7"/>
                    <a:pt x="31" y="7"/>
                    <a:pt x="33" y="6"/>
                  </a:cubicBezTo>
                  <a:cubicBezTo>
                    <a:pt x="35" y="4"/>
                    <a:pt x="30" y="4"/>
                    <a:pt x="30" y="3"/>
                  </a:cubicBezTo>
                  <a:cubicBezTo>
                    <a:pt x="30" y="3"/>
                    <a:pt x="30" y="4"/>
                    <a:pt x="30" y="3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92" name="Freeform 671">
              <a:extLst>
                <a:ext uri="{FF2B5EF4-FFF2-40B4-BE49-F238E27FC236}">
                  <a16:creationId xmlns:a16="http://schemas.microsoft.com/office/drawing/2014/main" id="{E3548C40-14F7-8568-2502-8DBD2047A9D2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5460" y="3083105"/>
              <a:ext cx="162732" cy="177883"/>
            </a:xfrm>
            <a:custGeom>
              <a:avLst/>
              <a:gdLst>
                <a:gd name="T0" fmla="*/ 31 w 31"/>
                <a:gd name="T1" fmla="*/ 0 h 32"/>
                <a:gd name="T2" fmla="*/ 23 w 31"/>
                <a:gd name="T3" fmla="*/ 3 h 32"/>
                <a:gd name="T4" fmla="*/ 13 w 31"/>
                <a:gd name="T5" fmla="*/ 2 h 32"/>
                <a:gd name="T6" fmla="*/ 9 w 31"/>
                <a:gd name="T7" fmla="*/ 4 h 32"/>
                <a:gd name="T8" fmla="*/ 6 w 31"/>
                <a:gd name="T9" fmla="*/ 5 h 32"/>
                <a:gd name="T10" fmla="*/ 4 w 31"/>
                <a:gd name="T11" fmla="*/ 8 h 32"/>
                <a:gd name="T12" fmla="*/ 2 w 31"/>
                <a:gd name="T13" fmla="*/ 11 h 32"/>
                <a:gd name="T14" fmla="*/ 2 w 31"/>
                <a:gd name="T15" fmla="*/ 15 h 32"/>
                <a:gd name="T16" fmla="*/ 4 w 31"/>
                <a:gd name="T17" fmla="*/ 17 h 32"/>
                <a:gd name="T18" fmla="*/ 5 w 31"/>
                <a:gd name="T19" fmla="*/ 22 h 32"/>
                <a:gd name="T20" fmla="*/ 6 w 31"/>
                <a:gd name="T21" fmla="*/ 25 h 32"/>
                <a:gd name="T22" fmla="*/ 7 w 31"/>
                <a:gd name="T23" fmla="*/ 28 h 32"/>
                <a:gd name="T24" fmla="*/ 8 w 31"/>
                <a:gd name="T25" fmla="*/ 29 h 32"/>
                <a:gd name="T26" fmla="*/ 10 w 31"/>
                <a:gd name="T27" fmla="*/ 31 h 32"/>
                <a:gd name="T28" fmla="*/ 12 w 31"/>
                <a:gd name="T29" fmla="*/ 30 h 32"/>
                <a:gd name="T30" fmla="*/ 13 w 31"/>
                <a:gd name="T31" fmla="*/ 31 h 32"/>
                <a:gd name="T32" fmla="*/ 13 w 31"/>
                <a:gd name="T33" fmla="*/ 26 h 32"/>
                <a:gd name="T34" fmla="*/ 17 w 31"/>
                <a:gd name="T35" fmla="*/ 26 h 32"/>
                <a:gd name="T36" fmla="*/ 14 w 31"/>
                <a:gd name="T37" fmla="*/ 23 h 32"/>
                <a:gd name="T38" fmla="*/ 17 w 31"/>
                <a:gd name="T39" fmla="*/ 24 h 32"/>
                <a:gd name="T40" fmla="*/ 18 w 31"/>
                <a:gd name="T41" fmla="*/ 22 h 32"/>
                <a:gd name="T42" fmla="*/ 21 w 31"/>
                <a:gd name="T43" fmla="*/ 23 h 32"/>
                <a:gd name="T44" fmla="*/ 19 w 31"/>
                <a:gd name="T45" fmla="*/ 19 h 32"/>
                <a:gd name="T46" fmla="*/ 15 w 31"/>
                <a:gd name="T47" fmla="*/ 17 h 32"/>
                <a:gd name="T48" fmla="*/ 15 w 31"/>
                <a:gd name="T49" fmla="*/ 16 h 32"/>
                <a:gd name="T50" fmla="*/ 11 w 31"/>
                <a:gd name="T51" fmla="*/ 10 h 32"/>
                <a:gd name="T52" fmla="*/ 16 w 31"/>
                <a:gd name="T53" fmla="*/ 11 h 32"/>
                <a:gd name="T54" fmla="*/ 16 w 31"/>
                <a:gd name="T55" fmla="*/ 10 h 32"/>
                <a:gd name="T56" fmla="*/ 18 w 31"/>
                <a:gd name="T57" fmla="*/ 11 h 32"/>
                <a:gd name="T58" fmla="*/ 17 w 31"/>
                <a:gd name="T59" fmla="*/ 9 h 32"/>
                <a:gd name="T60" fmla="*/ 21 w 31"/>
                <a:gd name="T61" fmla="*/ 10 h 32"/>
                <a:gd name="T62" fmla="*/ 17 w 31"/>
                <a:gd name="T63" fmla="*/ 7 h 32"/>
                <a:gd name="T64" fmla="*/ 22 w 31"/>
                <a:gd name="T65" fmla="*/ 5 h 32"/>
                <a:gd name="T66" fmla="*/ 21 w 31"/>
                <a:gd name="T67" fmla="*/ 7 h 32"/>
                <a:gd name="T68" fmla="*/ 25 w 31"/>
                <a:gd name="T69" fmla="*/ 5 h 32"/>
                <a:gd name="T70" fmla="*/ 29 w 31"/>
                <a:gd name="T71" fmla="*/ 7 h 32"/>
                <a:gd name="T72" fmla="*/ 31 w 31"/>
                <a:gd name="T73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1" h="32">
                  <a:moveTo>
                    <a:pt x="31" y="0"/>
                  </a:moveTo>
                  <a:cubicBezTo>
                    <a:pt x="28" y="2"/>
                    <a:pt x="27" y="4"/>
                    <a:pt x="23" y="3"/>
                  </a:cubicBezTo>
                  <a:cubicBezTo>
                    <a:pt x="21" y="2"/>
                    <a:pt x="15" y="1"/>
                    <a:pt x="13" y="2"/>
                  </a:cubicBezTo>
                  <a:cubicBezTo>
                    <a:pt x="13" y="5"/>
                    <a:pt x="10" y="3"/>
                    <a:pt x="9" y="4"/>
                  </a:cubicBezTo>
                  <a:cubicBezTo>
                    <a:pt x="8" y="5"/>
                    <a:pt x="7" y="5"/>
                    <a:pt x="6" y="5"/>
                  </a:cubicBezTo>
                  <a:cubicBezTo>
                    <a:pt x="4" y="6"/>
                    <a:pt x="4" y="7"/>
                    <a:pt x="4" y="8"/>
                  </a:cubicBezTo>
                  <a:cubicBezTo>
                    <a:pt x="3" y="9"/>
                    <a:pt x="3" y="10"/>
                    <a:pt x="2" y="11"/>
                  </a:cubicBezTo>
                  <a:cubicBezTo>
                    <a:pt x="0" y="13"/>
                    <a:pt x="0" y="13"/>
                    <a:pt x="2" y="15"/>
                  </a:cubicBezTo>
                  <a:cubicBezTo>
                    <a:pt x="3" y="16"/>
                    <a:pt x="4" y="16"/>
                    <a:pt x="4" y="17"/>
                  </a:cubicBezTo>
                  <a:cubicBezTo>
                    <a:pt x="4" y="19"/>
                    <a:pt x="4" y="20"/>
                    <a:pt x="5" y="22"/>
                  </a:cubicBezTo>
                  <a:cubicBezTo>
                    <a:pt x="5" y="23"/>
                    <a:pt x="5" y="24"/>
                    <a:pt x="6" y="25"/>
                  </a:cubicBezTo>
                  <a:cubicBezTo>
                    <a:pt x="8" y="26"/>
                    <a:pt x="6" y="27"/>
                    <a:pt x="7" y="28"/>
                  </a:cubicBezTo>
                  <a:cubicBezTo>
                    <a:pt x="7" y="30"/>
                    <a:pt x="8" y="29"/>
                    <a:pt x="8" y="29"/>
                  </a:cubicBezTo>
                  <a:cubicBezTo>
                    <a:pt x="10" y="29"/>
                    <a:pt x="10" y="30"/>
                    <a:pt x="10" y="31"/>
                  </a:cubicBezTo>
                  <a:cubicBezTo>
                    <a:pt x="11" y="31"/>
                    <a:pt x="12" y="30"/>
                    <a:pt x="12" y="30"/>
                  </a:cubicBezTo>
                  <a:cubicBezTo>
                    <a:pt x="13" y="29"/>
                    <a:pt x="13" y="31"/>
                    <a:pt x="13" y="31"/>
                  </a:cubicBezTo>
                  <a:cubicBezTo>
                    <a:pt x="14" y="32"/>
                    <a:pt x="13" y="25"/>
                    <a:pt x="13" y="26"/>
                  </a:cubicBezTo>
                  <a:cubicBezTo>
                    <a:pt x="13" y="25"/>
                    <a:pt x="16" y="26"/>
                    <a:pt x="17" y="26"/>
                  </a:cubicBezTo>
                  <a:cubicBezTo>
                    <a:pt x="17" y="25"/>
                    <a:pt x="14" y="24"/>
                    <a:pt x="14" y="23"/>
                  </a:cubicBezTo>
                  <a:cubicBezTo>
                    <a:pt x="15" y="21"/>
                    <a:pt x="17" y="23"/>
                    <a:pt x="17" y="24"/>
                  </a:cubicBezTo>
                  <a:cubicBezTo>
                    <a:pt x="19" y="25"/>
                    <a:pt x="18" y="23"/>
                    <a:pt x="18" y="22"/>
                  </a:cubicBezTo>
                  <a:cubicBezTo>
                    <a:pt x="18" y="21"/>
                    <a:pt x="21" y="23"/>
                    <a:pt x="21" y="23"/>
                  </a:cubicBezTo>
                  <a:cubicBezTo>
                    <a:pt x="21" y="22"/>
                    <a:pt x="19" y="19"/>
                    <a:pt x="19" y="19"/>
                  </a:cubicBezTo>
                  <a:cubicBezTo>
                    <a:pt x="18" y="18"/>
                    <a:pt x="16" y="18"/>
                    <a:pt x="15" y="17"/>
                  </a:cubicBezTo>
                  <a:cubicBezTo>
                    <a:pt x="15" y="17"/>
                    <a:pt x="15" y="15"/>
                    <a:pt x="15" y="16"/>
                  </a:cubicBezTo>
                  <a:cubicBezTo>
                    <a:pt x="14" y="14"/>
                    <a:pt x="11" y="12"/>
                    <a:pt x="11" y="10"/>
                  </a:cubicBezTo>
                  <a:cubicBezTo>
                    <a:pt x="12" y="6"/>
                    <a:pt x="15" y="10"/>
                    <a:pt x="16" y="11"/>
                  </a:cubicBezTo>
                  <a:cubicBezTo>
                    <a:pt x="16" y="11"/>
                    <a:pt x="16" y="10"/>
                    <a:pt x="16" y="10"/>
                  </a:cubicBezTo>
                  <a:cubicBezTo>
                    <a:pt x="17" y="9"/>
                    <a:pt x="18" y="10"/>
                    <a:pt x="18" y="11"/>
                  </a:cubicBezTo>
                  <a:cubicBezTo>
                    <a:pt x="18" y="11"/>
                    <a:pt x="17" y="9"/>
                    <a:pt x="17" y="9"/>
                  </a:cubicBezTo>
                  <a:cubicBezTo>
                    <a:pt x="18" y="9"/>
                    <a:pt x="20" y="10"/>
                    <a:pt x="21" y="10"/>
                  </a:cubicBezTo>
                  <a:cubicBezTo>
                    <a:pt x="21" y="9"/>
                    <a:pt x="17" y="9"/>
                    <a:pt x="17" y="7"/>
                  </a:cubicBezTo>
                  <a:cubicBezTo>
                    <a:pt x="17" y="7"/>
                    <a:pt x="21" y="5"/>
                    <a:pt x="22" y="5"/>
                  </a:cubicBezTo>
                  <a:cubicBezTo>
                    <a:pt x="22" y="5"/>
                    <a:pt x="21" y="7"/>
                    <a:pt x="21" y="7"/>
                  </a:cubicBezTo>
                  <a:cubicBezTo>
                    <a:pt x="21" y="7"/>
                    <a:pt x="24" y="5"/>
                    <a:pt x="25" y="5"/>
                  </a:cubicBezTo>
                  <a:cubicBezTo>
                    <a:pt x="26" y="5"/>
                    <a:pt x="27" y="6"/>
                    <a:pt x="29" y="7"/>
                  </a:cubicBezTo>
                  <a:cubicBezTo>
                    <a:pt x="30" y="5"/>
                    <a:pt x="31" y="2"/>
                    <a:pt x="31" y="0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93" name="Freeform 672">
              <a:extLst>
                <a:ext uri="{FF2B5EF4-FFF2-40B4-BE49-F238E27FC236}">
                  <a16:creationId xmlns:a16="http://schemas.microsoft.com/office/drawing/2014/main" id="{A8E6A813-F083-38DA-477F-DA2FA5DBF4B9}"/>
                </a:ext>
              </a:extLst>
            </p:cNvPr>
            <p:cNvSpPr>
              <a:spLocks/>
            </p:cNvSpPr>
            <p:nvPr/>
          </p:nvSpPr>
          <p:spPr bwMode="auto">
            <a:xfrm>
              <a:off x="6492099" y="3073641"/>
              <a:ext cx="78683" cy="54878"/>
            </a:xfrm>
            <a:custGeom>
              <a:avLst/>
              <a:gdLst>
                <a:gd name="T0" fmla="*/ 15 w 15"/>
                <a:gd name="T1" fmla="*/ 6 h 10"/>
                <a:gd name="T2" fmla="*/ 10 w 15"/>
                <a:gd name="T3" fmla="*/ 1 h 10"/>
                <a:gd name="T4" fmla="*/ 2 w 15"/>
                <a:gd name="T5" fmla="*/ 5 h 10"/>
                <a:gd name="T6" fmla="*/ 1 w 15"/>
                <a:gd name="T7" fmla="*/ 9 h 10"/>
                <a:gd name="T8" fmla="*/ 6 w 15"/>
                <a:gd name="T9" fmla="*/ 9 h 10"/>
                <a:gd name="T10" fmla="*/ 11 w 15"/>
                <a:gd name="T11" fmla="*/ 7 h 10"/>
                <a:gd name="T12" fmla="*/ 15 w 15"/>
                <a:gd name="T13" fmla="*/ 6 h 10"/>
                <a:gd name="T14" fmla="*/ 15 w 15"/>
                <a:gd name="T15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10">
                  <a:moveTo>
                    <a:pt x="15" y="6"/>
                  </a:moveTo>
                  <a:cubicBezTo>
                    <a:pt x="13" y="4"/>
                    <a:pt x="10" y="4"/>
                    <a:pt x="10" y="1"/>
                  </a:cubicBezTo>
                  <a:cubicBezTo>
                    <a:pt x="5" y="0"/>
                    <a:pt x="4" y="0"/>
                    <a:pt x="2" y="5"/>
                  </a:cubicBezTo>
                  <a:cubicBezTo>
                    <a:pt x="2" y="6"/>
                    <a:pt x="0" y="9"/>
                    <a:pt x="1" y="9"/>
                  </a:cubicBezTo>
                  <a:cubicBezTo>
                    <a:pt x="3" y="10"/>
                    <a:pt x="5" y="10"/>
                    <a:pt x="6" y="9"/>
                  </a:cubicBezTo>
                  <a:cubicBezTo>
                    <a:pt x="8" y="8"/>
                    <a:pt x="9" y="7"/>
                    <a:pt x="11" y="7"/>
                  </a:cubicBezTo>
                  <a:cubicBezTo>
                    <a:pt x="11" y="7"/>
                    <a:pt x="15" y="7"/>
                    <a:pt x="15" y="6"/>
                  </a:cubicBezTo>
                  <a:cubicBezTo>
                    <a:pt x="14" y="6"/>
                    <a:pt x="15" y="7"/>
                    <a:pt x="15" y="6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94" name="Freeform 673">
              <a:extLst>
                <a:ext uri="{FF2B5EF4-FFF2-40B4-BE49-F238E27FC236}">
                  <a16:creationId xmlns:a16="http://schemas.microsoft.com/office/drawing/2014/main" id="{355A75B2-76D0-4A56-1E22-988BA6FCF820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4003" y="3056612"/>
              <a:ext cx="46495" cy="100297"/>
            </a:xfrm>
            <a:custGeom>
              <a:avLst/>
              <a:gdLst>
                <a:gd name="T0" fmla="*/ 6 w 9"/>
                <a:gd name="T1" fmla="*/ 16 h 18"/>
                <a:gd name="T2" fmla="*/ 7 w 9"/>
                <a:gd name="T3" fmla="*/ 11 h 18"/>
                <a:gd name="T4" fmla="*/ 6 w 9"/>
                <a:gd name="T5" fmla="*/ 6 h 18"/>
                <a:gd name="T6" fmla="*/ 7 w 9"/>
                <a:gd name="T7" fmla="*/ 4 h 18"/>
                <a:gd name="T8" fmla="*/ 3 w 9"/>
                <a:gd name="T9" fmla="*/ 1 h 18"/>
                <a:gd name="T10" fmla="*/ 0 w 9"/>
                <a:gd name="T11" fmla="*/ 9 h 18"/>
                <a:gd name="T12" fmla="*/ 4 w 9"/>
                <a:gd name="T13" fmla="*/ 18 h 18"/>
                <a:gd name="T14" fmla="*/ 6 w 9"/>
                <a:gd name="T15" fmla="*/ 16 h 18"/>
                <a:gd name="T16" fmla="*/ 6 w 9"/>
                <a:gd name="T17" fmla="*/ 1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18">
                  <a:moveTo>
                    <a:pt x="6" y="16"/>
                  </a:moveTo>
                  <a:cubicBezTo>
                    <a:pt x="7" y="14"/>
                    <a:pt x="9" y="12"/>
                    <a:pt x="7" y="11"/>
                  </a:cubicBezTo>
                  <a:cubicBezTo>
                    <a:pt x="6" y="10"/>
                    <a:pt x="5" y="8"/>
                    <a:pt x="6" y="6"/>
                  </a:cubicBezTo>
                  <a:cubicBezTo>
                    <a:pt x="6" y="6"/>
                    <a:pt x="7" y="4"/>
                    <a:pt x="7" y="4"/>
                  </a:cubicBezTo>
                  <a:cubicBezTo>
                    <a:pt x="6" y="3"/>
                    <a:pt x="4" y="1"/>
                    <a:pt x="3" y="1"/>
                  </a:cubicBezTo>
                  <a:cubicBezTo>
                    <a:pt x="0" y="0"/>
                    <a:pt x="0" y="7"/>
                    <a:pt x="0" y="9"/>
                  </a:cubicBezTo>
                  <a:cubicBezTo>
                    <a:pt x="0" y="13"/>
                    <a:pt x="2" y="15"/>
                    <a:pt x="4" y="18"/>
                  </a:cubicBezTo>
                  <a:cubicBezTo>
                    <a:pt x="5" y="17"/>
                    <a:pt x="6" y="16"/>
                    <a:pt x="6" y="16"/>
                  </a:cubicBezTo>
                  <a:cubicBezTo>
                    <a:pt x="7" y="14"/>
                    <a:pt x="6" y="16"/>
                    <a:pt x="6" y="16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95" name="Freeform 674">
              <a:extLst>
                <a:ext uri="{FF2B5EF4-FFF2-40B4-BE49-F238E27FC236}">
                  <a16:creationId xmlns:a16="http://schemas.microsoft.com/office/drawing/2014/main" id="{4C86DE55-6944-31C7-ABBF-8326479A421F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0825" y="3067966"/>
              <a:ext cx="67953" cy="49203"/>
            </a:xfrm>
            <a:custGeom>
              <a:avLst/>
              <a:gdLst>
                <a:gd name="T0" fmla="*/ 11 w 13"/>
                <a:gd name="T1" fmla="*/ 0 h 9"/>
                <a:gd name="T2" fmla="*/ 2 w 13"/>
                <a:gd name="T3" fmla="*/ 2 h 9"/>
                <a:gd name="T4" fmla="*/ 3 w 13"/>
                <a:gd name="T5" fmla="*/ 9 h 9"/>
                <a:gd name="T6" fmla="*/ 7 w 13"/>
                <a:gd name="T7" fmla="*/ 8 h 9"/>
                <a:gd name="T8" fmla="*/ 10 w 13"/>
                <a:gd name="T9" fmla="*/ 7 h 9"/>
                <a:gd name="T10" fmla="*/ 11 w 13"/>
                <a:gd name="T11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9">
                  <a:moveTo>
                    <a:pt x="11" y="0"/>
                  </a:moveTo>
                  <a:cubicBezTo>
                    <a:pt x="9" y="0"/>
                    <a:pt x="2" y="0"/>
                    <a:pt x="2" y="2"/>
                  </a:cubicBezTo>
                  <a:cubicBezTo>
                    <a:pt x="0" y="4"/>
                    <a:pt x="0" y="8"/>
                    <a:pt x="3" y="9"/>
                  </a:cubicBezTo>
                  <a:cubicBezTo>
                    <a:pt x="4" y="8"/>
                    <a:pt x="6" y="9"/>
                    <a:pt x="7" y="8"/>
                  </a:cubicBezTo>
                  <a:cubicBezTo>
                    <a:pt x="8" y="8"/>
                    <a:pt x="9" y="6"/>
                    <a:pt x="10" y="7"/>
                  </a:cubicBezTo>
                  <a:cubicBezTo>
                    <a:pt x="13" y="9"/>
                    <a:pt x="11" y="1"/>
                    <a:pt x="11" y="0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96" name="Freeform 675">
              <a:extLst>
                <a:ext uri="{FF2B5EF4-FFF2-40B4-BE49-F238E27FC236}">
                  <a16:creationId xmlns:a16="http://schemas.microsoft.com/office/drawing/2014/main" id="{30116E4A-40F3-F054-ED85-59BC3C06AD3B}"/>
                </a:ext>
              </a:extLst>
            </p:cNvPr>
            <p:cNvSpPr>
              <a:spLocks/>
            </p:cNvSpPr>
            <p:nvPr/>
          </p:nvSpPr>
          <p:spPr bwMode="auto">
            <a:xfrm>
              <a:off x="6926644" y="3100134"/>
              <a:ext cx="100143" cy="88941"/>
            </a:xfrm>
            <a:custGeom>
              <a:avLst/>
              <a:gdLst>
                <a:gd name="T0" fmla="*/ 19 w 19"/>
                <a:gd name="T1" fmla="*/ 14 h 16"/>
                <a:gd name="T2" fmla="*/ 17 w 19"/>
                <a:gd name="T3" fmla="*/ 10 h 16"/>
                <a:gd name="T4" fmla="*/ 16 w 19"/>
                <a:gd name="T5" fmla="*/ 7 h 16"/>
                <a:gd name="T6" fmla="*/ 14 w 19"/>
                <a:gd name="T7" fmla="*/ 3 h 16"/>
                <a:gd name="T8" fmla="*/ 12 w 19"/>
                <a:gd name="T9" fmla="*/ 0 h 16"/>
                <a:gd name="T10" fmla="*/ 6 w 19"/>
                <a:gd name="T11" fmla="*/ 6 h 16"/>
                <a:gd name="T12" fmla="*/ 9 w 19"/>
                <a:gd name="T13" fmla="*/ 9 h 16"/>
                <a:gd name="T14" fmla="*/ 12 w 19"/>
                <a:gd name="T15" fmla="*/ 11 h 16"/>
                <a:gd name="T16" fmla="*/ 16 w 19"/>
                <a:gd name="T17" fmla="*/ 13 h 16"/>
                <a:gd name="T18" fmla="*/ 19 w 19"/>
                <a:gd name="T19" fmla="*/ 14 h 16"/>
                <a:gd name="T20" fmla="*/ 19 w 19"/>
                <a:gd name="T21" fmla="*/ 1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" h="16">
                  <a:moveTo>
                    <a:pt x="19" y="14"/>
                  </a:moveTo>
                  <a:cubicBezTo>
                    <a:pt x="19" y="12"/>
                    <a:pt x="19" y="11"/>
                    <a:pt x="17" y="10"/>
                  </a:cubicBezTo>
                  <a:cubicBezTo>
                    <a:pt x="15" y="9"/>
                    <a:pt x="17" y="8"/>
                    <a:pt x="16" y="7"/>
                  </a:cubicBezTo>
                  <a:cubicBezTo>
                    <a:pt x="15" y="5"/>
                    <a:pt x="14" y="6"/>
                    <a:pt x="14" y="3"/>
                  </a:cubicBezTo>
                  <a:cubicBezTo>
                    <a:pt x="14" y="3"/>
                    <a:pt x="11" y="1"/>
                    <a:pt x="12" y="0"/>
                  </a:cubicBezTo>
                  <a:cubicBezTo>
                    <a:pt x="9" y="0"/>
                    <a:pt x="0" y="1"/>
                    <a:pt x="6" y="6"/>
                  </a:cubicBezTo>
                  <a:cubicBezTo>
                    <a:pt x="7" y="7"/>
                    <a:pt x="8" y="8"/>
                    <a:pt x="9" y="9"/>
                  </a:cubicBezTo>
                  <a:cubicBezTo>
                    <a:pt x="10" y="10"/>
                    <a:pt x="11" y="10"/>
                    <a:pt x="12" y="11"/>
                  </a:cubicBezTo>
                  <a:cubicBezTo>
                    <a:pt x="14" y="11"/>
                    <a:pt x="16" y="11"/>
                    <a:pt x="16" y="13"/>
                  </a:cubicBezTo>
                  <a:cubicBezTo>
                    <a:pt x="17" y="14"/>
                    <a:pt x="18" y="16"/>
                    <a:pt x="19" y="14"/>
                  </a:cubicBezTo>
                  <a:cubicBezTo>
                    <a:pt x="19" y="13"/>
                    <a:pt x="18" y="15"/>
                    <a:pt x="19" y="14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97" name="Freeform 677">
              <a:extLst>
                <a:ext uri="{FF2B5EF4-FFF2-40B4-BE49-F238E27FC236}">
                  <a16:creationId xmlns:a16="http://schemas.microsoft.com/office/drawing/2014/main" id="{DF4CE14F-D924-DA55-2242-B0B647975600}"/>
                </a:ext>
              </a:extLst>
            </p:cNvPr>
            <p:cNvSpPr>
              <a:spLocks/>
            </p:cNvSpPr>
            <p:nvPr/>
          </p:nvSpPr>
          <p:spPr bwMode="auto">
            <a:xfrm>
              <a:off x="6974927" y="3151230"/>
              <a:ext cx="41131" cy="32171"/>
            </a:xfrm>
            <a:custGeom>
              <a:avLst/>
              <a:gdLst>
                <a:gd name="T0" fmla="*/ 1 w 8"/>
                <a:gd name="T1" fmla="*/ 1 h 6"/>
                <a:gd name="T2" fmla="*/ 3 w 8"/>
                <a:gd name="T3" fmla="*/ 4 h 6"/>
                <a:gd name="T4" fmla="*/ 8 w 8"/>
                <a:gd name="T5" fmla="*/ 6 h 6"/>
                <a:gd name="T6" fmla="*/ 0 w 8"/>
                <a:gd name="T7" fmla="*/ 0 h 6"/>
                <a:gd name="T8" fmla="*/ 1 w 8"/>
                <a:gd name="T9" fmla="*/ 1 h 6"/>
                <a:gd name="T10" fmla="*/ 1 w 8"/>
                <a:gd name="T11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6">
                  <a:moveTo>
                    <a:pt x="1" y="1"/>
                  </a:moveTo>
                  <a:cubicBezTo>
                    <a:pt x="2" y="1"/>
                    <a:pt x="2" y="3"/>
                    <a:pt x="3" y="4"/>
                  </a:cubicBezTo>
                  <a:cubicBezTo>
                    <a:pt x="5" y="4"/>
                    <a:pt x="6" y="5"/>
                    <a:pt x="8" y="6"/>
                  </a:cubicBezTo>
                  <a:cubicBezTo>
                    <a:pt x="7" y="2"/>
                    <a:pt x="3" y="1"/>
                    <a:pt x="0" y="0"/>
                  </a:cubicBezTo>
                  <a:cubicBezTo>
                    <a:pt x="0" y="1"/>
                    <a:pt x="0" y="1"/>
                    <a:pt x="1" y="1"/>
                  </a:cubicBezTo>
                  <a:cubicBezTo>
                    <a:pt x="2" y="1"/>
                    <a:pt x="0" y="1"/>
                    <a:pt x="1" y="1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98" name="Freeform 678">
              <a:extLst>
                <a:ext uri="{FF2B5EF4-FFF2-40B4-BE49-F238E27FC236}">
                  <a16:creationId xmlns:a16="http://schemas.microsoft.com/office/drawing/2014/main" id="{814E7BFF-5F8F-051E-2465-53FE19E3CA4F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3324" y="3016870"/>
              <a:ext cx="184192" cy="100297"/>
            </a:xfrm>
            <a:custGeom>
              <a:avLst/>
              <a:gdLst>
                <a:gd name="T0" fmla="*/ 26 w 35"/>
                <a:gd name="T1" fmla="*/ 15 h 18"/>
                <a:gd name="T2" fmla="*/ 30 w 35"/>
                <a:gd name="T3" fmla="*/ 17 h 18"/>
                <a:gd name="T4" fmla="*/ 34 w 35"/>
                <a:gd name="T5" fmla="*/ 17 h 18"/>
                <a:gd name="T6" fmla="*/ 33 w 35"/>
                <a:gd name="T7" fmla="*/ 12 h 18"/>
                <a:gd name="T8" fmla="*/ 30 w 35"/>
                <a:gd name="T9" fmla="*/ 10 h 18"/>
                <a:gd name="T10" fmla="*/ 27 w 35"/>
                <a:gd name="T11" fmla="*/ 7 h 18"/>
                <a:gd name="T12" fmla="*/ 19 w 35"/>
                <a:gd name="T13" fmla="*/ 6 h 18"/>
                <a:gd name="T14" fmla="*/ 9 w 35"/>
                <a:gd name="T15" fmla="*/ 4 h 18"/>
                <a:gd name="T16" fmla="*/ 0 w 35"/>
                <a:gd name="T17" fmla="*/ 2 h 18"/>
                <a:gd name="T18" fmla="*/ 8 w 35"/>
                <a:gd name="T19" fmla="*/ 14 h 18"/>
                <a:gd name="T20" fmla="*/ 18 w 35"/>
                <a:gd name="T21" fmla="*/ 18 h 18"/>
                <a:gd name="T22" fmla="*/ 26 w 35"/>
                <a:gd name="T23" fmla="*/ 15 h 18"/>
                <a:gd name="T24" fmla="*/ 26 w 35"/>
                <a:gd name="T25" fmla="*/ 1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" h="18">
                  <a:moveTo>
                    <a:pt x="26" y="15"/>
                  </a:moveTo>
                  <a:cubicBezTo>
                    <a:pt x="27" y="14"/>
                    <a:pt x="29" y="16"/>
                    <a:pt x="30" y="17"/>
                  </a:cubicBezTo>
                  <a:cubicBezTo>
                    <a:pt x="30" y="17"/>
                    <a:pt x="34" y="17"/>
                    <a:pt x="34" y="17"/>
                  </a:cubicBezTo>
                  <a:cubicBezTo>
                    <a:pt x="35" y="16"/>
                    <a:pt x="30" y="12"/>
                    <a:pt x="33" y="12"/>
                  </a:cubicBezTo>
                  <a:cubicBezTo>
                    <a:pt x="32" y="11"/>
                    <a:pt x="30" y="11"/>
                    <a:pt x="30" y="10"/>
                  </a:cubicBezTo>
                  <a:cubicBezTo>
                    <a:pt x="30" y="8"/>
                    <a:pt x="29" y="7"/>
                    <a:pt x="27" y="7"/>
                  </a:cubicBezTo>
                  <a:cubicBezTo>
                    <a:pt x="24" y="7"/>
                    <a:pt x="22" y="8"/>
                    <a:pt x="19" y="6"/>
                  </a:cubicBezTo>
                  <a:cubicBezTo>
                    <a:pt x="16" y="5"/>
                    <a:pt x="13" y="5"/>
                    <a:pt x="9" y="4"/>
                  </a:cubicBezTo>
                  <a:cubicBezTo>
                    <a:pt x="6" y="3"/>
                    <a:pt x="4" y="0"/>
                    <a:pt x="0" y="2"/>
                  </a:cubicBezTo>
                  <a:cubicBezTo>
                    <a:pt x="3" y="6"/>
                    <a:pt x="11" y="7"/>
                    <a:pt x="8" y="14"/>
                  </a:cubicBezTo>
                  <a:cubicBezTo>
                    <a:pt x="11" y="14"/>
                    <a:pt x="18" y="14"/>
                    <a:pt x="18" y="18"/>
                  </a:cubicBezTo>
                  <a:cubicBezTo>
                    <a:pt x="18" y="15"/>
                    <a:pt x="24" y="15"/>
                    <a:pt x="26" y="15"/>
                  </a:cubicBezTo>
                  <a:cubicBezTo>
                    <a:pt x="27" y="14"/>
                    <a:pt x="19" y="15"/>
                    <a:pt x="26" y="15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99" name="Freeform 679">
              <a:extLst>
                <a:ext uri="{FF2B5EF4-FFF2-40B4-BE49-F238E27FC236}">
                  <a16:creationId xmlns:a16="http://schemas.microsoft.com/office/drawing/2014/main" id="{0041E2CF-0323-778F-0055-5D81F71DD2B9}"/>
                </a:ext>
              </a:extLst>
            </p:cNvPr>
            <p:cNvSpPr>
              <a:spLocks/>
            </p:cNvSpPr>
            <p:nvPr/>
          </p:nvSpPr>
          <p:spPr bwMode="auto">
            <a:xfrm>
              <a:off x="6980293" y="3083105"/>
              <a:ext cx="141272" cy="117328"/>
            </a:xfrm>
            <a:custGeom>
              <a:avLst/>
              <a:gdLst>
                <a:gd name="T0" fmla="*/ 8 w 27"/>
                <a:gd name="T1" fmla="*/ 2 h 21"/>
                <a:gd name="T2" fmla="*/ 10 w 27"/>
                <a:gd name="T3" fmla="*/ 5 h 21"/>
                <a:gd name="T4" fmla="*/ 7 w 27"/>
                <a:gd name="T5" fmla="*/ 5 h 21"/>
                <a:gd name="T6" fmla="*/ 4 w 27"/>
                <a:gd name="T7" fmla="*/ 3 h 21"/>
                <a:gd name="T8" fmla="*/ 4 w 27"/>
                <a:gd name="T9" fmla="*/ 7 h 21"/>
                <a:gd name="T10" fmla="*/ 6 w 27"/>
                <a:gd name="T11" fmla="*/ 11 h 21"/>
                <a:gd name="T12" fmla="*/ 8 w 27"/>
                <a:gd name="T13" fmla="*/ 14 h 21"/>
                <a:gd name="T14" fmla="*/ 9 w 27"/>
                <a:gd name="T15" fmla="*/ 17 h 21"/>
                <a:gd name="T16" fmla="*/ 16 w 27"/>
                <a:gd name="T17" fmla="*/ 13 h 21"/>
                <a:gd name="T18" fmla="*/ 17 w 27"/>
                <a:gd name="T19" fmla="*/ 16 h 21"/>
                <a:gd name="T20" fmla="*/ 21 w 27"/>
                <a:gd name="T21" fmla="*/ 21 h 21"/>
                <a:gd name="T22" fmla="*/ 21 w 27"/>
                <a:gd name="T23" fmla="*/ 18 h 21"/>
                <a:gd name="T24" fmla="*/ 23 w 27"/>
                <a:gd name="T25" fmla="*/ 16 h 21"/>
                <a:gd name="T26" fmla="*/ 25 w 27"/>
                <a:gd name="T27" fmla="*/ 11 h 21"/>
                <a:gd name="T28" fmla="*/ 19 w 27"/>
                <a:gd name="T29" fmla="*/ 1 h 21"/>
                <a:gd name="T30" fmla="*/ 12 w 27"/>
                <a:gd name="T31" fmla="*/ 2 h 21"/>
                <a:gd name="T32" fmla="*/ 9 w 27"/>
                <a:gd name="T33" fmla="*/ 0 h 21"/>
                <a:gd name="T34" fmla="*/ 8 w 27"/>
                <a:gd name="T35" fmla="*/ 2 h 21"/>
                <a:gd name="T36" fmla="*/ 8 w 27"/>
                <a:gd name="T37" fmla="*/ 2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7" h="21">
                  <a:moveTo>
                    <a:pt x="8" y="2"/>
                  </a:moveTo>
                  <a:cubicBezTo>
                    <a:pt x="8" y="2"/>
                    <a:pt x="11" y="4"/>
                    <a:pt x="10" y="5"/>
                  </a:cubicBezTo>
                  <a:cubicBezTo>
                    <a:pt x="10" y="5"/>
                    <a:pt x="7" y="5"/>
                    <a:pt x="7" y="5"/>
                  </a:cubicBezTo>
                  <a:cubicBezTo>
                    <a:pt x="5" y="5"/>
                    <a:pt x="5" y="3"/>
                    <a:pt x="4" y="3"/>
                  </a:cubicBezTo>
                  <a:cubicBezTo>
                    <a:pt x="0" y="2"/>
                    <a:pt x="4" y="6"/>
                    <a:pt x="4" y="7"/>
                  </a:cubicBezTo>
                  <a:cubicBezTo>
                    <a:pt x="4" y="10"/>
                    <a:pt x="7" y="8"/>
                    <a:pt x="6" y="11"/>
                  </a:cubicBezTo>
                  <a:cubicBezTo>
                    <a:pt x="5" y="13"/>
                    <a:pt x="7" y="13"/>
                    <a:pt x="8" y="14"/>
                  </a:cubicBezTo>
                  <a:cubicBezTo>
                    <a:pt x="9" y="14"/>
                    <a:pt x="9" y="16"/>
                    <a:pt x="9" y="17"/>
                  </a:cubicBezTo>
                  <a:cubicBezTo>
                    <a:pt x="10" y="16"/>
                    <a:pt x="14" y="14"/>
                    <a:pt x="16" y="13"/>
                  </a:cubicBezTo>
                  <a:cubicBezTo>
                    <a:pt x="17" y="13"/>
                    <a:pt x="17" y="15"/>
                    <a:pt x="17" y="16"/>
                  </a:cubicBezTo>
                  <a:cubicBezTo>
                    <a:pt x="17" y="19"/>
                    <a:pt x="18" y="20"/>
                    <a:pt x="21" y="21"/>
                  </a:cubicBezTo>
                  <a:cubicBezTo>
                    <a:pt x="21" y="20"/>
                    <a:pt x="21" y="18"/>
                    <a:pt x="21" y="18"/>
                  </a:cubicBezTo>
                  <a:cubicBezTo>
                    <a:pt x="22" y="17"/>
                    <a:pt x="23" y="17"/>
                    <a:pt x="23" y="16"/>
                  </a:cubicBezTo>
                  <a:cubicBezTo>
                    <a:pt x="24" y="14"/>
                    <a:pt x="24" y="12"/>
                    <a:pt x="25" y="11"/>
                  </a:cubicBezTo>
                  <a:cubicBezTo>
                    <a:pt x="27" y="8"/>
                    <a:pt x="21" y="2"/>
                    <a:pt x="19" y="1"/>
                  </a:cubicBezTo>
                  <a:cubicBezTo>
                    <a:pt x="17" y="4"/>
                    <a:pt x="15" y="4"/>
                    <a:pt x="12" y="2"/>
                  </a:cubicBezTo>
                  <a:cubicBezTo>
                    <a:pt x="12" y="1"/>
                    <a:pt x="10" y="0"/>
                    <a:pt x="9" y="0"/>
                  </a:cubicBezTo>
                  <a:cubicBezTo>
                    <a:pt x="8" y="0"/>
                    <a:pt x="8" y="1"/>
                    <a:pt x="8" y="2"/>
                  </a:cubicBezTo>
                  <a:cubicBezTo>
                    <a:pt x="9" y="3"/>
                    <a:pt x="7" y="0"/>
                    <a:pt x="8" y="2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00" name="Freeform 687">
              <a:extLst>
                <a:ext uri="{FF2B5EF4-FFF2-40B4-BE49-F238E27FC236}">
                  <a16:creationId xmlns:a16="http://schemas.microsoft.com/office/drawing/2014/main" id="{7240A461-72CF-29C5-66D8-44EBD5B7F348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2783" y="3383991"/>
              <a:ext cx="16095" cy="39739"/>
            </a:xfrm>
            <a:custGeom>
              <a:avLst/>
              <a:gdLst>
                <a:gd name="T0" fmla="*/ 0 w 3"/>
                <a:gd name="T1" fmla="*/ 3 h 7"/>
                <a:gd name="T2" fmla="*/ 3 w 3"/>
                <a:gd name="T3" fmla="*/ 7 h 7"/>
                <a:gd name="T4" fmla="*/ 3 w 3"/>
                <a:gd name="T5" fmla="*/ 1 h 7"/>
                <a:gd name="T6" fmla="*/ 2 w 3"/>
                <a:gd name="T7" fmla="*/ 0 h 7"/>
                <a:gd name="T8" fmla="*/ 0 w 3"/>
                <a:gd name="T9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7">
                  <a:moveTo>
                    <a:pt x="0" y="3"/>
                  </a:moveTo>
                  <a:cubicBezTo>
                    <a:pt x="0" y="5"/>
                    <a:pt x="1" y="6"/>
                    <a:pt x="3" y="7"/>
                  </a:cubicBezTo>
                  <a:cubicBezTo>
                    <a:pt x="3" y="5"/>
                    <a:pt x="3" y="3"/>
                    <a:pt x="3" y="1"/>
                  </a:cubicBezTo>
                  <a:cubicBezTo>
                    <a:pt x="3" y="0"/>
                    <a:pt x="3" y="0"/>
                    <a:pt x="2" y="0"/>
                  </a:cubicBezTo>
                  <a:cubicBezTo>
                    <a:pt x="0" y="0"/>
                    <a:pt x="0" y="2"/>
                    <a:pt x="0" y="3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01" name="Freeform 717">
              <a:extLst>
                <a:ext uri="{FF2B5EF4-FFF2-40B4-BE49-F238E27FC236}">
                  <a16:creationId xmlns:a16="http://schemas.microsoft.com/office/drawing/2014/main" id="{6DEA0AF0-7730-B449-4001-E5C96D2DEED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0141" y="2000672"/>
              <a:ext cx="329038" cy="599881"/>
            </a:xfrm>
            <a:custGeom>
              <a:avLst/>
              <a:gdLst>
                <a:gd name="T0" fmla="*/ 61 w 63"/>
                <a:gd name="T1" fmla="*/ 25 h 108"/>
                <a:gd name="T2" fmla="*/ 61 w 63"/>
                <a:gd name="T3" fmla="*/ 20 h 108"/>
                <a:gd name="T4" fmla="*/ 61 w 63"/>
                <a:gd name="T5" fmla="*/ 16 h 108"/>
                <a:gd name="T6" fmla="*/ 60 w 63"/>
                <a:gd name="T7" fmla="*/ 13 h 108"/>
                <a:gd name="T8" fmla="*/ 60 w 63"/>
                <a:gd name="T9" fmla="*/ 11 h 108"/>
                <a:gd name="T10" fmla="*/ 57 w 63"/>
                <a:gd name="T11" fmla="*/ 7 h 108"/>
                <a:gd name="T12" fmla="*/ 51 w 63"/>
                <a:gd name="T13" fmla="*/ 5 h 108"/>
                <a:gd name="T14" fmla="*/ 44 w 63"/>
                <a:gd name="T15" fmla="*/ 1 h 108"/>
                <a:gd name="T16" fmla="*/ 44 w 63"/>
                <a:gd name="T17" fmla="*/ 5 h 108"/>
                <a:gd name="T18" fmla="*/ 34 w 63"/>
                <a:gd name="T19" fmla="*/ 5 h 108"/>
                <a:gd name="T20" fmla="*/ 34 w 63"/>
                <a:gd name="T21" fmla="*/ 10 h 108"/>
                <a:gd name="T22" fmla="*/ 29 w 63"/>
                <a:gd name="T23" fmla="*/ 10 h 108"/>
                <a:gd name="T24" fmla="*/ 27 w 63"/>
                <a:gd name="T25" fmla="*/ 12 h 108"/>
                <a:gd name="T26" fmla="*/ 25 w 63"/>
                <a:gd name="T27" fmla="*/ 15 h 108"/>
                <a:gd name="T28" fmla="*/ 25 w 63"/>
                <a:gd name="T29" fmla="*/ 18 h 108"/>
                <a:gd name="T30" fmla="*/ 24 w 63"/>
                <a:gd name="T31" fmla="*/ 20 h 108"/>
                <a:gd name="T32" fmla="*/ 20 w 63"/>
                <a:gd name="T33" fmla="*/ 25 h 108"/>
                <a:gd name="T34" fmla="*/ 17 w 63"/>
                <a:gd name="T35" fmla="*/ 27 h 108"/>
                <a:gd name="T36" fmla="*/ 16 w 63"/>
                <a:gd name="T37" fmla="*/ 33 h 108"/>
                <a:gd name="T38" fmla="*/ 13 w 63"/>
                <a:gd name="T39" fmla="*/ 38 h 108"/>
                <a:gd name="T40" fmla="*/ 15 w 63"/>
                <a:gd name="T41" fmla="*/ 42 h 108"/>
                <a:gd name="T42" fmla="*/ 9 w 63"/>
                <a:gd name="T43" fmla="*/ 44 h 108"/>
                <a:gd name="T44" fmla="*/ 5 w 63"/>
                <a:gd name="T45" fmla="*/ 51 h 108"/>
                <a:gd name="T46" fmla="*/ 6 w 63"/>
                <a:gd name="T47" fmla="*/ 57 h 108"/>
                <a:gd name="T48" fmla="*/ 8 w 63"/>
                <a:gd name="T49" fmla="*/ 63 h 108"/>
                <a:gd name="T50" fmla="*/ 7 w 63"/>
                <a:gd name="T51" fmla="*/ 67 h 108"/>
                <a:gd name="T52" fmla="*/ 7 w 63"/>
                <a:gd name="T53" fmla="*/ 74 h 108"/>
                <a:gd name="T54" fmla="*/ 4 w 63"/>
                <a:gd name="T55" fmla="*/ 78 h 108"/>
                <a:gd name="T56" fmla="*/ 3 w 63"/>
                <a:gd name="T57" fmla="*/ 83 h 108"/>
                <a:gd name="T58" fmla="*/ 0 w 63"/>
                <a:gd name="T59" fmla="*/ 82 h 108"/>
                <a:gd name="T60" fmla="*/ 4 w 63"/>
                <a:gd name="T61" fmla="*/ 90 h 108"/>
                <a:gd name="T62" fmla="*/ 7 w 63"/>
                <a:gd name="T63" fmla="*/ 97 h 108"/>
                <a:gd name="T64" fmla="*/ 8 w 63"/>
                <a:gd name="T65" fmla="*/ 102 h 108"/>
                <a:gd name="T66" fmla="*/ 10 w 63"/>
                <a:gd name="T67" fmla="*/ 107 h 108"/>
                <a:gd name="T68" fmla="*/ 14 w 63"/>
                <a:gd name="T69" fmla="*/ 108 h 108"/>
                <a:gd name="T70" fmla="*/ 15 w 63"/>
                <a:gd name="T71" fmla="*/ 105 h 108"/>
                <a:gd name="T72" fmla="*/ 24 w 63"/>
                <a:gd name="T73" fmla="*/ 101 h 108"/>
                <a:gd name="T74" fmla="*/ 27 w 63"/>
                <a:gd name="T75" fmla="*/ 92 h 108"/>
                <a:gd name="T76" fmla="*/ 26 w 63"/>
                <a:gd name="T77" fmla="*/ 87 h 108"/>
                <a:gd name="T78" fmla="*/ 28 w 63"/>
                <a:gd name="T79" fmla="*/ 84 h 108"/>
                <a:gd name="T80" fmla="*/ 32 w 63"/>
                <a:gd name="T81" fmla="*/ 82 h 108"/>
                <a:gd name="T82" fmla="*/ 32 w 63"/>
                <a:gd name="T83" fmla="*/ 81 h 108"/>
                <a:gd name="T84" fmla="*/ 35 w 63"/>
                <a:gd name="T85" fmla="*/ 80 h 108"/>
                <a:gd name="T86" fmla="*/ 34 w 63"/>
                <a:gd name="T87" fmla="*/ 78 h 108"/>
                <a:gd name="T88" fmla="*/ 36 w 63"/>
                <a:gd name="T89" fmla="*/ 77 h 108"/>
                <a:gd name="T90" fmla="*/ 35 w 63"/>
                <a:gd name="T91" fmla="*/ 73 h 108"/>
                <a:gd name="T92" fmla="*/ 29 w 63"/>
                <a:gd name="T93" fmla="*/ 66 h 108"/>
                <a:gd name="T94" fmla="*/ 30 w 63"/>
                <a:gd name="T95" fmla="*/ 60 h 108"/>
                <a:gd name="T96" fmla="*/ 30 w 63"/>
                <a:gd name="T97" fmla="*/ 56 h 108"/>
                <a:gd name="T98" fmla="*/ 33 w 63"/>
                <a:gd name="T99" fmla="*/ 53 h 108"/>
                <a:gd name="T100" fmla="*/ 39 w 63"/>
                <a:gd name="T101" fmla="*/ 48 h 108"/>
                <a:gd name="T102" fmla="*/ 49 w 63"/>
                <a:gd name="T103" fmla="*/ 41 h 108"/>
                <a:gd name="T104" fmla="*/ 50 w 63"/>
                <a:gd name="T105" fmla="*/ 35 h 108"/>
                <a:gd name="T106" fmla="*/ 50 w 63"/>
                <a:gd name="T107" fmla="*/ 32 h 108"/>
                <a:gd name="T108" fmla="*/ 54 w 63"/>
                <a:gd name="T109" fmla="*/ 30 h 108"/>
                <a:gd name="T110" fmla="*/ 58 w 63"/>
                <a:gd name="T111" fmla="*/ 29 h 108"/>
                <a:gd name="T112" fmla="*/ 60 w 63"/>
                <a:gd name="T113" fmla="*/ 28 h 108"/>
                <a:gd name="T114" fmla="*/ 63 w 63"/>
                <a:gd name="T115" fmla="*/ 28 h 108"/>
                <a:gd name="T116" fmla="*/ 61 w 63"/>
                <a:gd name="T117" fmla="*/ 25 h 108"/>
                <a:gd name="T118" fmla="*/ 61 w 63"/>
                <a:gd name="T119" fmla="*/ 25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3" h="108">
                  <a:moveTo>
                    <a:pt x="61" y="25"/>
                  </a:moveTo>
                  <a:cubicBezTo>
                    <a:pt x="60" y="24"/>
                    <a:pt x="62" y="22"/>
                    <a:pt x="61" y="20"/>
                  </a:cubicBezTo>
                  <a:cubicBezTo>
                    <a:pt x="60" y="18"/>
                    <a:pt x="61" y="18"/>
                    <a:pt x="61" y="16"/>
                  </a:cubicBezTo>
                  <a:cubicBezTo>
                    <a:pt x="61" y="15"/>
                    <a:pt x="60" y="14"/>
                    <a:pt x="60" y="13"/>
                  </a:cubicBezTo>
                  <a:cubicBezTo>
                    <a:pt x="59" y="12"/>
                    <a:pt x="60" y="12"/>
                    <a:pt x="60" y="11"/>
                  </a:cubicBezTo>
                  <a:cubicBezTo>
                    <a:pt x="59" y="9"/>
                    <a:pt x="59" y="8"/>
                    <a:pt x="57" y="7"/>
                  </a:cubicBezTo>
                  <a:cubicBezTo>
                    <a:pt x="55" y="6"/>
                    <a:pt x="53" y="6"/>
                    <a:pt x="51" y="5"/>
                  </a:cubicBezTo>
                  <a:cubicBezTo>
                    <a:pt x="49" y="3"/>
                    <a:pt x="47" y="0"/>
                    <a:pt x="44" y="1"/>
                  </a:cubicBezTo>
                  <a:cubicBezTo>
                    <a:pt x="43" y="1"/>
                    <a:pt x="44" y="4"/>
                    <a:pt x="44" y="5"/>
                  </a:cubicBezTo>
                  <a:cubicBezTo>
                    <a:pt x="43" y="8"/>
                    <a:pt x="37" y="6"/>
                    <a:pt x="34" y="5"/>
                  </a:cubicBezTo>
                  <a:cubicBezTo>
                    <a:pt x="34" y="7"/>
                    <a:pt x="34" y="8"/>
                    <a:pt x="34" y="10"/>
                  </a:cubicBezTo>
                  <a:cubicBezTo>
                    <a:pt x="33" y="10"/>
                    <a:pt x="31" y="9"/>
                    <a:pt x="29" y="10"/>
                  </a:cubicBezTo>
                  <a:cubicBezTo>
                    <a:pt x="28" y="10"/>
                    <a:pt x="28" y="11"/>
                    <a:pt x="27" y="12"/>
                  </a:cubicBezTo>
                  <a:cubicBezTo>
                    <a:pt x="27" y="13"/>
                    <a:pt x="25" y="14"/>
                    <a:pt x="25" y="15"/>
                  </a:cubicBezTo>
                  <a:cubicBezTo>
                    <a:pt x="24" y="16"/>
                    <a:pt x="26" y="18"/>
                    <a:pt x="25" y="18"/>
                  </a:cubicBezTo>
                  <a:cubicBezTo>
                    <a:pt x="25" y="19"/>
                    <a:pt x="24" y="19"/>
                    <a:pt x="24" y="20"/>
                  </a:cubicBezTo>
                  <a:cubicBezTo>
                    <a:pt x="22" y="21"/>
                    <a:pt x="20" y="23"/>
                    <a:pt x="20" y="25"/>
                  </a:cubicBezTo>
                  <a:cubicBezTo>
                    <a:pt x="20" y="27"/>
                    <a:pt x="18" y="25"/>
                    <a:pt x="17" y="27"/>
                  </a:cubicBezTo>
                  <a:cubicBezTo>
                    <a:pt x="17" y="29"/>
                    <a:pt x="17" y="31"/>
                    <a:pt x="16" y="33"/>
                  </a:cubicBezTo>
                  <a:cubicBezTo>
                    <a:pt x="16" y="35"/>
                    <a:pt x="13" y="36"/>
                    <a:pt x="13" y="38"/>
                  </a:cubicBezTo>
                  <a:cubicBezTo>
                    <a:pt x="13" y="39"/>
                    <a:pt x="16" y="41"/>
                    <a:pt x="15" y="42"/>
                  </a:cubicBezTo>
                  <a:cubicBezTo>
                    <a:pt x="13" y="44"/>
                    <a:pt x="11" y="43"/>
                    <a:pt x="9" y="44"/>
                  </a:cubicBezTo>
                  <a:cubicBezTo>
                    <a:pt x="6" y="45"/>
                    <a:pt x="5" y="48"/>
                    <a:pt x="5" y="51"/>
                  </a:cubicBezTo>
                  <a:cubicBezTo>
                    <a:pt x="6" y="53"/>
                    <a:pt x="6" y="55"/>
                    <a:pt x="6" y="57"/>
                  </a:cubicBezTo>
                  <a:cubicBezTo>
                    <a:pt x="6" y="60"/>
                    <a:pt x="4" y="61"/>
                    <a:pt x="8" y="63"/>
                  </a:cubicBezTo>
                  <a:cubicBezTo>
                    <a:pt x="10" y="65"/>
                    <a:pt x="9" y="66"/>
                    <a:pt x="7" y="67"/>
                  </a:cubicBezTo>
                  <a:cubicBezTo>
                    <a:pt x="6" y="68"/>
                    <a:pt x="8" y="72"/>
                    <a:pt x="7" y="74"/>
                  </a:cubicBezTo>
                  <a:cubicBezTo>
                    <a:pt x="7" y="76"/>
                    <a:pt x="4" y="76"/>
                    <a:pt x="4" y="78"/>
                  </a:cubicBezTo>
                  <a:cubicBezTo>
                    <a:pt x="4" y="79"/>
                    <a:pt x="4" y="83"/>
                    <a:pt x="3" y="83"/>
                  </a:cubicBezTo>
                  <a:cubicBezTo>
                    <a:pt x="3" y="83"/>
                    <a:pt x="1" y="82"/>
                    <a:pt x="0" y="82"/>
                  </a:cubicBezTo>
                  <a:cubicBezTo>
                    <a:pt x="0" y="86"/>
                    <a:pt x="4" y="87"/>
                    <a:pt x="4" y="90"/>
                  </a:cubicBezTo>
                  <a:cubicBezTo>
                    <a:pt x="3" y="91"/>
                    <a:pt x="6" y="96"/>
                    <a:pt x="7" y="97"/>
                  </a:cubicBezTo>
                  <a:cubicBezTo>
                    <a:pt x="9" y="99"/>
                    <a:pt x="8" y="100"/>
                    <a:pt x="8" y="102"/>
                  </a:cubicBezTo>
                  <a:cubicBezTo>
                    <a:pt x="8" y="103"/>
                    <a:pt x="10" y="105"/>
                    <a:pt x="10" y="107"/>
                  </a:cubicBezTo>
                  <a:cubicBezTo>
                    <a:pt x="9" y="108"/>
                    <a:pt x="13" y="107"/>
                    <a:pt x="14" y="108"/>
                  </a:cubicBezTo>
                  <a:cubicBezTo>
                    <a:pt x="16" y="108"/>
                    <a:pt x="15" y="107"/>
                    <a:pt x="15" y="105"/>
                  </a:cubicBezTo>
                  <a:cubicBezTo>
                    <a:pt x="15" y="100"/>
                    <a:pt x="23" y="104"/>
                    <a:pt x="24" y="101"/>
                  </a:cubicBezTo>
                  <a:cubicBezTo>
                    <a:pt x="25" y="98"/>
                    <a:pt x="26" y="95"/>
                    <a:pt x="27" y="92"/>
                  </a:cubicBezTo>
                  <a:cubicBezTo>
                    <a:pt x="27" y="90"/>
                    <a:pt x="27" y="88"/>
                    <a:pt x="26" y="87"/>
                  </a:cubicBezTo>
                  <a:cubicBezTo>
                    <a:pt x="25" y="85"/>
                    <a:pt x="26" y="85"/>
                    <a:pt x="28" y="84"/>
                  </a:cubicBezTo>
                  <a:cubicBezTo>
                    <a:pt x="29" y="84"/>
                    <a:pt x="32" y="83"/>
                    <a:pt x="32" y="82"/>
                  </a:cubicBezTo>
                  <a:cubicBezTo>
                    <a:pt x="32" y="82"/>
                    <a:pt x="32" y="81"/>
                    <a:pt x="32" y="81"/>
                  </a:cubicBezTo>
                  <a:cubicBezTo>
                    <a:pt x="33" y="81"/>
                    <a:pt x="35" y="81"/>
                    <a:pt x="35" y="80"/>
                  </a:cubicBezTo>
                  <a:cubicBezTo>
                    <a:pt x="35" y="79"/>
                    <a:pt x="34" y="79"/>
                    <a:pt x="34" y="78"/>
                  </a:cubicBezTo>
                  <a:cubicBezTo>
                    <a:pt x="35" y="78"/>
                    <a:pt x="36" y="77"/>
                    <a:pt x="36" y="77"/>
                  </a:cubicBezTo>
                  <a:cubicBezTo>
                    <a:pt x="38" y="75"/>
                    <a:pt x="37" y="74"/>
                    <a:pt x="35" y="73"/>
                  </a:cubicBezTo>
                  <a:cubicBezTo>
                    <a:pt x="33" y="71"/>
                    <a:pt x="29" y="70"/>
                    <a:pt x="29" y="66"/>
                  </a:cubicBezTo>
                  <a:cubicBezTo>
                    <a:pt x="29" y="64"/>
                    <a:pt x="29" y="62"/>
                    <a:pt x="30" y="60"/>
                  </a:cubicBezTo>
                  <a:cubicBezTo>
                    <a:pt x="31" y="58"/>
                    <a:pt x="31" y="58"/>
                    <a:pt x="30" y="56"/>
                  </a:cubicBezTo>
                  <a:cubicBezTo>
                    <a:pt x="29" y="56"/>
                    <a:pt x="33" y="53"/>
                    <a:pt x="33" y="53"/>
                  </a:cubicBezTo>
                  <a:cubicBezTo>
                    <a:pt x="35" y="51"/>
                    <a:pt x="36" y="49"/>
                    <a:pt x="39" y="48"/>
                  </a:cubicBezTo>
                  <a:cubicBezTo>
                    <a:pt x="42" y="47"/>
                    <a:pt x="47" y="44"/>
                    <a:pt x="49" y="41"/>
                  </a:cubicBezTo>
                  <a:cubicBezTo>
                    <a:pt x="51" y="38"/>
                    <a:pt x="46" y="36"/>
                    <a:pt x="50" y="35"/>
                  </a:cubicBezTo>
                  <a:cubicBezTo>
                    <a:pt x="52" y="34"/>
                    <a:pt x="51" y="34"/>
                    <a:pt x="50" y="32"/>
                  </a:cubicBezTo>
                  <a:cubicBezTo>
                    <a:pt x="50" y="31"/>
                    <a:pt x="53" y="30"/>
                    <a:pt x="54" y="30"/>
                  </a:cubicBezTo>
                  <a:cubicBezTo>
                    <a:pt x="56" y="28"/>
                    <a:pt x="57" y="27"/>
                    <a:pt x="58" y="29"/>
                  </a:cubicBezTo>
                  <a:cubicBezTo>
                    <a:pt x="59" y="29"/>
                    <a:pt x="60" y="28"/>
                    <a:pt x="60" y="28"/>
                  </a:cubicBezTo>
                  <a:cubicBezTo>
                    <a:pt x="61" y="28"/>
                    <a:pt x="62" y="28"/>
                    <a:pt x="63" y="28"/>
                  </a:cubicBezTo>
                  <a:cubicBezTo>
                    <a:pt x="63" y="27"/>
                    <a:pt x="62" y="27"/>
                    <a:pt x="61" y="25"/>
                  </a:cubicBezTo>
                  <a:cubicBezTo>
                    <a:pt x="60" y="24"/>
                    <a:pt x="61" y="26"/>
                    <a:pt x="61" y="25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02" name="Freeform 718">
              <a:extLst>
                <a:ext uri="{FF2B5EF4-FFF2-40B4-BE49-F238E27FC236}">
                  <a16:creationId xmlns:a16="http://schemas.microsoft.com/office/drawing/2014/main" id="{6C982ECB-FDBE-87B4-BA21-09F96D8A267C}"/>
                </a:ext>
              </a:extLst>
            </p:cNvPr>
            <p:cNvSpPr>
              <a:spLocks/>
            </p:cNvSpPr>
            <p:nvPr/>
          </p:nvSpPr>
          <p:spPr bwMode="auto">
            <a:xfrm>
              <a:off x="6361556" y="1955256"/>
              <a:ext cx="282545" cy="467415"/>
            </a:xfrm>
            <a:custGeom>
              <a:avLst/>
              <a:gdLst>
                <a:gd name="T0" fmla="*/ 53 w 54"/>
                <a:gd name="T1" fmla="*/ 59 h 84"/>
                <a:gd name="T2" fmla="*/ 47 w 54"/>
                <a:gd name="T3" fmla="*/ 55 h 84"/>
                <a:gd name="T4" fmla="*/ 49 w 54"/>
                <a:gd name="T5" fmla="*/ 51 h 84"/>
                <a:gd name="T6" fmla="*/ 44 w 54"/>
                <a:gd name="T7" fmla="*/ 44 h 84"/>
                <a:gd name="T8" fmla="*/ 46 w 54"/>
                <a:gd name="T9" fmla="*/ 43 h 84"/>
                <a:gd name="T10" fmla="*/ 44 w 54"/>
                <a:gd name="T11" fmla="*/ 38 h 84"/>
                <a:gd name="T12" fmla="*/ 45 w 54"/>
                <a:gd name="T13" fmla="*/ 36 h 84"/>
                <a:gd name="T14" fmla="*/ 44 w 54"/>
                <a:gd name="T15" fmla="*/ 32 h 84"/>
                <a:gd name="T16" fmla="*/ 42 w 54"/>
                <a:gd name="T17" fmla="*/ 26 h 84"/>
                <a:gd name="T18" fmla="*/ 45 w 54"/>
                <a:gd name="T19" fmla="*/ 23 h 84"/>
                <a:gd name="T20" fmla="*/ 44 w 54"/>
                <a:gd name="T21" fmla="*/ 19 h 84"/>
                <a:gd name="T22" fmla="*/ 38 w 54"/>
                <a:gd name="T23" fmla="*/ 13 h 84"/>
                <a:gd name="T24" fmla="*/ 40 w 54"/>
                <a:gd name="T25" fmla="*/ 12 h 84"/>
                <a:gd name="T26" fmla="*/ 39 w 54"/>
                <a:gd name="T27" fmla="*/ 10 h 84"/>
                <a:gd name="T28" fmla="*/ 41 w 54"/>
                <a:gd name="T29" fmla="*/ 3 h 84"/>
                <a:gd name="T30" fmla="*/ 37 w 54"/>
                <a:gd name="T31" fmla="*/ 1 h 84"/>
                <a:gd name="T32" fmla="*/ 34 w 54"/>
                <a:gd name="T33" fmla="*/ 0 h 84"/>
                <a:gd name="T34" fmla="*/ 29 w 54"/>
                <a:gd name="T35" fmla="*/ 1 h 84"/>
                <a:gd name="T36" fmla="*/ 25 w 54"/>
                <a:gd name="T37" fmla="*/ 5 h 84"/>
                <a:gd name="T38" fmla="*/ 24 w 54"/>
                <a:gd name="T39" fmla="*/ 10 h 84"/>
                <a:gd name="T40" fmla="*/ 21 w 54"/>
                <a:gd name="T41" fmla="*/ 13 h 84"/>
                <a:gd name="T42" fmla="*/ 17 w 54"/>
                <a:gd name="T43" fmla="*/ 11 h 84"/>
                <a:gd name="T44" fmla="*/ 14 w 54"/>
                <a:gd name="T45" fmla="*/ 12 h 84"/>
                <a:gd name="T46" fmla="*/ 7 w 54"/>
                <a:gd name="T47" fmla="*/ 10 h 84"/>
                <a:gd name="T48" fmla="*/ 4 w 54"/>
                <a:gd name="T49" fmla="*/ 7 h 84"/>
                <a:gd name="T50" fmla="*/ 0 w 54"/>
                <a:gd name="T51" fmla="*/ 9 h 84"/>
                <a:gd name="T52" fmla="*/ 8 w 54"/>
                <a:gd name="T53" fmla="*/ 14 h 84"/>
                <a:gd name="T54" fmla="*/ 12 w 54"/>
                <a:gd name="T55" fmla="*/ 16 h 84"/>
                <a:gd name="T56" fmla="*/ 14 w 54"/>
                <a:gd name="T57" fmla="*/ 19 h 84"/>
                <a:gd name="T58" fmla="*/ 14 w 54"/>
                <a:gd name="T59" fmla="*/ 21 h 84"/>
                <a:gd name="T60" fmla="*/ 15 w 54"/>
                <a:gd name="T61" fmla="*/ 24 h 84"/>
                <a:gd name="T62" fmla="*/ 15 w 54"/>
                <a:gd name="T63" fmla="*/ 27 h 84"/>
                <a:gd name="T64" fmla="*/ 16 w 54"/>
                <a:gd name="T65" fmla="*/ 29 h 84"/>
                <a:gd name="T66" fmla="*/ 15 w 54"/>
                <a:gd name="T67" fmla="*/ 33 h 84"/>
                <a:gd name="T68" fmla="*/ 17 w 54"/>
                <a:gd name="T69" fmla="*/ 36 h 84"/>
                <a:gd name="T70" fmla="*/ 21 w 54"/>
                <a:gd name="T71" fmla="*/ 38 h 84"/>
                <a:gd name="T72" fmla="*/ 22 w 54"/>
                <a:gd name="T73" fmla="*/ 41 h 84"/>
                <a:gd name="T74" fmla="*/ 23 w 54"/>
                <a:gd name="T75" fmla="*/ 44 h 84"/>
                <a:gd name="T76" fmla="*/ 20 w 54"/>
                <a:gd name="T77" fmla="*/ 44 h 84"/>
                <a:gd name="T78" fmla="*/ 16 w 54"/>
                <a:gd name="T79" fmla="*/ 49 h 84"/>
                <a:gd name="T80" fmla="*/ 13 w 54"/>
                <a:gd name="T81" fmla="*/ 51 h 84"/>
                <a:gd name="T82" fmla="*/ 10 w 54"/>
                <a:gd name="T83" fmla="*/ 54 h 84"/>
                <a:gd name="T84" fmla="*/ 4 w 54"/>
                <a:gd name="T85" fmla="*/ 57 h 84"/>
                <a:gd name="T86" fmla="*/ 2 w 54"/>
                <a:gd name="T87" fmla="*/ 62 h 84"/>
                <a:gd name="T88" fmla="*/ 4 w 54"/>
                <a:gd name="T89" fmla="*/ 67 h 84"/>
                <a:gd name="T90" fmla="*/ 4 w 54"/>
                <a:gd name="T91" fmla="*/ 73 h 84"/>
                <a:gd name="T92" fmla="*/ 4 w 54"/>
                <a:gd name="T93" fmla="*/ 78 h 84"/>
                <a:gd name="T94" fmla="*/ 7 w 54"/>
                <a:gd name="T95" fmla="*/ 80 h 84"/>
                <a:gd name="T96" fmla="*/ 5 w 54"/>
                <a:gd name="T97" fmla="*/ 81 h 84"/>
                <a:gd name="T98" fmla="*/ 8 w 54"/>
                <a:gd name="T99" fmla="*/ 79 h 84"/>
                <a:gd name="T100" fmla="*/ 8 w 54"/>
                <a:gd name="T101" fmla="*/ 83 h 84"/>
                <a:gd name="T102" fmla="*/ 11 w 54"/>
                <a:gd name="T103" fmla="*/ 80 h 84"/>
                <a:gd name="T104" fmla="*/ 11 w 54"/>
                <a:gd name="T105" fmla="*/ 83 h 84"/>
                <a:gd name="T106" fmla="*/ 23 w 54"/>
                <a:gd name="T107" fmla="*/ 80 h 84"/>
                <a:gd name="T108" fmla="*/ 36 w 54"/>
                <a:gd name="T109" fmla="*/ 78 h 84"/>
                <a:gd name="T110" fmla="*/ 46 w 54"/>
                <a:gd name="T111" fmla="*/ 68 h 84"/>
                <a:gd name="T112" fmla="*/ 53 w 54"/>
                <a:gd name="T113" fmla="*/ 59 h 84"/>
                <a:gd name="T114" fmla="*/ 53 w 54"/>
                <a:gd name="T115" fmla="*/ 59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4" h="84">
                  <a:moveTo>
                    <a:pt x="53" y="59"/>
                  </a:moveTo>
                  <a:cubicBezTo>
                    <a:pt x="52" y="57"/>
                    <a:pt x="49" y="56"/>
                    <a:pt x="47" y="55"/>
                  </a:cubicBezTo>
                  <a:cubicBezTo>
                    <a:pt x="44" y="53"/>
                    <a:pt x="48" y="53"/>
                    <a:pt x="49" y="51"/>
                  </a:cubicBezTo>
                  <a:cubicBezTo>
                    <a:pt x="49" y="51"/>
                    <a:pt x="45" y="45"/>
                    <a:pt x="44" y="44"/>
                  </a:cubicBezTo>
                  <a:cubicBezTo>
                    <a:pt x="44" y="44"/>
                    <a:pt x="46" y="43"/>
                    <a:pt x="46" y="43"/>
                  </a:cubicBezTo>
                  <a:cubicBezTo>
                    <a:pt x="46" y="42"/>
                    <a:pt x="44" y="39"/>
                    <a:pt x="44" y="38"/>
                  </a:cubicBezTo>
                  <a:cubicBezTo>
                    <a:pt x="44" y="37"/>
                    <a:pt x="45" y="37"/>
                    <a:pt x="45" y="36"/>
                  </a:cubicBezTo>
                  <a:cubicBezTo>
                    <a:pt x="46" y="35"/>
                    <a:pt x="44" y="33"/>
                    <a:pt x="44" y="32"/>
                  </a:cubicBezTo>
                  <a:cubicBezTo>
                    <a:pt x="42" y="30"/>
                    <a:pt x="40" y="28"/>
                    <a:pt x="42" y="26"/>
                  </a:cubicBezTo>
                  <a:cubicBezTo>
                    <a:pt x="43" y="25"/>
                    <a:pt x="45" y="24"/>
                    <a:pt x="45" y="23"/>
                  </a:cubicBezTo>
                  <a:cubicBezTo>
                    <a:pt x="46" y="21"/>
                    <a:pt x="44" y="20"/>
                    <a:pt x="44" y="19"/>
                  </a:cubicBezTo>
                  <a:cubicBezTo>
                    <a:pt x="43" y="18"/>
                    <a:pt x="36" y="15"/>
                    <a:pt x="38" y="13"/>
                  </a:cubicBezTo>
                  <a:cubicBezTo>
                    <a:pt x="38" y="13"/>
                    <a:pt x="40" y="12"/>
                    <a:pt x="40" y="12"/>
                  </a:cubicBezTo>
                  <a:cubicBezTo>
                    <a:pt x="40" y="12"/>
                    <a:pt x="37" y="10"/>
                    <a:pt x="39" y="10"/>
                  </a:cubicBezTo>
                  <a:cubicBezTo>
                    <a:pt x="42" y="10"/>
                    <a:pt x="44" y="5"/>
                    <a:pt x="41" y="3"/>
                  </a:cubicBezTo>
                  <a:cubicBezTo>
                    <a:pt x="40" y="2"/>
                    <a:pt x="38" y="2"/>
                    <a:pt x="37" y="1"/>
                  </a:cubicBezTo>
                  <a:cubicBezTo>
                    <a:pt x="36" y="0"/>
                    <a:pt x="35" y="0"/>
                    <a:pt x="34" y="0"/>
                  </a:cubicBezTo>
                  <a:cubicBezTo>
                    <a:pt x="32" y="1"/>
                    <a:pt x="31" y="0"/>
                    <a:pt x="29" y="1"/>
                  </a:cubicBezTo>
                  <a:cubicBezTo>
                    <a:pt x="28" y="2"/>
                    <a:pt x="26" y="4"/>
                    <a:pt x="25" y="5"/>
                  </a:cubicBezTo>
                  <a:cubicBezTo>
                    <a:pt x="25" y="6"/>
                    <a:pt x="25" y="10"/>
                    <a:pt x="24" y="10"/>
                  </a:cubicBezTo>
                  <a:cubicBezTo>
                    <a:pt x="23" y="11"/>
                    <a:pt x="22" y="12"/>
                    <a:pt x="21" y="13"/>
                  </a:cubicBezTo>
                  <a:cubicBezTo>
                    <a:pt x="20" y="13"/>
                    <a:pt x="18" y="11"/>
                    <a:pt x="17" y="11"/>
                  </a:cubicBezTo>
                  <a:cubicBezTo>
                    <a:pt x="16" y="11"/>
                    <a:pt x="15" y="12"/>
                    <a:pt x="14" y="12"/>
                  </a:cubicBezTo>
                  <a:cubicBezTo>
                    <a:pt x="11" y="13"/>
                    <a:pt x="9" y="12"/>
                    <a:pt x="7" y="10"/>
                  </a:cubicBezTo>
                  <a:cubicBezTo>
                    <a:pt x="7" y="9"/>
                    <a:pt x="5" y="7"/>
                    <a:pt x="4" y="7"/>
                  </a:cubicBezTo>
                  <a:cubicBezTo>
                    <a:pt x="3" y="7"/>
                    <a:pt x="1" y="9"/>
                    <a:pt x="0" y="9"/>
                  </a:cubicBezTo>
                  <a:cubicBezTo>
                    <a:pt x="2" y="11"/>
                    <a:pt x="5" y="13"/>
                    <a:pt x="8" y="14"/>
                  </a:cubicBezTo>
                  <a:cubicBezTo>
                    <a:pt x="9" y="14"/>
                    <a:pt x="11" y="15"/>
                    <a:pt x="12" y="16"/>
                  </a:cubicBezTo>
                  <a:cubicBezTo>
                    <a:pt x="13" y="17"/>
                    <a:pt x="13" y="18"/>
                    <a:pt x="14" y="19"/>
                  </a:cubicBezTo>
                  <a:cubicBezTo>
                    <a:pt x="14" y="20"/>
                    <a:pt x="13" y="20"/>
                    <a:pt x="14" y="21"/>
                  </a:cubicBezTo>
                  <a:cubicBezTo>
                    <a:pt x="14" y="22"/>
                    <a:pt x="16" y="23"/>
                    <a:pt x="15" y="24"/>
                  </a:cubicBezTo>
                  <a:cubicBezTo>
                    <a:pt x="15" y="25"/>
                    <a:pt x="14" y="26"/>
                    <a:pt x="15" y="27"/>
                  </a:cubicBezTo>
                  <a:cubicBezTo>
                    <a:pt x="15" y="27"/>
                    <a:pt x="16" y="29"/>
                    <a:pt x="16" y="29"/>
                  </a:cubicBezTo>
                  <a:cubicBezTo>
                    <a:pt x="15" y="30"/>
                    <a:pt x="15" y="32"/>
                    <a:pt x="15" y="33"/>
                  </a:cubicBezTo>
                  <a:cubicBezTo>
                    <a:pt x="15" y="33"/>
                    <a:pt x="17" y="36"/>
                    <a:pt x="17" y="36"/>
                  </a:cubicBezTo>
                  <a:cubicBezTo>
                    <a:pt x="18" y="37"/>
                    <a:pt x="20" y="38"/>
                    <a:pt x="21" y="38"/>
                  </a:cubicBezTo>
                  <a:cubicBezTo>
                    <a:pt x="22" y="39"/>
                    <a:pt x="22" y="40"/>
                    <a:pt x="22" y="41"/>
                  </a:cubicBezTo>
                  <a:cubicBezTo>
                    <a:pt x="22" y="42"/>
                    <a:pt x="23" y="43"/>
                    <a:pt x="23" y="44"/>
                  </a:cubicBezTo>
                  <a:cubicBezTo>
                    <a:pt x="23" y="45"/>
                    <a:pt x="21" y="44"/>
                    <a:pt x="20" y="44"/>
                  </a:cubicBezTo>
                  <a:cubicBezTo>
                    <a:pt x="19" y="44"/>
                    <a:pt x="16" y="48"/>
                    <a:pt x="16" y="49"/>
                  </a:cubicBezTo>
                  <a:cubicBezTo>
                    <a:pt x="15" y="50"/>
                    <a:pt x="14" y="50"/>
                    <a:pt x="13" y="51"/>
                  </a:cubicBezTo>
                  <a:cubicBezTo>
                    <a:pt x="12" y="52"/>
                    <a:pt x="11" y="53"/>
                    <a:pt x="10" y="54"/>
                  </a:cubicBezTo>
                  <a:cubicBezTo>
                    <a:pt x="9" y="54"/>
                    <a:pt x="4" y="58"/>
                    <a:pt x="4" y="57"/>
                  </a:cubicBezTo>
                  <a:cubicBezTo>
                    <a:pt x="4" y="59"/>
                    <a:pt x="2" y="60"/>
                    <a:pt x="2" y="62"/>
                  </a:cubicBezTo>
                  <a:cubicBezTo>
                    <a:pt x="3" y="64"/>
                    <a:pt x="2" y="67"/>
                    <a:pt x="4" y="67"/>
                  </a:cubicBezTo>
                  <a:cubicBezTo>
                    <a:pt x="5" y="67"/>
                    <a:pt x="4" y="72"/>
                    <a:pt x="4" y="73"/>
                  </a:cubicBezTo>
                  <a:cubicBezTo>
                    <a:pt x="4" y="75"/>
                    <a:pt x="2" y="77"/>
                    <a:pt x="4" y="78"/>
                  </a:cubicBezTo>
                  <a:cubicBezTo>
                    <a:pt x="4" y="78"/>
                    <a:pt x="8" y="79"/>
                    <a:pt x="7" y="80"/>
                  </a:cubicBezTo>
                  <a:cubicBezTo>
                    <a:pt x="7" y="80"/>
                    <a:pt x="5" y="81"/>
                    <a:pt x="5" y="81"/>
                  </a:cubicBezTo>
                  <a:cubicBezTo>
                    <a:pt x="7" y="81"/>
                    <a:pt x="7" y="79"/>
                    <a:pt x="8" y="79"/>
                  </a:cubicBezTo>
                  <a:cubicBezTo>
                    <a:pt x="10" y="78"/>
                    <a:pt x="8" y="83"/>
                    <a:pt x="8" y="83"/>
                  </a:cubicBezTo>
                  <a:cubicBezTo>
                    <a:pt x="8" y="83"/>
                    <a:pt x="11" y="80"/>
                    <a:pt x="11" y="80"/>
                  </a:cubicBezTo>
                  <a:cubicBezTo>
                    <a:pt x="12" y="79"/>
                    <a:pt x="11" y="83"/>
                    <a:pt x="11" y="83"/>
                  </a:cubicBezTo>
                  <a:cubicBezTo>
                    <a:pt x="14" y="84"/>
                    <a:pt x="20" y="81"/>
                    <a:pt x="23" y="80"/>
                  </a:cubicBezTo>
                  <a:cubicBezTo>
                    <a:pt x="27" y="79"/>
                    <a:pt x="31" y="79"/>
                    <a:pt x="36" y="78"/>
                  </a:cubicBezTo>
                  <a:cubicBezTo>
                    <a:pt x="39" y="74"/>
                    <a:pt x="43" y="71"/>
                    <a:pt x="46" y="68"/>
                  </a:cubicBezTo>
                  <a:cubicBezTo>
                    <a:pt x="48" y="66"/>
                    <a:pt x="54" y="62"/>
                    <a:pt x="53" y="59"/>
                  </a:cubicBezTo>
                  <a:cubicBezTo>
                    <a:pt x="52" y="57"/>
                    <a:pt x="54" y="62"/>
                    <a:pt x="53" y="59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03" name="Freeform 719">
              <a:extLst>
                <a:ext uri="{FF2B5EF4-FFF2-40B4-BE49-F238E27FC236}">
                  <a16:creationId xmlns:a16="http://schemas.microsoft.com/office/drawing/2014/main" id="{78C8A61F-36EC-7EAD-9678-91D9CF67DEA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57410" y="1900376"/>
              <a:ext cx="670595" cy="594203"/>
            </a:xfrm>
            <a:custGeom>
              <a:avLst/>
              <a:gdLst>
                <a:gd name="T0" fmla="*/ 38 w 128"/>
                <a:gd name="T1" fmla="*/ 87 h 107"/>
                <a:gd name="T2" fmla="*/ 38 w 128"/>
                <a:gd name="T3" fmla="*/ 63 h 107"/>
                <a:gd name="T4" fmla="*/ 47 w 128"/>
                <a:gd name="T5" fmla="*/ 52 h 107"/>
                <a:gd name="T6" fmla="*/ 56 w 128"/>
                <a:gd name="T7" fmla="*/ 34 h 107"/>
                <a:gd name="T8" fmla="*/ 72 w 128"/>
                <a:gd name="T9" fmla="*/ 25 h 107"/>
                <a:gd name="T10" fmla="*/ 86 w 128"/>
                <a:gd name="T11" fmla="*/ 22 h 107"/>
                <a:gd name="T12" fmla="*/ 102 w 128"/>
                <a:gd name="T13" fmla="*/ 20 h 107"/>
                <a:gd name="T14" fmla="*/ 112 w 128"/>
                <a:gd name="T15" fmla="*/ 10 h 107"/>
                <a:gd name="T16" fmla="*/ 120 w 128"/>
                <a:gd name="T17" fmla="*/ 13 h 107"/>
                <a:gd name="T18" fmla="*/ 127 w 128"/>
                <a:gd name="T19" fmla="*/ 6 h 107"/>
                <a:gd name="T20" fmla="*/ 114 w 128"/>
                <a:gd name="T21" fmla="*/ 5 h 107"/>
                <a:gd name="T22" fmla="*/ 116 w 128"/>
                <a:gd name="T23" fmla="*/ 2 h 107"/>
                <a:gd name="T24" fmla="*/ 106 w 128"/>
                <a:gd name="T25" fmla="*/ 3 h 107"/>
                <a:gd name="T26" fmla="*/ 100 w 128"/>
                <a:gd name="T27" fmla="*/ 1 h 107"/>
                <a:gd name="T28" fmla="*/ 95 w 128"/>
                <a:gd name="T29" fmla="*/ 3 h 107"/>
                <a:gd name="T30" fmla="*/ 91 w 128"/>
                <a:gd name="T31" fmla="*/ 6 h 107"/>
                <a:gd name="T32" fmla="*/ 90 w 128"/>
                <a:gd name="T33" fmla="*/ 11 h 107"/>
                <a:gd name="T34" fmla="*/ 84 w 128"/>
                <a:gd name="T35" fmla="*/ 10 h 107"/>
                <a:gd name="T36" fmla="*/ 80 w 128"/>
                <a:gd name="T37" fmla="*/ 13 h 107"/>
                <a:gd name="T38" fmla="*/ 76 w 128"/>
                <a:gd name="T39" fmla="*/ 15 h 107"/>
                <a:gd name="T40" fmla="*/ 72 w 128"/>
                <a:gd name="T41" fmla="*/ 16 h 107"/>
                <a:gd name="T42" fmla="*/ 68 w 128"/>
                <a:gd name="T43" fmla="*/ 10 h 107"/>
                <a:gd name="T44" fmla="*/ 67 w 128"/>
                <a:gd name="T45" fmla="*/ 14 h 107"/>
                <a:gd name="T46" fmla="*/ 65 w 128"/>
                <a:gd name="T47" fmla="*/ 14 h 107"/>
                <a:gd name="T48" fmla="*/ 62 w 128"/>
                <a:gd name="T49" fmla="*/ 18 h 107"/>
                <a:gd name="T50" fmla="*/ 61 w 128"/>
                <a:gd name="T51" fmla="*/ 21 h 107"/>
                <a:gd name="T52" fmla="*/ 57 w 128"/>
                <a:gd name="T53" fmla="*/ 20 h 107"/>
                <a:gd name="T54" fmla="*/ 54 w 128"/>
                <a:gd name="T55" fmla="*/ 20 h 107"/>
                <a:gd name="T56" fmla="*/ 51 w 128"/>
                <a:gd name="T57" fmla="*/ 22 h 107"/>
                <a:gd name="T58" fmla="*/ 49 w 128"/>
                <a:gd name="T59" fmla="*/ 23 h 107"/>
                <a:gd name="T60" fmla="*/ 54 w 128"/>
                <a:gd name="T61" fmla="*/ 25 h 107"/>
                <a:gd name="T62" fmla="*/ 56 w 128"/>
                <a:gd name="T63" fmla="*/ 25 h 107"/>
                <a:gd name="T64" fmla="*/ 57 w 128"/>
                <a:gd name="T65" fmla="*/ 28 h 107"/>
                <a:gd name="T66" fmla="*/ 49 w 128"/>
                <a:gd name="T67" fmla="*/ 31 h 107"/>
                <a:gd name="T68" fmla="*/ 53 w 128"/>
                <a:gd name="T69" fmla="*/ 33 h 107"/>
                <a:gd name="T70" fmla="*/ 49 w 128"/>
                <a:gd name="T71" fmla="*/ 35 h 107"/>
                <a:gd name="T72" fmla="*/ 43 w 128"/>
                <a:gd name="T73" fmla="*/ 40 h 107"/>
                <a:gd name="T74" fmla="*/ 42 w 128"/>
                <a:gd name="T75" fmla="*/ 43 h 107"/>
                <a:gd name="T76" fmla="*/ 39 w 128"/>
                <a:gd name="T77" fmla="*/ 45 h 107"/>
                <a:gd name="T78" fmla="*/ 39 w 128"/>
                <a:gd name="T79" fmla="*/ 49 h 107"/>
                <a:gd name="T80" fmla="*/ 39 w 128"/>
                <a:gd name="T81" fmla="*/ 52 h 107"/>
                <a:gd name="T82" fmla="*/ 35 w 128"/>
                <a:gd name="T83" fmla="*/ 56 h 107"/>
                <a:gd name="T84" fmla="*/ 27 w 128"/>
                <a:gd name="T85" fmla="*/ 62 h 107"/>
                <a:gd name="T86" fmla="*/ 31 w 128"/>
                <a:gd name="T87" fmla="*/ 64 h 107"/>
                <a:gd name="T88" fmla="*/ 28 w 128"/>
                <a:gd name="T89" fmla="*/ 66 h 107"/>
                <a:gd name="T90" fmla="*/ 19 w 128"/>
                <a:gd name="T91" fmla="*/ 68 h 107"/>
                <a:gd name="T92" fmla="*/ 16 w 128"/>
                <a:gd name="T93" fmla="*/ 72 h 107"/>
                <a:gd name="T94" fmla="*/ 10 w 128"/>
                <a:gd name="T95" fmla="*/ 73 h 107"/>
                <a:gd name="T96" fmla="*/ 10 w 128"/>
                <a:gd name="T97" fmla="*/ 74 h 107"/>
                <a:gd name="T98" fmla="*/ 5 w 128"/>
                <a:gd name="T99" fmla="*/ 75 h 107"/>
                <a:gd name="T100" fmla="*/ 4 w 128"/>
                <a:gd name="T101" fmla="*/ 81 h 107"/>
                <a:gd name="T102" fmla="*/ 1 w 128"/>
                <a:gd name="T103" fmla="*/ 86 h 107"/>
                <a:gd name="T104" fmla="*/ 6 w 128"/>
                <a:gd name="T105" fmla="*/ 92 h 107"/>
                <a:gd name="T106" fmla="*/ 7 w 128"/>
                <a:gd name="T107" fmla="*/ 94 h 107"/>
                <a:gd name="T108" fmla="*/ 3 w 128"/>
                <a:gd name="T109" fmla="*/ 93 h 107"/>
                <a:gd name="T110" fmla="*/ 5 w 128"/>
                <a:gd name="T111" fmla="*/ 97 h 107"/>
                <a:gd name="T112" fmla="*/ 5 w 128"/>
                <a:gd name="T113" fmla="*/ 103 h 107"/>
                <a:gd name="T114" fmla="*/ 27 w 128"/>
                <a:gd name="T115" fmla="*/ 99 h 107"/>
                <a:gd name="T116" fmla="*/ 34 w 128"/>
                <a:gd name="T117" fmla="*/ 101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28" h="107">
                  <a:moveTo>
                    <a:pt x="34" y="101"/>
                  </a:moveTo>
                  <a:cubicBezTo>
                    <a:pt x="34" y="101"/>
                    <a:pt x="35" y="98"/>
                    <a:pt x="35" y="97"/>
                  </a:cubicBezTo>
                  <a:cubicBezTo>
                    <a:pt x="35" y="95"/>
                    <a:pt x="36" y="94"/>
                    <a:pt x="38" y="93"/>
                  </a:cubicBezTo>
                  <a:cubicBezTo>
                    <a:pt x="40" y="91"/>
                    <a:pt x="38" y="88"/>
                    <a:pt x="38" y="87"/>
                  </a:cubicBezTo>
                  <a:cubicBezTo>
                    <a:pt x="38" y="84"/>
                    <a:pt x="42" y="84"/>
                    <a:pt x="39" y="82"/>
                  </a:cubicBezTo>
                  <a:cubicBezTo>
                    <a:pt x="37" y="80"/>
                    <a:pt x="36" y="80"/>
                    <a:pt x="37" y="77"/>
                  </a:cubicBezTo>
                  <a:cubicBezTo>
                    <a:pt x="38" y="75"/>
                    <a:pt x="37" y="73"/>
                    <a:pt x="37" y="71"/>
                  </a:cubicBezTo>
                  <a:cubicBezTo>
                    <a:pt x="36" y="68"/>
                    <a:pt x="35" y="65"/>
                    <a:pt x="38" y="63"/>
                  </a:cubicBezTo>
                  <a:cubicBezTo>
                    <a:pt x="39" y="62"/>
                    <a:pt x="41" y="62"/>
                    <a:pt x="42" y="61"/>
                  </a:cubicBezTo>
                  <a:cubicBezTo>
                    <a:pt x="43" y="61"/>
                    <a:pt x="44" y="62"/>
                    <a:pt x="45" y="61"/>
                  </a:cubicBezTo>
                  <a:cubicBezTo>
                    <a:pt x="46" y="59"/>
                    <a:pt x="45" y="58"/>
                    <a:pt x="44" y="57"/>
                  </a:cubicBezTo>
                  <a:cubicBezTo>
                    <a:pt x="44" y="55"/>
                    <a:pt x="46" y="54"/>
                    <a:pt x="47" y="52"/>
                  </a:cubicBezTo>
                  <a:cubicBezTo>
                    <a:pt x="47" y="51"/>
                    <a:pt x="48" y="48"/>
                    <a:pt x="48" y="46"/>
                  </a:cubicBezTo>
                  <a:cubicBezTo>
                    <a:pt x="48" y="44"/>
                    <a:pt x="52" y="44"/>
                    <a:pt x="51" y="43"/>
                  </a:cubicBezTo>
                  <a:cubicBezTo>
                    <a:pt x="51" y="41"/>
                    <a:pt x="53" y="40"/>
                    <a:pt x="54" y="38"/>
                  </a:cubicBezTo>
                  <a:cubicBezTo>
                    <a:pt x="56" y="36"/>
                    <a:pt x="56" y="37"/>
                    <a:pt x="56" y="34"/>
                  </a:cubicBezTo>
                  <a:cubicBezTo>
                    <a:pt x="55" y="33"/>
                    <a:pt x="59" y="28"/>
                    <a:pt x="60" y="28"/>
                  </a:cubicBezTo>
                  <a:cubicBezTo>
                    <a:pt x="61" y="27"/>
                    <a:pt x="64" y="28"/>
                    <a:pt x="65" y="28"/>
                  </a:cubicBezTo>
                  <a:cubicBezTo>
                    <a:pt x="65" y="26"/>
                    <a:pt x="65" y="25"/>
                    <a:pt x="65" y="23"/>
                  </a:cubicBezTo>
                  <a:cubicBezTo>
                    <a:pt x="68" y="24"/>
                    <a:pt x="70" y="24"/>
                    <a:pt x="72" y="25"/>
                  </a:cubicBezTo>
                  <a:cubicBezTo>
                    <a:pt x="76" y="25"/>
                    <a:pt x="74" y="21"/>
                    <a:pt x="75" y="19"/>
                  </a:cubicBezTo>
                  <a:cubicBezTo>
                    <a:pt x="75" y="19"/>
                    <a:pt x="77" y="19"/>
                    <a:pt x="78" y="19"/>
                  </a:cubicBezTo>
                  <a:cubicBezTo>
                    <a:pt x="79" y="18"/>
                    <a:pt x="81" y="16"/>
                    <a:pt x="82" y="18"/>
                  </a:cubicBezTo>
                  <a:cubicBezTo>
                    <a:pt x="84" y="19"/>
                    <a:pt x="84" y="21"/>
                    <a:pt x="86" y="22"/>
                  </a:cubicBezTo>
                  <a:cubicBezTo>
                    <a:pt x="87" y="22"/>
                    <a:pt x="89" y="22"/>
                    <a:pt x="90" y="22"/>
                  </a:cubicBezTo>
                  <a:cubicBezTo>
                    <a:pt x="91" y="22"/>
                    <a:pt x="92" y="21"/>
                    <a:pt x="94" y="21"/>
                  </a:cubicBezTo>
                  <a:cubicBezTo>
                    <a:pt x="95" y="21"/>
                    <a:pt x="96" y="23"/>
                    <a:pt x="98" y="23"/>
                  </a:cubicBezTo>
                  <a:cubicBezTo>
                    <a:pt x="98" y="22"/>
                    <a:pt x="102" y="20"/>
                    <a:pt x="102" y="20"/>
                  </a:cubicBezTo>
                  <a:cubicBezTo>
                    <a:pt x="102" y="17"/>
                    <a:pt x="102" y="16"/>
                    <a:pt x="103" y="14"/>
                  </a:cubicBezTo>
                  <a:cubicBezTo>
                    <a:pt x="104" y="13"/>
                    <a:pt x="106" y="11"/>
                    <a:pt x="107" y="11"/>
                  </a:cubicBezTo>
                  <a:cubicBezTo>
                    <a:pt x="108" y="11"/>
                    <a:pt x="109" y="11"/>
                    <a:pt x="110" y="11"/>
                  </a:cubicBezTo>
                  <a:cubicBezTo>
                    <a:pt x="111" y="11"/>
                    <a:pt x="111" y="10"/>
                    <a:pt x="112" y="10"/>
                  </a:cubicBezTo>
                  <a:cubicBezTo>
                    <a:pt x="113" y="10"/>
                    <a:pt x="115" y="12"/>
                    <a:pt x="116" y="12"/>
                  </a:cubicBezTo>
                  <a:cubicBezTo>
                    <a:pt x="118" y="13"/>
                    <a:pt x="119" y="14"/>
                    <a:pt x="119" y="17"/>
                  </a:cubicBezTo>
                  <a:cubicBezTo>
                    <a:pt x="121" y="17"/>
                    <a:pt x="126" y="14"/>
                    <a:pt x="124" y="12"/>
                  </a:cubicBezTo>
                  <a:cubicBezTo>
                    <a:pt x="126" y="13"/>
                    <a:pt x="121" y="13"/>
                    <a:pt x="120" y="13"/>
                  </a:cubicBezTo>
                  <a:cubicBezTo>
                    <a:pt x="125" y="12"/>
                    <a:pt x="118" y="9"/>
                    <a:pt x="117" y="10"/>
                  </a:cubicBezTo>
                  <a:cubicBezTo>
                    <a:pt x="118" y="9"/>
                    <a:pt x="119" y="10"/>
                    <a:pt x="119" y="10"/>
                  </a:cubicBezTo>
                  <a:cubicBezTo>
                    <a:pt x="121" y="10"/>
                    <a:pt x="123" y="10"/>
                    <a:pt x="124" y="9"/>
                  </a:cubicBezTo>
                  <a:cubicBezTo>
                    <a:pt x="125" y="9"/>
                    <a:pt x="128" y="7"/>
                    <a:pt x="127" y="6"/>
                  </a:cubicBezTo>
                  <a:cubicBezTo>
                    <a:pt x="125" y="5"/>
                    <a:pt x="122" y="4"/>
                    <a:pt x="119" y="3"/>
                  </a:cubicBezTo>
                  <a:cubicBezTo>
                    <a:pt x="118" y="2"/>
                    <a:pt x="117" y="4"/>
                    <a:pt x="116" y="5"/>
                  </a:cubicBezTo>
                  <a:cubicBezTo>
                    <a:pt x="116" y="5"/>
                    <a:pt x="114" y="8"/>
                    <a:pt x="114" y="7"/>
                  </a:cubicBezTo>
                  <a:cubicBezTo>
                    <a:pt x="114" y="7"/>
                    <a:pt x="114" y="6"/>
                    <a:pt x="114" y="5"/>
                  </a:cubicBezTo>
                  <a:cubicBezTo>
                    <a:pt x="114" y="5"/>
                    <a:pt x="112" y="5"/>
                    <a:pt x="112" y="5"/>
                  </a:cubicBezTo>
                  <a:cubicBezTo>
                    <a:pt x="113" y="4"/>
                    <a:pt x="115" y="5"/>
                    <a:pt x="115" y="4"/>
                  </a:cubicBezTo>
                  <a:cubicBezTo>
                    <a:pt x="115" y="4"/>
                    <a:pt x="112" y="4"/>
                    <a:pt x="112" y="4"/>
                  </a:cubicBezTo>
                  <a:cubicBezTo>
                    <a:pt x="112" y="3"/>
                    <a:pt x="116" y="3"/>
                    <a:pt x="116" y="2"/>
                  </a:cubicBezTo>
                  <a:cubicBezTo>
                    <a:pt x="115" y="1"/>
                    <a:pt x="109" y="0"/>
                    <a:pt x="110" y="2"/>
                  </a:cubicBezTo>
                  <a:cubicBezTo>
                    <a:pt x="111" y="3"/>
                    <a:pt x="111" y="3"/>
                    <a:pt x="110" y="4"/>
                  </a:cubicBezTo>
                  <a:cubicBezTo>
                    <a:pt x="109" y="5"/>
                    <a:pt x="107" y="7"/>
                    <a:pt x="106" y="7"/>
                  </a:cubicBezTo>
                  <a:cubicBezTo>
                    <a:pt x="105" y="7"/>
                    <a:pt x="106" y="3"/>
                    <a:pt x="106" y="3"/>
                  </a:cubicBezTo>
                  <a:cubicBezTo>
                    <a:pt x="106" y="2"/>
                    <a:pt x="101" y="9"/>
                    <a:pt x="100" y="9"/>
                  </a:cubicBezTo>
                  <a:cubicBezTo>
                    <a:pt x="97" y="9"/>
                    <a:pt x="100" y="5"/>
                    <a:pt x="101" y="4"/>
                  </a:cubicBezTo>
                  <a:cubicBezTo>
                    <a:pt x="102" y="4"/>
                    <a:pt x="103" y="2"/>
                    <a:pt x="103" y="2"/>
                  </a:cubicBezTo>
                  <a:cubicBezTo>
                    <a:pt x="102" y="1"/>
                    <a:pt x="100" y="0"/>
                    <a:pt x="100" y="1"/>
                  </a:cubicBezTo>
                  <a:cubicBezTo>
                    <a:pt x="100" y="1"/>
                    <a:pt x="101" y="2"/>
                    <a:pt x="101" y="2"/>
                  </a:cubicBezTo>
                  <a:cubicBezTo>
                    <a:pt x="101" y="2"/>
                    <a:pt x="99" y="2"/>
                    <a:pt x="98" y="2"/>
                  </a:cubicBezTo>
                  <a:cubicBezTo>
                    <a:pt x="97" y="3"/>
                    <a:pt x="98" y="2"/>
                    <a:pt x="97" y="1"/>
                  </a:cubicBezTo>
                  <a:cubicBezTo>
                    <a:pt x="97" y="1"/>
                    <a:pt x="95" y="3"/>
                    <a:pt x="95" y="3"/>
                  </a:cubicBezTo>
                  <a:cubicBezTo>
                    <a:pt x="95" y="4"/>
                    <a:pt x="97" y="5"/>
                    <a:pt x="96" y="5"/>
                  </a:cubicBezTo>
                  <a:cubicBezTo>
                    <a:pt x="95" y="5"/>
                    <a:pt x="95" y="5"/>
                    <a:pt x="95" y="5"/>
                  </a:cubicBezTo>
                  <a:cubicBezTo>
                    <a:pt x="94" y="5"/>
                    <a:pt x="94" y="6"/>
                    <a:pt x="94" y="7"/>
                  </a:cubicBezTo>
                  <a:cubicBezTo>
                    <a:pt x="95" y="5"/>
                    <a:pt x="91" y="6"/>
                    <a:pt x="91" y="6"/>
                  </a:cubicBezTo>
                  <a:cubicBezTo>
                    <a:pt x="91" y="6"/>
                    <a:pt x="93" y="5"/>
                    <a:pt x="93" y="4"/>
                  </a:cubicBezTo>
                  <a:cubicBezTo>
                    <a:pt x="93" y="5"/>
                    <a:pt x="89" y="6"/>
                    <a:pt x="88" y="6"/>
                  </a:cubicBezTo>
                  <a:cubicBezTo>
                    <a:pt x="87" y="6"/>
                    <a:pt x="91" y="9"/>
                    <a:pt x="91" y="9"/>
                  </a:cubicBezTo>
                  <a:cubicBezTo>
                    <a:pt x="91" y="9"/>
                    <a:pt x="90" y="11"/>
                    <a:pt x="90" y="11"/>
                  </a:cubicBezTo>
                  <a:cubicBezTo>
                    <a:pt x="90" y="11"/>
                    <a:pt x="87" y="8"/>
                    <a:pt x="87" y="8"/>
                  </a:cubicBezTo>
                  <a:cubicBezTo>
                    <a:pt x="87" y="8"/>
                    <a:pt x="85" y="11"/>
                    <a:pt x="85" y="8"/>
                  </a:cubicBezTo>
                  <a:cubicBezTo>
                    <a:pt x="84" y="7"/>
                    <a:pt x="81" y="9"/>
                    <a:pt x="80" y="8"/>
                  </a:cubicBezTo>
                  <a:cubicBezTo>
                    <a:pt x="81" y="9"/>
                    <a:pt x="84" y="9"/>
                    <a:pt x="84" y="10"/>
                  </a:cubicBezTo>
                  <a:cubicBezTo>
                    <a:pt x="84" y="10"/>
                    <a:pt x="83" y="10"/>
                    <a:pt x="83" y="11"/>
                  </a:cubicBezTo>
                  <a:cubicBezTo>
                    <a:pt x="83" y="12"/>
                    <a:pt x="84" y="12"/>
                    <a:pt x="84" y="13"/>
                  </a:cubicBezTo>
                  <a:cubicBezTo>
                    <a:pt x="84" y="13"/>
                    <a:pt x="81" y="12"/>
                    <a:pt x="81" y="11"/>
                  </a:cubicBezTo>
                  <a:cubicBezTo>
                    <a:pt x="80" y="11"/>
                    <a:pt x="80" y="12"/>
                    <a:pt x="80" y="13"/>
                  </a:cubicBezTo>
                  <a:cubicBezTo>
                    <a:pt x="79" y="13"/>
                    <a:pt x="79" y="12"/>
                    <a:pt x="79" y="11"/>
                  </a:cubicBezTo>
                  <a:cubicBezTo>
                    <a:pt x="79" y="11"/>
                    <a:pt x="77" y="13"/>
                    <a:pt x="77" y="13"/>
                  </a:cubicBezTo>
                  <a:cubicBezTo>
                    <a:pt x="76" y="14"/>
                    <a:pt x="78" y="14"/>
                    <a:pt x="78" y="15"/>
                  </a:cubicBezTo>
                  <a:cubicBezTo>
                    <a:pt x="78" y="15"/>
                    <a:pt x="76" y="15"/>
                    <a:pt x="76" y="15"/>
                  </a:cubicBezTo>
                  <a:cubicBezTo>
                    <a:pt x="75" y="14"/>
                    <a:pt x="76" y="13"/>
                    <a:pt x="76" y="12"/>
                  </a:cubicBezTo>
                  <a:cubicBezTo>
                    <a:pt x="76" y="12"/>
                    <a:pt x="73" y="14"/>
                    <a:pt x="73" y="14"/>
                  </a:cubicBezTo>
                  <a:cubicBezTo>
                    <a:pt x="73" y="14"/>
                    <a:pt x="73" y="14"/>
                    <a:pt x="74" y="14"/>
                  </a:cubicBezTo>
                  <a:cubicBezTo>
                    <a:pt x="73" y="14"/>
                    <a:pt x="72" y="16"/>
                    <a:pt x="72" y="16"/>
                  </a:cubicBezTo>
                  <a:cubicBezTo>
                    <a:pt x="71" y="15"/>
                    <a:pt x="73" y="14"/>
                    <a:pt x="72" y="14"/>
                  </a:cubicBezTo>
                  <a:cubicBezTo>
                    <a:pt x="71" y="13"/>
                    <a:pt x="70" y="13"/>
                    <a:pt x="70" y="12"/>
                  </a:cubicBezTo>
                  <a:cubicBezTo>
                    <a:pt x="70" y="12"/>
                    <a:pt x="72" y="12"/>
                    <a:pt x="72" y="12"/>
                  </a:cubicBezTo>
                  <a:cubicBezTo>
                    <a:pt x="72" y="11"/>
                    <a:pt x="69" y="10"/>
                    <a:pt x="68" y="10"/>
                  </a:cubicBezTo>
                  <a:cubicBezTo>
                    <a:pt x="68" y="11"/>
                    <a:pt x="69" y="13"/>
                    <a:pt x="69" y="13"/>
                  </a:cubicBezTo>
                  <a:cubicBezTo>
                    <a:pt x="69" y="13"/>
                    <a:pt x="65" y="14"/>
                    <a:pt x="66" y="14"/>
                  </a:cubicBezTo>
                  <a:cubicBezTo>
                    <a:pt x="66" y="14"/>
                    <a:pt x="68" y="14"/>
                    <a:pt x="68" y="14"/>
                  </a:cubicBezTo>
                  <a:cubicBezTo>
                    <a:pt x="68" y="14"/>
                    <a:pt x="67" y="14"/>
                    <a:pt x="67" y="14"/>
                  </a:cubicBezTo>
                  <a:cubicBezTo>
                    <a:pt x="68" y="16"/>
                    <a:pt x="70" y="14"/>
                    <a:pt x="69" y="14"/>
                  </a:cubicBezTo>
                  <a:cubicBezTo>
                    <a:pt x="70" y="15"/>
                    <a:pt x="69" y="16"/>
                    <a:pt x="69" y="16"/>
                  </a:cubicBezTo>
                  <a:cubicBezTo>
                    <a:pt x="69" y="17"/>
                    <a:pt x="67" y="15"/>
                    <a:pt x="67" y="15"/>
                  </a:cubicBezTo>
                  <a:cubicBezTo>
                    <a:pt x="66" y="15"/>
                    <a:pt x="66" y="14"/>
                    <a:pt x="65" y="14"/>
                  </a:cubicBezTo>
                  <a:cubicBezTo>
                    <a:pt x="65" y="14"/>
                    <a:pt x="64" y="16"/>
                    <a:pt x="63" y="15"/>
                  </a:cubicBezTo>
                  <a:cubicBezTo>
                    <a:pt x="63" y="14"/>
                    <a:pt x="60" y="16"/>
                    <a:pt x="60" y="16"/>
                  </a:cubicBezTo>
                  <a:cubicBezTo>
                    <a:pt x="60" y="16"/>
                    <a:pt x="60" y="19"/>
                    <a:pt x="60" y="19"/>
                  </a:cubicBezTo>
                  <a:cubicBezTo>
                    <a:pt x="60" y="20"/>
                    <a:pt x="61" y="17"/>
                    <a:pt x="62" y="18"/>
                  </a:cubicBezTo>
                  <a:cubicBezTo>
                    <a:pt x="62" y="18"/>
                    <a:pt x="64" y="19"/>
                    <a:pt x="64" y="18"/>
                  </a:cubicBezTo>
                  <a:cubicBezTo>
                    <a:pt x="64" y="19"/>
                    <a:pt x="63" y="19"/>
                    <a:pt x="63" y="20"/>
                  </a:cubicBezTo>
                  <a:cubicBezTo>
                    <a:pt x="62" y="20"/>
                    <a:pt x="63" y="22"/>
                    <a:pt x="62" y="22"/>
                  </a:cubicBezTo>
                  <a:cubicBezTo>
                    <a:pt x="62" y="23"/>
                    <a:pt x="61" y="21"/>
                    <a:pt x="61" y="21"/>
                  </a:cubicBezTo>
                  <a:cubicBezTo>
                    <a:pt x="60" y="21"/>
                    <a:pt x="60" y="23"/>
                    <a:pt x="59" y="23"/>
                  </a:cubicBezTo>
                  <a:cubicBezTo>
                    <a:pt x="59" y="23"/>
                    <a:pt x="59" y="21"/>
                    <a:pt x="59" y="21"/>
                  </a:cubicBezTo>
                  <a:cubicBezTo>
                    <a:pt x="58" y="21"/>
                    <a:pt x="58" y="22"/>
                    <a:pt x="57" y="22"/>
                  </a:cubicBezTo>
                  <a:cubicBezTo>
                    <a:pt x="57" y="22"/>
                    <a:pt x="57" y="20"/>
                    <a:pt x="57" y="20"/>
                  </a:cubicBezTo>
                  <a:cubicBezTo>
                    <a:pt x="57" y="19"/>
                    <a:pt x="56" y="22"/>
                    <a:pt x="55" y="22"/>
                  </a:cubicBezTo>
                  <a:cubicBezTo>
                    <a:pt x="53" y="23"/>
                    <a:pt x="56" y="17"/>
                    <a:pt x="56" y="17"/>
                  </a:cubicBezTo>
                  <a:cubicBezTo>
                    <a:pt x="55" y="17"/>
                    <a:pt x="53" y="18"/>
                    <a:pt x="53" y="18"/>
                  </a:cubicBezTo>
                  <a:cubicBezTo>
                    <a:pt x="52" y="19"/>
                    <a:pt x="54" y="20"/>
                    <a:pt x="54" y="20"/>
                  </a:cubicBezTo>
                  <a:cubicBezTo>
                    <a:pt x="53" y="20"/>
                    <a:pt x="53" y="20"/>
                    <a:pt x="52" y="20"/>
                  </a:cubicBezTo>
                  <a:cubicBezTo>
                    <a:pt x="52" y="20"/>
                    <a:pt x="52" y="21"/>
                    <a:pt x="51" y="22"/>
                  </a:cubicBezTo>
                  <a:cubicBezTo>
                    <a:pt x="52" y="21"/>
                    <a:pt x="47" y="21"/>
                    <a:pt x="49" y="22"/>
                  </a:cubicBezTo>
                  <a:cubicBezTo>
                    <a:pt x="49" y="23"/>
                    <a:pt x="51" y="22"/>
                    <a:pt x="51" y="22"/>
                  </a:cubicBezTo>
                  <a:cubicBezTo>
                    <a:pt x="51" y="22"/>
                    <a:pt x="50" y="23"/>
                    <a:pt x="51" y="23"/>
                  </a:cubicBezTo>
                  <a:cubicBezTo>
                    <a:pt x="51" y="23"/>
                    <a:pt x="52" y="23"/>
                    <a:pt x="52" y="22"/>
                  </a:cubicBezTo>
                  <a:cubicBezTo>
                    <a:pt x="52" y="22"/>
                    <a:pt x="52" y="24"/>
                    <a:pt x="51" y="24"/>
                  </a:cubicBezTo>
                  <a:cubicBezTo>
                    <a:pt x="50" y="24"/>
                    <a:pt x="50" y="23"/>
                    <a:pt x="49" y="23"/>
                  </a:cubicBezTo>
                  <a:cubicBezTo>
                    <a:pt x="48" y="24"/>
                    <a:pt x="48" y="26"/>
                    <a:pt x="47" y="26"/>
                  </a:cubicBezTo>
                  <a:cubicBezTo>
                    <a:pt x="47" y="26"/>
                    <a:pt x="44" y="26"/>
                    <a:pt x="44" y="26"/>
                  </a:cubicBezTo>
                  <a:cubicBezTo>
                    <a:pt x="44" y="29"/>
                    <a:pt x="51" y="25"/>
                    <a:pt x="51" y="25"/>
                  </a:cubicBezTo>
                  <a:cubicBezTo>
                    <a:pt x="52" y="25"/>
                    <a:pt x="53" y="24"/>
                    <a:pt x="54" y="25"/>
                  </a:cubicBezTo>
                  <a:cubicBezTo>
                    <a:pt x="56" y="25"/>
                    <a:pt x="55" y="23"/>
                    <a:pt x="54" y="23"/>
                  </a:cubicBezTo>
                  <a:cubicBezTo>
                    <a:pt x="55" y="23"/>
                    <a:pt x="55" y="23"/>
                    <a:pt x="55" y="23"/>
                  </a:cubicBezTo>
                  <a:cubicBezTo>
                    <a:pt x="56" y="25"/>
                    <a:pt x="57" y="23"/>
                    <a:pt x="58" y="23"/>
                  </a:cubicBezTo>
                  <a:cubicBezTo>
                    <a:pt x="57" y="23"/>
                    <a:pt x="57" y="25"/>
                    <a:pt x="56" y="25"/>
                  </a:cubicBezTo>
                  <a:cubicBezTo>
                    <a:pt x="57" y="25"/>
                    <a:pt x="58" y="25"/>
                    <a:pt x="58" y="25"/>
                  </a:cubicBezTo>
                  <a:cubicBezTo>
                    <a:pt x="58" y="25"/>
                    <a:pt x="56" y="26"/>
                    <a:pt x="56" y="27"/>
                  </a:cubicBezTo>
                  <a:cubicBezTo>
                    <a:pt x="56" y="27"/>
                    <a:pt x="61" y="25"/>
                    <a:pt x="61" y="26"/>
                  </a:cubicBezTo>
                  <a:cubicBezTo>
                    <a:pt x="60" y="27"/>
                    <a:pt x="57" y="26"/>
                    <a:pt x="57" y="28"/>
                  </a:cubicBezTo>
                  <a:cubicBezTo>
                    <a:pt x="56" y="31"/>
                    <a:pt x="54" y="27"/>
                    <a:pt x="54" y="27"/>
                  </a:cubicBezTo>
                  <a:cubicBezTo>
                    <a:pt x="54" y="26"/>
                    <a:pt x="54" y="29"/>
                    <a:pt x="54" y="29"/>
                  </a:cubicBezTo>
                  <a:cubicBezTo>
                    <a:pt x="54" y="29"/>
                    <a:pt x="53" y="27"/>
                    <a:pt x="52" y="27"/>
                  </a:cubicBezTo>
                  <a:cubicBezTo>
                    <a:pt x="51" y="28"/>
                    <a:pt x="49" y="30"/>
                    <a:pt x="49" y="31"/>
                  </a:cubicBezTo>
                  <a:cubicBezTo>
                    <a:pt x="49" y="31"/>
                    <a:pt x="51" y="30"/>
                    <a:pt x="51" y="30"/>
                  </a:cubicBezTo>
                  <a:cubicBezTo>
                    <a:pt x="51" y="31"/>
                    <a:pt x="53" y="30"/>
                    <a:pt x="53" y="31"/>
                  </a:cubicBezTo>
                  <a:cubicBezTo>
                    <a:pt x="53" y="30"/>
                    <a:pt x="50" y="31"/>
                    <a:pt x="50" y="32"/>
                  </a:cubicBezTo>
                  <a:cubicBezTo>
                    <a:pt x="51" y="33"/>
                    <a:pt x="54" y="31"/>
                    <a:pt x="53" y="33"/>
                  </a:cubicBezTo>
                  <a:cubicBezTo>
                    <a:pt x="54" y="31"/>
                    <a:pt x="47" y="34"/>
                    <a:pt x="47" y="34"/>
                  </a:cubicBezTo>
                  <a:cubicBezTo>
                    <a:pt x="47" y="33"/>
                    <a:pt x="53" y="35"/>
                    <a:pt x="52" y="35"/>
                  </a:cubicBezTo>
                  <a:cubicBezTo>
                    <a:pt x="51" y="36"/>
                    <a:pt x="50" y="34"/>
                    <a:pt x="49" y="35"/>
                  </a:cubicBezTo>
                  <a:cubicBezTo>
                    <a:pt x="49" y="35"/>
                    <a:pt x="49" y="35"/>
                    <a:pt x="49" y="35"/>
                  </a:cubicBezTo>
                  <a:cubicBezTo>
                    <a:pt x="49" y="36"/>
                    <a:pt x="46" y="34"/>
                    <a:pt x="45" y="36"/>
                  </a:cubicBezTo>
                  <a:cubicBezTo>
                    <a:pt x="45" y="36"/>
                    <a:pt x="48" y="36"/>
                    <a:pt x="48" y="36"/>
                  </a:cubicBezTo>
                  <a:cubicBezTo>
                    <a:pt x="46" y="38"/>
                    <a:pt x="44" y="36"/>
                    <a:pt x="45" y="39"/>
                  </a:cubicBezTo>
                  <a:cubicBezTo>
                    <a:pt x="45" y="39"/>
                    <a:pt x="43" y="40"/>
                    <a:pt x="43" y="40"/>
                  </a:cubicBezTo>
                  <a:cubicBezTo>
                    <a:pt x="42" y="41"/>
                    <a:pt x="42" y="41"/>
                    <a:pt x="42" y="41"/>
                  </a:cubicBezTo>
                  <a:cubicBezTo>
                    <a:pt x="42" y="42"/>
                    <a:pt x="41" y="42"/>
                    <a:pt x="41" y="42"/>
                  </a:cubicBezTo>
                  <a:cubicBezTo>
                    <a:pt x="41" y="43"/>
                    <a:pt x="42" y="42"/>
                    <a:pt x="42" y="42"/>
                  </a:cubicBezTo>
                  <a:cubicBezTo>
                    <a:pt x="43" y="42"/>
                    <a:pt x="42" y="43"/>
                    <a:pt x="42" y="43"/>
                  </a:cubicBezTo>
                  <a:cubicBezTo>
                    <a:pt x="43" y="43"/>
                    <a:pt x="45" y="44"/>
                    <a:pt x="46" y="43"/>
                  </a:cubicBezTo>
                  <a:cubicBezTo>
                    <a:pt x="44" y="44"/>
                    <a:pt x="44" y="44"/>
                    <a:pt x="42" y="44"/>
                  </a:cubicBezTo>
                  <a:cubicBezTo>
                    <a:pt x="41" y="44"/>
                    <a:pt x="38" y="44"/>
                    <a:pt x="38" y="45"/>
                  </a:cubicBezTo>
                  <a:cubicBezTo>
                    <a:pt x="38" y="45"/>
                    <a:pt x="39" y="45"/>
                    <a:pt x="39" y="45"/>
                  </a:cubicBezTo>
                  <a:cubicBezTo>
                    <a:pt x="39" y="45"/>
                    <a:pt x="38" y="46"/>
                    <a:pt x="38" y="46"/>
                  </a:cubicBezTo>
                  <a:cubicBezTo>
                    <a:pt x="38" y="46"/>
                    <a:pt x="40" y="45"/>
                    <a:pt x="40" y="46"/>
                  </a:cubicBezTo>
                  <a:cubicBezTo>
                    <a:pt x="40" y="46"/>
                    <a:pt x="38" y="48"/>
                    <a:pt x="38" y="48"/>
                  </a:cubicBezTo>
                  <a:cubicBezTo>
                    <a:pt x="38" y="48"/>
                    <a:pt x="39" y="48"/>
                    <a:pt x="39" y="49"/>
                  </a:cubicBezTo>
                  <a:cubicBezTo>
                    <a:pt x="39" y="49"/>
                    <a:pt x="37" y="49"/>
                    <a:pt x="37" y="49"/>
                  </a:cubicBezTo>
                  <a:cubicBezTo>
                    <a:pt x="37" y="49"/>
                    <a:pt x="39" y="50"/>
                    <a:pt x="39" y="50"/>
                  </a:cubicBezTo>
                  <a:cubicBezTo>
                    <a:pt x="38" y="50"/>
                    <a:pt x="37" y="50"/>
                    <a:pt x="37" y="50"/>
                  </a:cubicBezTo>
                  <a:cubicBezTo>
                    <a:pt x="37" y="51"/>
                    <a:pt x="38" y="52"/>
                    <a:pt x="39" y="52"/>
                  </a:cubicBezTo>
                  <a:cubicBezTo>
                    <a:pt x="37" y="52"/>
                    <a:pt x="35" y="52"/>
                    <a:pt x="34" y="54"/>
                  </a:cubicBezTo>
                  <a:cubicBezTo>
                    <a:pt x="34" y="55"/>
                    <a:pt x="30" y="54"/>
                    <a:pt x="30" y="54"/>
                  </a:cubicBezTo>
                  <a:cubicBezTo>
                    <a:pt x="30" y="57"/>
                    <a:pt x="36" y="54"/>
                    <a:pt x="37" y="54"/>
                  </a:cubicBezTo>
                  <a:cubicBezTo>
                    <a:pt x="36" y="54"/>
                    <a:pt x="35" y="56"/>
                    <a:pt x="35" y="56"/>
                  </a:cubicBezTo>
                  <a:cubicBezTo>
                    <a:pt x="32" y="56"/>
                    <a:pt x="34" y="57"/>
                    <a:pt x="33" y="58"/>
                  </a:cubicBezTo>
                  <a:cubicBezTo>
                    <a:pt x="32" y="59"/>
                    <a:pt x="30" y="57"/>
                    <a:pt x="29" y="58"/>
                  </a:cubicBezTo>
                  <a:cubicBezTo>
                    <a:pt x="29" y="59"/>
                    <a:pt x="26" y="61"/>
                    <a:pt x="26" y="61"/>
                  </a:cubicBezTo>
                  <a:cubicBezTo>
                    <a:pt x="26" y="62"/>
                    <a:pt x="27" y="62"/>
                    <a:pt x="27" y="62"/>
                  </a:cubicBezTo>
                  <a:cubicBezTo>
                    <a:pt x="27" y="63"/>
                    <a:pt x="24" y="63"/>
                    <a:pt x="24" y="63"/>
                  </a:cubicBezTo>
                  <a:cubicBezTo>
                    <a:pt x="24" y="63"/>
                    <a:pt x="25" y="64"/>
                    <a:pt x="25" y="65"/>
                  </a:cubicBezTo>
                  <a:cubicBezTo>
                    <a:pt x="25" y="66"/>
                    <a:pt x="27" y="65"/>
                    <a:pt x="28" y="65"/>
                  </a:cubicBezTo>
                  <a:cubicBezTo>
                    <a:pt x="29" y="64"/>
                    <a:pt x="30" y="65"/>
                    <a:pt x="31" y="64"/>
                  </a:cubicBezTo>
                  <a:cubicBezTo>
                    <a:pt x="31" y="64"/>
                    <a:pt x="30" y="63"/>
                    <a:pt x="30" y="62"/>
                  </a:cubicBezTo>
                  <a:cubicBezTo>
                    <a:pt x="30" y="62"/>
                    <a:pt x="32" y="63"/>
                    <a:pt x="33" y="64"/>
                  </a:cubicBezTo>
                  <a:cubicBezTo>
                    <a:pt x="33" y="64"/>
                    <a:pt x="30" y="66"/>
                    <a:pt x="30" y="66"/>
                  </a:cubicBezTo>
                  <a:cubicBezTo>
                    <a:pt x="29" y="66"/>
                    <a:pt x="28" y="67"/>
                    <a:pt x="28" y="66"/>
                  </a:cubicBezTo>
                  <a:cubicBezTo>
                    <a:pt x="27" y="65"/>
                    <a:pt x="26" y="67"/>
                    <a:pt x="25" y="67"/>
                  </a:cubicBezTo>
                  <a:cubicBezTo>
                    <a:pt x="24" y="66"/>
                    <a:pt x="24" y="63"/>
                    <a:pt x="23" y="66"/>
                  </a:cubicBezTo>
                  <a:cubicBezTo>
                    <a:pt x="21" y="70"/>
                    <a:pt x="20" y="65"/>
                    <a:pt x="21" y="65"/>
                  </a:cubicBezTo>
                  <a:cubicBezTo>
                    <a:pt x="19" y="65"/>
                    <a:pt x="21" y="69"/>
                    <a:pt x="19" y="68"/>
                  </a:cubicBezTo>
                  <a:cubicBezTo>
                    <a:pt x="15" y="68"/>
                    <a:pt x="18" y="70"/>
                    <a:pt x="17" y="71"/>
                  </a:cubicBezTo>
                  <a:cubicBezTo>
                    <a:pt x="16" y="71"/>
                    <a:pt x="16" y="69"/>
                    <a:pt x="16" y="69"/>
                  </a:cubicBezTo>
                  <a:cubicBezTo>
                    <a:pt x="14" y="69"/>
                    <a:pt x="12" y="70"/>
                    <a:pt x="11" y="71"/>
                  </a:cubicBezTo>
                  <a:cubicBezTo>
                    <a:pt x="11" y="72"/>
                    <a:pt x="15" y="72"/>
                    <a:pt x="16" y="72"/>
                  </a:cubicBezTo>
                  <a:cubicBezTo>
                    <a:pt x="16" y="72"/>
                    <a:pt x="19" y="71"/>
                    <a:pt x="19" y="71"/>
                  </a:cubicBezTo>
                  <a:cubicBezTo>
                    <a:pt x="20" y="72"/>
                    <a:pt x="15" y="72"/>
                    <a:pt x="15" y="72"/>
                  </a:cubicBezTo>
                  <a:cubicBezTo>
                    <a:pt x="14" y="72"/>
                    <a:pt x="14" y="73"/>
                    <a:pt x="13" y="73"/>
                  </a:cubicBezTo>
                  <a:cubicBezTo>
                    <a:pt x="12" y="73"/>
                    <a:pt x="11" y="73"/>
                    <a:pt x="10" y="73"/>
                  </a:cubicBezTo>
                  <a:cubicBezTo>
                    <a:pt x="8" y="72"/>
                    <a:pt x="7" y="73"/>
                    <a:pt x="9" y="74"/>
                  </a:cubicBezTo>
                  <a:cubicBezTo>
                    <a:pt x="10" y="74"/>
                    <a:pt x="12" y="74"/>
                    <a:pt x="12" y="76"/>
                  </a:cubicBezTo>
                  <a:cubicBezTo>
                    <a:pt x="12" y="76"/>
                    <a:pt x="11" y="78"/>
                    <a:pt x="11" y="77"/>
                  </a:cubicBezTo>
                  <a:cubicBezTo>
                    <a:pt x="10" y="77"/>
                    <a:pt x="12" y="75"/>
                    <a:pt x="10" y="74"/>
                  </a:cubicBezTo>
                  <a:cubicBezTo>
                    <a:pt x="7" y="74"/>
                    <a:pt x="9" y="75"/>
                    <a:pt x="8" y="76"/>
                  </a:cubicBezTo>
                  <a:cubicBezTo>
                    <a:pt x="8" y="76"/>
                    <a:pt x="8" y="73"/>
                    <a:pt x="7" y="73"/>
                  </a:cubicBezTo>
                  <a:cubicBezTo>
                    <a:pt x="7" y="72"/>
                    <a:pt x="5" y="78"/>
                    <a:pt x="6" y="77"/>
                  </a:cubicBezTo>
                  <a:cubicBezTo>
                    <a:pt x="5" y="77"/>
                    <a:pt x="5" y="75"/>
                    <a:pt x="5" y="75"/>
                  </a:cubicBezTo>
                  <a:cubicBezTo>
                    <a:pt x="4" y="75"/>
                    <a:pt x="4" y="77"/>
                    <a:pt x="4" y="77"/>
                  </a:cubicBezTo>
                  <a:cubicBezTo>
                    <a:pt x="3" y="78"/>
                    <a:pt x="1" y="77"/>
                    <a:pt x="1" y="78"/>
                  </a:cubicBezTo>
                  <a:cubicBezTo>
                    <a:pt x="1" y="79"/>
                    <a:pt x="0" y="80"/>
                    <a:pt x="1" y="80"/>
                  </a:cubicBezTo>
                  <a:cubicBezTo>
                    <a:pt x="2" y="80"/>
                    <a:pt x="3" y="80"/>
                    <a:pt x="4" y="81"/>
                  </a:cubicBezTo>
                  <a:cubicBezTo>
                    <a:pt x="4" y="81"/>
                    <a:pt x="0" y="82"/>
                    <a:pt x="1" y="83"/>
                  </a:cubicBezTo>
                  <a:cubicBezTo>
                    <a:pt x="1" y="84"/>
                    <a:pt x="3" y="84"/>
                    <a:pt x="3" y="84"/>
                  </a:cubicBezTo>
                  <a:cubicBezTo>
                    <a:pt x="3" y="84"/>
                    <a:pt x="6" y="83"/>
                    <a:pt x="6" y="84"/>
                  </a:cubicBezTo>
                  <a:cubicBezTo>
                    <a:pt x="5" y="85"/>
                    <a:pt x="2" y="84"/>
                    <a:pt x="1" y="86"/>
                  </a:cubicBezTo>
                  <a:cubicBezTo>
                    <a:pt x="0" y="87"/>
                    <a:pt x="6" y="87"/>
                    <a:pt x="4" y="89"/>
                  </a:cubicBezTo>
                  <a:cubicBezTo>
                    <a:pt x="4" y="89"/>
                    <a:pt x="3" y="87"/>
                    <a:pt x="2" y="88"/>
                  </a:cubicBezTo>
                  <a:cubicBezTo>
                    <a:pt x="1" y="89"/>
                    <a:pt x="1" y="90"/>
                    <a:pt x="2" y="91"/>
                  </a:cubicBezTo>
                  <a:cubicBezTo>
                    <a:pt x="3" y="91"/>
                    <a:pt x="5" y="92"/>
                    <a:pt x="6" y="92"/>
                  </a:cubicBezTo>
                  <a:cubicBezTo>
                    <a:pt x="7" y="91"/>
                    <a:pt x="8" y="89"/>
                    <a:pt x="9" y="90"/>
                  </a:cubicBezTo>
                  <a:cubicBezTo>
                    <a:pt x="8" y="90"/>
                    <a:pt x="7" y="91"/>
                    <a:pt x="7" y="91"/>
                  </a:cubicBezTo>
                  <a:cubicBezTo>
                    <a:pt x="7" y="92"/>
                    <a:pt x="6" y="92"/>
                    <a:pt x="5" y="92"/>
                  </a:cubicBezTo>
                  <a:cubicBezTo>
                    <a:pt x="5" y="92"/>
                    <a:pt x="7" y="93"/>
                    <a:pt x="7" y="94"/>
                  </a:cubicBezTo>
                  <a:cubicBezTo>
                    <a:pt x="7" y="94"/>
                    <a:pt x="4" y="92"/>
                    <a:pt x="5" y="94"/>
                  </a:cubicBezTo>
                  <a:cubicBezTo>
                    <a:pt x="5" y="95"/>
                    <a:pt x="8" y="96"/>
                    <a:pt x="8" y="96"/>
                  </a:cubicBezTo>
                  <a:cubicBezTo>
                    <a:pt x="8" y="97"/>
                    <a:pt x="5" y="95"/>
                    <a:pt x="4" y="96"/>
                  </a:cubicBezTo>
                  <a:cubicBezTo>
                    <a:pt x="2" y="96"/>
                    <a:pt x="4" y="93"/>
                    <a:pt x="3" y="93"/>
                  </a:cubicBezTo>
                  <a:cubicBezTo>
                    <a:pt x="3" y="93"/>
                    <a:pt x="1" y="95"/>
                    <a:pt x="2" y="96"/>
                  </a:cubicBezTo>
                  <a:cubicBezTo>
                    <a:pt x="3" y="96"/>
                    <a:pt x="2" y="98"/>
                    <a:pt x="2" y="98"/>
                  </a:cubicBezTo>
                  <a:cubicBezTo>
                    <a:pt x="3" y="99"/>
                    <a:pt x="4" y="97"/>
                    <a:pt x="5" y="96"/>
                  </a:cubicBezTo>
                  <a:cubicBezTo>
                    <a:pt x="5" y="96"/>
                    <a:pt x="5" y="97"/>
                    <a:pt x="5" y="97"/>
                  </a:cubicBezTo>
                  <a:cubicBezTo>
                    <a:pt x="6" y="97"/>
                    <a:pt x="6" y="96"/>
                    <a:pt x="7" y="96"/>
                  </a:cubicBezTo>
                  <a:cubicBezTo>
                    <a:pt x="7" y="96"/>
                    <a:pt x="7" y="98"/>
                    <a:pt x="6" y="98"/>
                  </a:cubicBezTo>
                  <a:cubicBezTo>
                    <a:pt x="4" y="99"/>
                    <a:pt x="8" y="101"/>
                    <a:pt x="8" y="100"/>
                  </a:cubicBezTo>
                  <a:cubicBezTo>
                    <a:pt x="8" y="102"/>
                    <a:pt x="1" y="100"/>
                    <a:pt x="5" y="103"/>
                  </a:cubicBezTo>
                  <a:cubicBezTo>
                    <a:pt x="7" y="104"/>
                    <a:pt x="8" y="105"/>
                    <a:pt x="10" y="105"/>
                  </a:cubicBezTo>
                  <a:cubicBezTo>
                    <a:pt x="10" y="105"/>
                    <a:pt x="13" y="107"/>
                    <a:pt x="14" y="107"/>
                  </a:cubicBezTo>
                  <a:cubicBezTo>
                    <a:pt x="17" y="107"/>
                    <a:pt x="21" y="104"/>
                    <a:pt x="23" y="102"/>
                  </a:cubicBezTo>
                  <a:cubicBezTo>
                    <a:pt x="24" y="100"/>
                    <a:pt x="25" y="100"/>
                    <a:pt x="27" y="99"/>
                  </a:cubicBezTo>
                  <a:cubicBezTo>
                    <a:pt x="28" y="98"/>
                    <a:pt x="28" y="95"/>
                    <a:pt x="29" y="95"/>
                  </a:cubicBezTo>
                  <a:cubicBezTo>
                    <a:pt x="29" y="95"/>
                    <a:pt x="29" y="98"/>
                    <a:pt x="30" y="98"/>
                  </a:cubicBezTo>
                  <a:cubicBezTo>
                    <a:pt x="32" y="99"/>
                    <a:pt x="31" y="99"/>
                    <a:pt x="31" y="100"/>
                  </a:cubicBezTo>
                  <a:cubicBezTo>
                    <a:pt x="32" y="100"/>
                    <a:pt x="33" y="100"/>
                    <a:pt x="34" y="101"/>
                  </a:cubicBezTo>
                  <a:cubicBezTo>
                    <a:pt x="34" y="102"/>
                    <a:pt x="33" y="100"/>
                    <a:pt x="34" y="101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04" name="Freeform 725">
              <a:extLst>
                <a:ext uri="{FF2B5EF4-FFF2-40B4-BE49-F238E27FC236}">
                  <a16:creationId xmlns:a16="http://schemas.microsoft.com/office/drawing/2014/main" id="{D90B218F-96C7-E3BB-20CA-2F89E46E7E57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3266" y="2611904"/>
              <a:ext cx="125179" cy="138141"/>
            </a:xfrm>
            <a:custGeom>
              <a:avLst/>
              <a:gdLst>
                <a:gd name="T0" fmla="*/ 21 w 24"/>
                <a:gd name="T1" fmla="*/ 8 h 25"/>
                <a:gd name="T2" fmla="*/ 18 w 24"/>
                <a:gd name="T3" fmla="*/ 5 h 25"/>
                <a:gd name="T4" fmla="*/ 15 w 24"/>
                <a:gd name="T5" fmla="*/ 6 h 25"/>
                <a:gd name="T6" fmla="*/ 16 w 24"/>
                <a:gd name="T7" fmla="*/ 1 h 25"/>
                <a:gd name="T8" fmla="*/ 10 w 24"/>
                <a:gd name="T9" fmla="*/ 1 h 25"/>
                <a:gd name="T10" fmla="*/ 10 w 24"/>
                <a:gd name="T11" fmla="*/ 2 h 25"/>
                <a:gd name="T12" fmla="*/ 9 w 24"/>
                <a:gd name="T13" fmla="*/ 3 h 25"/>
                <a:gd name="T14" fmla="*/ 11 w 24"/>
                <a:gd name="T15" fmla="*/ 4 h 25"/>
                <a:gd name="T16" fmla="*/ 9 w 24"/>
                <a:gd name="T17" fmla="*/ 5 h 25"/>
                <a:gd name="T18" fmla="*/ 2 w 24"/>
                <a:gd name="T19" fmla="*/ 6 h 25"/>
                <a:gd name="T20" fmla="*/ 3 w 24"/>
                <a:gd name="T21" fmla="*/ 7 h 25"/>
                <a:gd name="T22" fmla="*/ 2 w 24"/>
                <a:gd name="T23" fmla="*/ 8 h 25"/>
                <a:gd name="T24" fmla="*/ 2 w 24"/>
                <a:gd name="T25" fmla="*/ 8 h 25"/>
                <a:gd name="T26" fmla="*/ 1 w 24"/>
                <a:gd name="T27" fmla="*/ 8 h 25"/>
                <a:gd name="T28" fmla="*/ 3 w 24"/>
                <a:gd name="T29" fmla="*/ 10 h 25"/>
                <a:gd name="T30" fmla="*/ 6 w 24"/>
                <a:gd name="T31" fmla="*/ 13 h 25"/>
                <a:gd name="T32" fmla="*/ 5 w 24"/>
                <a:gd name="T33" fmla="*/ 17 h 25"/>
                <a:gd name="T34" fmla="*/ 1 w 24"/>
                <a:gd name="T35" fmla="*/ 20 h 25"/>
                <a:gd name="T36" fmla="*/ 3 w 24"/>
                <a:gd name="T37" fmla="*/ 20 h 25"/>
                <a:gd name="T38" fmla="*/ 0 w 24"/>
                <a:gd name="T39" fmla="*/ 22 h 25"/>
                <a:gd name="T40" fmla="*/ 3 w 24"/>
                <a:gd name="T41" fmla="*/ 21 h 25"/>
                <a:gd name="T42" fmla="*/ 2 w 24"/>
                <a:gd name="T43" fmla="*/ 24 h 25"/>
                <a:gd name="T44" fmla="*/ 4 w 24"/>
                <a:gd name="T45" fmla="*/ 23 h 25"/>
                <a:gd name="T46" fmla="*/ 4 w 24"/>
                <a:gd name="T47" fmla="*/ 25 h 25"/>
                <a:gd name="T48" fmla="*/ 8 w 24"/>
                <a:gd name="T49" fmla="*/ 24 h 25"/>
                <a:gd name="T50" fmla="*/ 17 w 24"/>
                <a:gd name="T51" fmla="*/ 20 h 25"/>
                <a:gd name="T52" fmla="*/ 22 w 24"/>
                <a:gd name="T53" fmla="*/ 16 h 25"/>
                <a:gd name="T54" fmla="*/ 21 w 24"/>
                <a:gd name="T55" fmla="*/ 8 h 25"/>
                <a:gd name="T56" fmla="*/ 21 w 24"/>
                <a:gd name="T57" fmla="*/ 8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4" h="25">
                  <a:moveTo>
                    <a:pt x="21" y="8"/>
                  </a:moveTo>
                  <a:cubicBezTo>
                    <a:pt x="20" y="8"/>
                    <a:pt x="19" y="5"/>
                    <a:pt x="18" y="5"/>
                  </a:cubicBezTo>
                  <a:cubicBezTo>
                    <a:pt x="16" y="6"/>
                    <a:pt x="17" y="7"/>
                    <a:pt x="15" y="6"/>
                  </a:cubicBezTo>
                  <a:cubicBezTo>
                    <a:pt x="11" y="5"/>
                    <a:pt x="15" y="3"/>
                    <a:pt x="16" y="1"/>
                  </a:cubicBezTo>
                  <a:cubicBezTo>
                    <a:pt x="14" y="1"/>
                    <a:pt x="11" y="0"/>
                    <a:pt x="10" y="1"/>
                  </a:cubicBezTo>
                  <a:cubicBezTo>
                    <a:pt x="10" y="1"/>
                    <a:pt x="12" y="1"/>
                    <a:pt x="10" y="2"/>
                  </a:cubicBezTo>
                  <a:cubicBezTo>
                    <a:pt x="10" y="2"/>
                    <a:pt x="8" y="3"/>
                    <a:pt x="9" y="3"/>
                  </a:cubicBezTo>
                  <a:cubicBezTo>
                    <a:pt x="9" y="4"/>
                    <a:pt x="11" y="3"/>
                    <a:pt x="11" y="4"/>
                  </a:cubicBezTo>
                  <a:cubicBezTo>
                    <a:pt x="12" y="5"/>
                    <a:pt x="9" y="5"/>
                    <a:pt x="9" y="5"/>
                  </a:cubicBezTo>
                  <a:cubicBezTo>
                    <a:pt x="7" y="6"/>
                    <a:pt x="3" y="5"/>
                    <a:pt x="2" y="6"/>
                  </a:cubicBezTo>
                  <a:cubicBezTo>
                    <a:pt x="2" y="6"/>
                    <a:pt x="3" y="6"/>
                    <a:pt x="3" y="7"/>
                  </a:cubicBezTo>
                  <a:cubicBezTo>
                    <a:pt x="3" y="7"/>
                    <a:pt x="1" y="7"/>
                    <a:pt x="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3" y="8"/>
                    <a:pt x="1" y="8"/>
                    <a:pt x="1" y="8"/>
                  </a:cubicBezTo>
                  <a:cubicBezTo>
                    <a:pt x="1" y="9"/>
                    <a:pt x="5" y="9"/>
                    <a:pt x="3" y="10"/>
                  </a:cubicBezTo>
                  <a:cubicBezTo>
                    <a:pt x="0" y="12"/>
                    <a:pt x="4" y="13"/>
                    <a:pt x="6" y="13"/>
                  </a:cubicBezTo>
                  <a:cubicBezTo>
                    <a:pt x="7" y="13"/>
                    <a:pt x="5" y="16"/>
                    <a:pt x="5" y="17"/>
                  </a:cubicBezTo>
                  <a:cubicBezTo>
                    <a:pt x="4" y="17"/>
                    <a:pt x="2" y="21"/>
                    <a:pt x="1" y="20"/>
                  </a:cubicBezTo>
                  <a:cubicBezTo>
                    <a:pt x="1" y="20"/>
                    <a:pt x="3" y="20"/>
                    <a:pt x="3" y="20"/>
                  </a:cubicBezTo>
                  <a:cubicBezTo>
                    <a:pt x="2" y="21"/>
                    <a:pt x="1" y="20"/>
                    <a:pt x="0" y="22"/>
                  </a:cubicBezTo>
                  <a:cubicBezTo>
                    <a:pt x="0" y="22"/>
                    <a:pt x="3" y="21"/>
                    <a:pt x="3" y="21"/>
                  </a:cubicBezTo>
                  <a:cubicBezTo>
                    <a:pt x="3" y="21"/>
                    <a:pt x="2" y="23"/>
                    <a:pt x="2" y="24"/>
                  </a:cubicBezTo>
                  <a:cubicBezTo>
                    <a:pt x="2" y="24"/>
                    <a:pt x="4" y="23"/>
                    <a:pt x="4" y="23"/>
                  </a:cubicBezTo>
                  <a:cubicBezTo>
                    <a:pt x="4" y="23"/>
                    <a:pt x="4" y="24"/>
                    <a:pt x="4" y="25"/>
                  </a:cubicBezTo>
                  <a:cubicBezTo>
                    <a:pt x="5" y="25"/>
                    <a:pt x="7" y="24"/>
                    <a:pt x="8" y="24"/>
                  </a:cubicBezTo>
                  <a:cubicBezTo>
                    <a:pt x="11" y="23"/>
                    <a:pt x="14" y="20"/>
                    <a:pt x="17" y="20"/>
                  </a:cubicBezTo>
                  <a:cubicBezTo>
                    <a:pt x="21" y="20"/>
                    <a:pt x="20" y="19"/>
                    <a:pt x="22" y="16"/>
                  </a:cubicBezTo>
                  <a:cubicBezTo>
                    <a:pt x="24" y="13"/>
                    <a:pt x="21" y="11"/>
                    <a:pt x="21" y="8"/>
                  </a:cubicBezTo>
                  <a:cubicBezTo>
                    <a:pt x="20" y="8"/>
                    <a:pt x="21" y="9"/>
                    <a:pt x="21" y="8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05" name="Freeform 726">
              <a:extLst>
                <a:ext uri="{FF2B5EF4-FFF2-40B4-BE49-F238E27FC236}">
                  <a16:creationId xmlns:a16="http://schemas.microsoft.com/office/drawing/2014/main" id="{4CDD537C-565E-4538-B1EE-99EC4578CAC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5853" y="2606229"/>
              <a:ext cx="84048" cy="54878"/>
            </a:xfrm>
            <a:custGeom>
              <a:avLst/>
              <a:gdLst>
                <a:gd name="T0" fmla="*/ 1 w 16"/>
                <a:gd name="T1" fmla="*/ 6 h 10"/>
                <a:gd name="T2" fmla="*/ 4 w 16"/>
                <a:gd name="T3" fmla="*/ 8 h 10"/>
                <a:gd name="T4" fmla="*/ 5 w 16"/>
                <a:gd name="T5" fmla="*/ 7 h 10"/>
                <a:gd name="T6" fmla="*/ 8 w 16"/>
                <a:gd name="T7" fmla="*/ 8 h 10"/>
                <a:gd name="T8" fmla="*/ 11 w 16"/>
                <a:gd name="T9" fmla="*/ 4 h 10"/>
                <a:gd name="T10" fmla="*/ 11 w 16"/>
                <a:gd name="T11" fmla="*/ 2 h 10"/>
                <a:gd name="T12" fmla="*/ 7 w 16"/>
                <a:gd name="T13" fmla="*/ 1 h 10"/>
                <a:gd name="T14" fmla="*/ 4 w 16"/>
                <a:gd name="T15" fmla="*/ 2 h 10"/>
                <a:gd name="T16" fmla="*/ 1 w 16"/>
                <a:gd name="T17" fmla="*/ 6 h 10"/>
                <a:gd name="T18" fmla="*/ 1 w 16"/>
                <a:gd name="T19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0">
                  <a:moveTo>
                    <a:pt x="1" y="6"/>
                  </a:moveTo>
                  <a:cubicBezTo>
                    <a:pt x="0" y="7"/>
                    <a:pt x="3" y="8"/>
                    <a:pt x="4" y="8"/>
                  </a:cubicBezTo>
                  <a:cubicBezTo>
                    <a:pt x="4" y="8"/>
                    <a:pt x="5" y="7"/>
                    <a:pt x="5" y="7"/>
                  </a:cubicBezTo>
                  <a:cubicBezTo>
                    <a:pt x="6" y="6"/>
                    <a:pt x="7" y="7"/>
                    <a:pt x="8" y="8"/>
                  </a:cubicBezTo>
                  <a:cubicBezTo>
                    <a:pt x="10" y="10"/>
                    <a:pt x="16" y="5"/>
                    <a:pt x="11" y="4"/>
                  </a:cubicBezTo>
                  <a:cubicBezTo>
                    <a:pt x="12" y="4"/>
                    <a:pt x="11" y="2"/>
                    <a:pt x="11" y="2"/>
                  </a:cubicBezTo>
                  <a:cubicBezTo>
                    <a:pt x="10" y="0"/>
                    <a:pt x="9" y="0"/>
                    <a:pt x="7" y="1"/>
                  </a:cubicBezTo>
                  <a:cubicBezTo>
                    <a:pt x="6" y="1"/>
                    <a:pt x="4" y="1"/>
                    <a:pt x="4" y="2"/>
                  </a:cubicBezTo>
                  <a:cubicBezTo>
                    <a:pt x="3" y="3"/>
                    <a:pt x="1" y="4"/>
                    <a:pt x="1" y="6"/>
                  </a:cubicBezTo>
                  <a:cubicBezTo>
                    <a:pt x="1" y="6"/>
                    <a:pt x="1" y="5"/>
                    <a:pt x="1" y="6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06" name="Freeform 727">
              <a:extLst>
                <a:ext uri="{FF2B5EF4-FFF2-40B4-BE49-F238E27FC236}">
                  <a16:creationId xmlns:a16="http://schemas.microsoft.com/office/drawing/2014/main" id="{65C9967A-24A0-EFC2-6B28-2CE721E3713D}"/>
                </a:ext>
              </a:extLst>
            </p:cNvPr>
            <p:cNvSpPr>
              <a:spLocks/>
            </p:cNvSpPr>
            <p:nvPr/>
          </p:nvSpPr>
          <p:spPr bwMode="auto">
            <a:xfrm>
              <a:off x="5585454" y="3022548"/>
              <a:ext cx="329038" cy="255470"/>
            </a:xfrm>
            <a:custGeom>
              <a:avLst/>
              <a:gdLst>
                <a:gd name="T0" fmla="*/ 58 w 63"/>
                <a:gd name="T1" fmla="*/ 8 h 46"/>
                <a:gd name="T2" fmla="*/ 52 w 63"/>
                <a:gd name="T3" fmla="*/ 6 h 46"/>
                <a:gd name="T4" fmla="*/ 49 w 63"/>
                <a:gd name="T5" fmla="*/ 6 h 46"/>
                <a:gd name="T6" fmla="*/ 45 w 63"/>
                <a:gd name="T7" fmla="*/ 6 h 46"/>
                <a:gd name="T8" fmla="*/ 40 w 63"/>
                <a:gd name="T9" fmla="*/ 4 h 46"/>
                <a:gd name="T10" fmla="*/ 38 w 63"/>
                <a:gd name="T11" fmla="*/ 2 h 46"/>
                <a:gd name="T12" fmla="*/ 35 w 63"/>
                <a:gd name="T13" fmla="*/ 2 h 46"/>
                <a:gd name="T14" fmla="*/ 31 w 63"/>
                <a:gd name="T15" fmla="*/ 2 h 46"/>
                <a:gd name="T16" fmla="*/ 27 w 63"/>
                <a:gd name="T17" fmla="*/ 2 h 46"/>
                <a:gd name="T18" fmla="*/ 17 w 63"/>
                <a:gd name="T19" fmla="*/ 1 h 46"/>
                <a:gd name="T20" fmla="*/ 8 w 63"/>
                <a:gd name="T21" fmla="*/ 0 h 46"/>
                <a:gd name="T22" fmla="*/ 2 w 63"/>
                <a:gd name="T23" fmla="*/ 3 h 46"/>
                <a:gd name="T24" fmla="*/ 2 w 63"/>
                <a:gd name="T25" fmla="*/ 6 h 46"/>
                <a:gd name="T26" fmla="*/ 2 w 63"/>
                <a:gd name="T27" fmla="*/ 11 h 46"/>
                <a:gd name="T28" fmla="*/ 5 w 63"/>
                <a:gd name="T29" fmla="*/ 10 h 46"/>
                <a:gd name="T30" fmla="*/ 7 w 63"/>
                <a:gd name="T31" fmla="*/ 12 h 46"/>
                <a:gd name="T32" fmla="*/ 12 w 63"/>
                <a:gd name="T33" fmla="*/ 11 h 46"/>
                <a:gd name="T34" fmla="*/ 14 w 63"/>
                <a:gd name="T35" fmla="*/ 14 h 46"/>
                <a:gd name="T36" fmla="*/ 13 w 63"/>
                <a:gd name="T37" fmla="*/ 20 h 46"/>
                <a:gd name="T38" fmla="*/ 12 w 63"/>
                <a:gd name="T39" fmla="*/ 25 h 46"/>
                <a:gd name="T40" fmla="*/ 12 w 63"/>
                <a:gd name="T41" fmla="*/ 28 h 46"/>
                <a:gd name="T42" fmla="*/ 10 w 63"/>
                <a:gd name="T43" fmla="*/ 33 h 46"/>
                <a:gd name="T44" fmla="*/ 10 w 63"/>
                <a:gd name="T45" fmla="*/ 38 h 46"/>
                <a:gd name="T46" fmla="*/ 17 w 63"/>
                <a:gd name="T47" fmla="*/ 44 h 46"/>
                <a:gd name="T48" fmla="*/ 20 w 63"/>
                <a:gd name="T49" fmla="*/ 45 h 46"/>
                <a:gd name="T50" fmla="*/ 21 w 63"/>
                <a:gd name="T51" fmla="*/ 43 h 46"/>
                <a:gd name="T52" fmla="*/ 24 w 63"/>
                <a:gd name="T53" fmla="*/ 42 h 46"/>
                <a:gd name="T54" fmla="*/ 36 w 63"/>
                <a:gd name="T55" fmla="*/ 41 h 46"/>
                <a:gd name="T56" fmla="*/ 39 w 63"/>
                <a:gd name="T57" fmla="*/ 38 h 46"/>
                <a:gd name="T58" fmla="*/ 43 w 63"/>
                <a:gd name="T59" fmla="*/ 35 h 46"/>
                <a:gd name="T60" fmla="*/ 47 w 63"/>
                <a:gd name="T61" fmla="*/ 30 h 46"/>
                <a:gd name="T62" fmla="*/ 45 w 63"/>
                <a:gd name="T63" fmla="*/ 26 h 46"/>
                <a:gd name="T64" fmla="*/ 48 w 63"/>
                <a:gd name="T65" fmla="*/ 21 h 46"/>
                <a:gd name="T66" fmla="*/ 50 w 63"/>
                <a:gd name="T67" fmla="*/ 19 h 46"/>
                <a:gd name="T68" fmla="*/ 51 w 63"/>
                <a:gd name="T69" fmla="*/ 17 h 46"/>
                <a:gd name="T70" fmla="*/ 60 w 63"/>
                <a:gd name="T71" fmla="*/ 13 h 46"/>
                <a:gd name="T72" fmla="*/ 63 w 63"/>
                <a:gd name="T73" fmla="*/ 9 h 46"/>
                <a:gd name="T74" fmla="*/ 58 w 63"/>
                <a:gd name="T75" fmla="*/ 8 h 46"/>
                <a:gd name="T76" fmla="*/ 58 w 63"/>
                <a:gd name="T77" fmla="*/ 8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3" h="46">
                  <a:moveTo>
                    <a:pt x="58" y="8"/>
                  </a:moveTo>
                  <a:cubicBezTo>
                    <a:pt x="55" y="8"/>
                    <a:pt x="54" y="7"/>
                    <a:pt x="52" y="6"/>
                  </a:cubicBezTo>
                  <a:cubicBezTo>
                    <a:pt x="51" y="5"/>
                    <a:pt x="50" y="6"/>
                    <a:pt x="49" y="6"/>
                  </a:cubicBezTo>
                  <a:cubicBezTo>
                    <a:pt x="48" y="6"/>
                    <a:pt x="46" y="6"/>
                    <a:pt x="45" y="6"/>
                  </a:cubicBezTo>
                  <a:cubicBezTo>
                    <a:pt x="43" y="5"/>
                    <a:pt x="41" y="4"/>
                    <a:pt x="40" y="4"/>
                  </a:cubicBezTo>
                  <a:cubicBezTo>
                    <a:pt x="39" y="3"/>
                    <a:pt x="39" y="3"/>
                    <a:pt x="38" y="2"/>
                  </a:cubicBezTo>
                  <a:cubicBezTo>
                    <a:pt x="37" y="3"/>
                    <a:pt x="36" y="2"/>
                    <a:pt x="35" y="2"/>
                  </a:cubicBezTo>
                  <a:cubicBezTo>
                    <a:pt x="33" y="1"/>
                    <a:pt x="32" y="2"/>
                    <a:pt x="31" y="2"/>
                  </a:cubicBezTo>
                  <a:cubicBezTo>
                    <a:pt x="29" y="2"/>
                    <a:pt x="28" y="2"/>
                    <a:pt x="27" y="2"/>
                  </a:cubicBezTo>
                  <a:cubicBezTo>
                    <a:pt x="24" y="2"/>
                    <a:pt x="21" y="1"/>
                    <a:pt x="17" y="1"/>
                  </a:cubicBezTo>
                  <a:cubicBezTo>
                    <a:pt x="15" y="1"/>
                    <a:pt x="11" y="0"/>
                    <a:pt x="8" y="0"/>
                  </a:cubicBezTo>
                  <a:cubicBezTo>
                    <a:pt x="7" y="1"/>
                    <a:pt x="4" y="2"/>
                    <a:pt x="2" y="3"/>
                  </a:cubicBezTo>
                  <a:cubicBezTo>
                    <a:pt x="0" y="4"/>
                    <a:pt x="1" y="5"/>
                    <a:pt x="2" y="6"/>
                  </a:cubicBezTo>
                  <a:cubicBezTo>
                    <a:pt x="2" y="8"/>
                    <a:pt x="2" y="9"/>
                    <a:pt x="2" y="11"/>
                  </a:cubicBezTo>
                  <a:cubicBezTo>
                    <a:pt x="3" y="11"/>
                    <a:pt x="5" y="10"/>
                    <a:pt x="5" y="10"/>
                  </a:cubicBezTo>
                  <a:cubicBezTo>
                    <a:pt x="6" y="10"/>
                    <a:pt x="5" y="12"/>
                    <a:pt x="7" y="12"/>
                  </a:cubicBezTo>
                  <a:cubicBezTo>
                    <a:pt x="9" y="12"/>
                    <a:pt x="10" y="11"/>
                    <a:pt x="12" y="11"/>
                  </a:cubicBezTo>
                  <a:cubicBezTo>
                    <a:pt x="14" y="10"/>
                    <a:pt x="16" y="13"/>
                    <a:pt x="14" y="14"/>
                  </a:cubicBezTo>
                  <a:cubicBezTo>
                    <a:pt x="12" y="16"/>
                    <a:pt x="13" y="17"/>
                    <a:pt x="13" y="20"/>
                  </a:cubicBezTo>
                  <a:cubicBezTo>
                    <a:pt x="12" y="21"/>
                    <a:pt x="13" y="24"/>
                    <a:pt x="12" y="25"/>
                  </a:cubicBezTo>
                  <a:cubicBezTo>
                    <a:pt x="9" y="25"/>
                    <a:pt x="10" y="26"/>
                    <a:pt x="12" y="28"/>
                  </a:cubicBezTo>
                  <a:cubicBezTo>
                    <a:pt x="13" y="29"/>
                    <a:pt x="10" y="31"/>
                    <a:pt x="10" y="33"/>
                  </a:cubicBezTo>
                  <a:cubicBezTo>
                    <a:pt x="12" y="35"/>
                    <a:pt x="10" y="36"/>
                    <a:pt x="10" y="38"/>
                  </a:cubicBezTo>
                  <a:cubicBezTo>
                    <a:pt x="13" y="37"/>
                    <a:pt x="15" y="42"/>
                    <a:pt x="17" y="44"/>
                  </a:cubicBezTo>
                  <a:cubicBezTo>
                    <a:pt x="17" y="45"/>
                    <a:pt x="19" y="46"/>
                    <a:pt x="20" y="45"/>
                  </a:cubicBezTo>
                  <a:cubicBezTo>
                    <a:pt x="20" y="45"/>
                    <a:pt x="21" y="44"/>
                    <a:pt x="21" y="43"/>
                  </a:cubicBezTo>
                  <a:cubicBezTo>
                    <a:pt x="22" y="43"/>
                    <a:pt x="24" y="42"/>
                    <a:pt x="24" y="42"/>
                  </a:cubicBezTo>
                  <a:cubicBezTo>
                    <a:pt x="28" y="41"/>
                    <a:pt x="32" y="42"/>
                    <a:pt x="36" y="41"/>
                  </a:cubicBezTo>
                  <a:cubicBezTo>
                    <a:pt x="37" y="40"/>
                    <a:pt x="37" y="39"/>
                    <a:pt x="39" y="38"/>
                  </a:cubicBezTo>
                  <a:cubicBezTo>
                    <a:pt x="41" y="37"/>
                    <a:pt x="42" y="36"/>
                    <a:pt x="43" y="35"/>
                  </a:cubicBezTo>
                  <a:cubicBezTo>
                    <a:pt x="44" y="32"/>
                    <a:pt x="45" y="31"/>
                    <a:pt x="47" y="30"/>
                  </a:cubicBezTo>
                  <a:cubicBezTo>
                    <a:pt x="48" y="29"/>
                    <a:pt x="46" y="27"/>
                    <a:pt x="45" y="26"/>
                  </a:cubicBezTo>
                  <a:cubicBezTo>
                    <a:pt x="45" y="25"/>
                    <a:pt x="47" y="22"/>
                    <a:pt x="48" y="21"/>
                  </a:cubicBezTo>
                  <a:cubicBezTo>
                    <a:pt x="48" y="21"/>
                    <a:pt x="49" y="20"/>
                    <a:pt x="50" y="19"/>
                  </a:cubicBezTo>
                  <a:cubicBezTo>
                    <a:pt x="50" y="19"/>
                    <a:pt x="50" y="17"/>
                    <a:pt x="51" y="17"/>
                  </a:cubicBezTo>
                  <a:cubicBezTo>
                    <a:pt x="54" y="15"/>
                    <a:pt x="57" y="14"/>
                    <a:pt x="60" y="13"/>
                  </a:cubicBezTo>
                  <a:cubicBezTo>
                    <a:pt x="61" y="12"/>
                    <a:pt x="63" y="11"/>
                    <a:pt x="63" y="9"/>
                  </a:cubicBezTo>
                  <a:cubicBezTo>
                    <a:pt x="62" y="7"/>
                    <a:pt x="60" y="9"/>
                    <a:pt x="58" y="8"/>
                  </a:cubicBezTo>
                  <a:cubicBezTo>
                    <a:pt x="55" y="8"/>
                    <a:pt x="60" y="9"/>
                    <a:pt x="58" y="8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07" name="Freeform 728">
              <a:extLst>
                <a:ext uri="{FF2B5EF4-FFF2-40B4-BE49-F238E27FC236}">
                  <a16:creationId xmlns:a16="http://schemas.microsoft.com/office/drawing/2014/main" id="{EE4CE22D-7386-6DD4-6242-7AD2A12D8F90}"/>
                </a:ext>
              </a:extLst>
            </p:cNvPr>
            <p:cNvSpPr>
              <a:spLocks/>
            </p:cNvSpPr>
            <p:nvPr/>
          </p:nvSpPr>
          <p:spPr bwMode="auto">
            <a:xfrm>
              <a:off x="5585454" y="3077428"/>
              <a:ext cx="84048" cy="168422"/>
            </a:xfrm>
            <a:custGeom>
              <a:avLst/>
              <a:gdLst>
                <a:gd name="T0" fmla="*/ 11 w 16"/>
                <a:gd name="T1" fmla="*/ 25 h 30"/>
                <a:gd name="T2" fmla="*/ 11 w 16"/>
                <a:gd name="T3" fmla="*/ 21 h 30"/>
                <a:gd name="T4" fmla="*/ 10 w 16"/>
                <a:gd name="T5" fmla="*/ 16 h 30"/>
                <a:gd name="T6" fmla="*/ 12 w 16"/>
                <a:gd name="T7" fmla="*/ 14 h 30"/>
                <a:gd name="T8" fmla="*/ 13 w 16"/>
                <a:gd name="T9" fmla="*/ 9 h 30"/>
                <a:gd name="T10" fmla="*/ 14 w 16"/>
                <a:gd name="T11" fmla="*/ 4 h 30"/>
                <a:gd name="T12" fmla="*/ 12 w 16"/>
                <a:gd name="T13" fmla="*/ 1 h 30"/>
                <a:gd name="T14" fmla="*/ 7 w 16"/>
                <a:gd name="T15" fmla="*/ 2 h 30"/>
                <a:gd name="T16" fmla="*/ 5 w 16"/>
                <a:gd name="T17" fmla="*/ 0 h 30"/>
                <a:gd name="T18" fmla="*/ 4 w 16"/>
                <a:gd name="T19" fmla="*/ 0 h 30"/>
                <a:gd name="T20" fmla="*/ 3 w 16"/>
                <a:gd name="T21" fmla="*/ 4 h 30"/>
                <a:gd name="T22" fmla="*/ 3 w 16"/>
                <a:gd name="T23" fmla="*/ 8 h 30"/>
                <a:gd name="T24" fmla="*/ 2 w 16"/>
                <a:gd name="T25" fmla="*/ 13 h 30"/>
                <a:gd name="T26" fmla="*/ 0 w 16"/>
                <a:gd name="T27" fmla="*/ 20 h 30"/>
                <a:gd name="T28" fmla="*/ 2 w 16"/>
                <a:gd name="T29" fmla="*/ 22 h 30"/>
                <a:gd name="T30" fmla="*/ 2 w 16"/>
                <a:gd name="T31" fmla="*/ 28 h 30"/>
                <a:gd name="T32" fmla="*/ 6 w 16"/>
                <a:gd name="T33" fmla="*/ 30 h 30"/>
                <a:gd name="T34" fmla="*/ 11 w 16"/>
                <a:gd name="T35" fmla="*/ 25 h 30"/>
                <a:gd name="T36" fmla="*/ 11 w 16"/>
                <a:gd name="T37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30">
                  <a:moveTo>
                    <a:pt x="11" y="25"/>
                  </a:moveTo>
                  <a:cubicBezTo>
                    <a:pt x="12" y="23"/>
                    <a:pt x="10" y="22"/>
                    <a:pt x="11" y="21"/>
                  </a:cubicBezTo>
                  <a:cubicBezTo>
                    <a:pt x="12" y="18"/>
                    <a:pt x="12" y="18"/>
                    <a:pt x="10" y="16"/>
                  </a:cubicBezTo>
                  <a:cubicBezTo>
                    <a:pt x="9" y="14"/>
                    <a:pt x="11" y="15"/>
                    <a:pt x="12" y="14"/>
                  </a:cubicBezTo>
                  <a:cubicBezTo>
                    <a:pt x="13" y="13"/>
                    <a:pt x="13" y="10"/>
                    <a:pt x="13" y="9"/>
                  </a:cubicBezTo>
                  <a:cubicBezTo>
                    <a:pt x="13" y="6"/>
                    <a:pt x="12" y="6"/>
                    <a:pt x="14" y="4"/>
                  </a:cubicBezTo>
                  <a:cubicBezTo>
                    <a:pt x="16" y="3"/>
                    <a:pt x="14" y="0"/>
                    <a:pt x="12" y="1"/>
                  </a:cubicBezTo>
                  <a:cubicBezTo>
                    <a:pt x="10" y="1"/>
                    <a:pt x="9" y="2"/>
                    <a:pt x="7" y="2"/>
                  </a:cubicBezTo>
                  <a:cubicBezTo>
                    <a:pt x="5" y="2"/>
                    <a:pt x="6" y="0"/>
                    <a:pt x="5" y="0"/>
                  </a:cubicBezTo>
                  <a:cubicBezTo>
                    <a:pt x="6" y="0"/>
                    <a:pt x="3" y="0"/>
                    <a:pt x="4" y="0"/>
                  </a:cubicBezTo>
                  <a:cubicBezTo>
                    <a:pt x="2" y="1"/>
                    <a:pt x="3" y="2"/>
                    <a:pt x="3" y="4"/>
                  </a:cubicBezTo>
                  <a:cubicBezTo>
                    <a:pt x="3" y="5"/>
                    <a:pt x="3" y="7"/>
                    <a:pt x="3" y="8"/>
                  </a:cubicBezTo>
                  <a:cubicBezTo>
                    <a:pt x="2" y="10"/>
                    <a:pt x="2" y="12"/>
                    <a:pt x="2" y="13"/>
                  </a:cubicBezTo>
                  <a:cubicBezTo>
                    <a:pt x="1" y="16"/>
                    <a:pt x="0" y="17"/>
                    <a:pt x="0" y="20"/>
                  </a:cubicBezTo>
                  <a:cubicBezTo>
                    <a:pt x="1" y="21"/>
                    <a:pt x="2" y="20"/>
                    <a:pt x="2" y="22"/>
                  </a:cubicBezTo>
                  <a:cubicBezTo>
                    <a:pt x="3" y="23"/>
                    <a:pt x="2" y="26"/>
                    <a:pt x="2" y="28"/>
                  </a:cubicBezTo>
                  <a:cubicBezTo>
                    <a:pt x="2" y="30"/>
                    <a:pt x="4" y="30"/>
                    <a:pt x="6" y="30"/>
                  </a:cubicBezTo>
                  <a:cubicBezTo>
                    <a:pt x="10" y="30"/>
                    <a:pt x="9" y="27"/>
                    <a:pt x="11" y="25"/>
                  </a:cubicBezTo>
                  <a:cubicBezTo>
                    <a:pt x="12" y="23"/>
                    <a:pt x="10" y="26"/>
                    <a:pt x="11" y="25"/>
                  </a:cubicBezTo>
                  <a:close/>
                </a:path>
              </a:pathLst>
            </a:custGeom>
            <a:solidFill>
              <a:schemeClr val="bg2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</p:grpSp>
      <p:sp>
        <p:nvSpPr>
          <p:cNvPr id="655" name="Freeform 677">
            <a:extLst>
              <a:ext uri="{FF2B5EF4-FFF2-40B4-BE49-F238E27FC236}">
                <a16:creationId xmlns:a16="http://schemas.microsoft.com/office/drawing/2014/main" id="{65BE8C59-D6DB-7259-44C0-8B6118E81FCE}"/>
              </a:ext>
            </a:extLst>
          </p:cNvPr>
          <p:cNvSpPr>
            <a:spLocks/>
          </p:cNvSpPr>
          <p:nvPr/>
        </p:nvSpPr>
        <p:spPr bwMode="auto">
          <a:xfrm>
            <a:off x="6974927" y="3151230"/>
            <a:ext cx="41131" cy="32171"/>
          </a:xfrm>
          <a:custGeom>
            <a:avLst/>
            <a:gdLst>
              <a:gd name="T0" fmla="*/ 1 w 8"/>
              <a:gd name="T1" fmla="*/ 1 h 6"/>
              <a:gd name="T2" fmla="*/ 3 w 8"/>
              <a:gd name="T3" fmla="*/ 4 h 6"/>
              <a:gd name="T4" fmla="*/ 8 w 8"/>
              <a:gd name="T5" fmla="*/ 6 h 6"/>
              <a:gd name="T6" fmla="*/ 0 w 8"/>
              <a:gd name="T7" fmla="*/ 0 h 6"/>
              <a:gd name="T8" fmla="*/ 1 w 8"/>
              <a:gd name="T9" fmla="*/ 1 h 6"/>
              <a:gd name="T10" fmla="*/ 1 w 8"/>
              <a:gd name="T11" fmla="*/ 1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" h="6">
                <a:moveTo>
                  <a:pt x="1" y="1"/>
                </a:moveTo>
                <a:cubicBezTo>
                  <a:pt x="2" y="1"/>
                  <a:pt x="2" y="3"/>
                  <a:pt x="3" y="4"/>
                </a:cubicBezTo>
                <a:cubicBezTo>
                  <a:pt x="5" y="4"/>
                  <a:pt x="6" y="5"/>
                  <a:pt x="8" y="6"/>
                </a:cubicBezTo>
                <a:cubicBezTo>
                  <a:pt x="7" y="2"/>
                  <a:pt x="3" y="1"/>
                  <a:pt x="0" y="0"/>
                </a:cubicBezTo>
                <a:cubicBezTo>
                  <a:pt x="0" y="1"/>
                  <a:pt x="0" y="1"/>
                  <a:pt x="1" y="1"/>
                </a:cubicBezTo>
                <a:cubicBezTo>
                  <a:pt x="2" y="1"/>
                  <a:pt x="0" y="1"/>
                  <a:pt x="1" y="1"/>
                </a:cubicBezTo>
                <a:close/>
              </a:path>
            </a:pathLst>
          </a:custGeom>
          <a:solidFill>
            <a:schemeClr val="bg2"/>
          </a:solidFill>
          <a:ln w="3175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id-ID" sz="900" b="1">
              <a:latin typeface="Calibri" panose="020F0502020204030204" pitchFamily="34" charset="0"/>
            </a:endParaRPr>
          </a:p>
        </p:txBody>
      </p:sp>
      <p:grpSp>
        <p:nvGrpSpPr>
          <p:cNvPr id="656" name="Group 655">
            <a:extLst>
              <a:ext uri="{FF2B5EF4-FFF2-40B4-BE49-F238E27FC236}">
                <a16:creationId xmlns:a16="http://schemas.microsoft.com/office/drawing/2014/main" id="{07F63962-4724-8423-616A-76B9215A2ADE}"/>
              </a:ext>
            </a:extLst>
          </p:cNvPr>
          <p:cNvGrpSpPr/>
          <p:nvPr/>
        </p:nvGrpSpPr>
        <p:grpSpPr>
          <a:xfrm>
            <a:off x="5379804" y="3234493"/>
            <a:ext cx="1766795" cy="2094846"/>
            <a:chOff x="5379804" y="3234493"/>
            <a:chExt cx="1766795" cy="2094846"/>
          </a:xfrm>
          <a:solidFill>
            <a:schemeClr val="bg2"/>
          </a:solidFill>
        </p:grpSpPr>
        <p:sp>
          <p:nvSpPr>
            <p:cNvPr id="657" name="Freeform 486">
              <a:extLst>
                <a:ext uri="{FF2B5EF4-FFF2-40B4-BE49-F238E27FC236}">
                  <a16:creationId xmlns:a16="http://schemas.microsoft.com/office/drawing/2014/main" id="{7EF2DF4E-41C0-8D40-1F74-415F645F0183}"/>
                </a:ext>
              </a:extLst>
            </p:cNvPr>
            <p:cNvSpPr>
              <a:spLocks/>
            </p:cNvSpPr>
            <p:nvPr/>
          </p:nvSpPr>
          <p:spPr bwMode="auto">
            <a:xfrm>
              <a:off x="6932009" y="4657553"/>
              <a:ext cx="189554" cy="387933"/>
            </a:xfrm>
            <a:custGeom>
              <a:avLst/>
              <a:gdLst>
                <a:gd name="T0" fmla="*/ 31 w 36"/>
                <a:gd name="T1" fmla="*/ 2 h 70"/>
                <a:gd name="T2" fmla="*/ 29 w 36"/>
                <a:gd name="T3" fmla="*/ 0 h 70"/>
                <a:gd name="T4" fmla="*/ 28 w 36"/>
                <a:gd name="T5" fmla="*/ 3 h 70"/>
                <a:gd name="T6" fmla="*/ 26 w 36"/>
                <a:gd name="T7" fmla="*/ 8 h 70"/>
                <a:gd name="T8" fmla="*/ 23 w 36"/>
                <a:gd name="T9" fmla="*/ 8 h 70"/>
                <a:gd name="T10" fmla="*/ 23 w 36"/>
                <a:gd name="T11" fmla="*/ 10 h 70"/>
                <a:gd name="T12" fmla="*/ 22 w 36"/>
                <a:gd name="T13" fmla="*/ 12 h 70"/>
                <a:gd name="T14" fmla="*/ 23 w 36"/>
                <a:gd name="T15" fmla="*/ 13 h 70"/>
                <a:gd name="T16" fmla="*/ 21 w 36"/>
                <a:gd name="T17" fmla="*/ 14 h 70"/>
                <a:gd name="T18" fmla="*/ 19 w 36"/>
                <a:gd name="T19" fmla="*/ 16 h 70"/>
                <a:gd name="T20" fmla="*/ 15 w 36"/>
                <a:gd name="T21" fmla="*/ 18 h 70"/>
                <a:gd name="T22" fmla="*/ 15 w 36"/>
                <a:gd name="T23" fmla="*/ 19 h 70"/>
                <a:gd name="T24" fmla="*/ 13 w 36"/>
                <a:gd name="T25" fmla="*/ 19 h 70"/>
                <a:gd name="T26" fmla="*/ 8 w 36"/>
                <a:gd name="T27" fmla="*/ 21 h 70"/>
                <a:gd name="T28" fmla="*/ 6 w 36"/>
                <a:gd name="T29" fmla="*/ 21 h 70"/>
                <a:gd name="T30" fmla="*/ 4 w 36"/>
                <a:gd name="T31" fmla="*/ 27 h 70"/>
                <a:gd name="T32" fmla="*/ 4 w 36"/>
                <a:gd name="T33" fmla="*/ 44 h 70"/>
                <a:gd name="T34" fmla="*/ 0 w 36"/>
                <a:gd name="T35" fmla="*/ 51 h 70"/>
                <a:gd name="T36" fmla="*/ 0 w 36"/>
                <a:gd name="T37" fmla="*/ 55 h 70"/>
                <a:gd name="T38" fmla="*/ 2 w 36"/>
                <a:gd name="T39" fmla="*/ 59 h 70"/>
                <a:gd name="T40" fmla="*/ 5 w 36"/>
                <a:gd name="T41" fmla="*/ 68 h 70"/>
                <a:gd name="T42" fmla="*/ 16 w 36"/>
                <a:gd name="T43" fmla="*/ 68 h 70"/>
                <a:gd name="T44" fmla="*/ 24 w 36"/>
                <a:gd name="T45" fmla="*/ 50 h 70"/>
                <a:gd name="T46" fmla="*/ 31 w 36"/>
                <a:gd name="T47" fmla="*/ 30 h 70"/>
                <a:gd name="T48" fmla="*/ 32 w 36"/>
                <a:gd name="T49" fmla="*/ 23 h 70"/>
                <a:gd name="T50" fmla="*/ 34 w 36"/>
                <a:gd name="T51" fmla="*/ 19 h 70"/>
                <a:gd name="T52" fmla="*/ 36 w 36"/>
                <a:gd name="T53" fmla="*/ 17 h 70"/>
                <a:gd name="T54" fmla="*/ 35 w 36"/>
                <a:gd name="T55" fmla="*/ 11 h 70"/>
                <a:gd name="T56" fmla="*/ 31 w 36"/>
                <a:gd name="T57" fmla="*/ 2 h 70"/>
                <a:gd name="T58" fmla="*/ 31 w 36"/>
                <a:gd name="T59" fmla="*/ 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6" h="70">
                  <a:moveTo>
                    <a:pt x="31" y="2"/>
                  </a:moveTo>
                  <a:cubicBezTo>
                    <a:pt x="31" y="2"/>
                    <a:pt x="30" y="0"/>
                    <a:pt x="29" y="0"/>
                  </a:cubicBezTo>
                  <a:cubicBezTo>
                    <a:pt x="29" y="1"/>
                    <a:pt x="28" y="2"/>
                    <a:pt x="28" y="3"/>
                  </a:cubicBezTo>
                  <a:cubicBezTo>
                    <a:pt x="27" y="5"/>
                    <a:pt x="27" y="6"/>
                    <a:pt x="26" y="8"/>
                  </a:cubicBezTo>
                  <a:cubicBezTo>
                    <a:pt x="25" y="9"/>
                    <a:pt x="24" y="8"/>
                    <a:pt x="23" y="8"/>
                  </a:cubicBezTo>
                  <a:cubicBezTo>
                    <a:pt x="23" y="8"/>
                    <a:pt x="24" y="9"/>
                    <a:pt x="23" y="10"/>
                  </a:cubicBezTo>
                  <a:cubicBezTo>
                    <a:pt x="23" y="11"/>
                    <a:pt x="22" y="11"/>
                    <a:pt x="22" y="12"/>
                  </a:cubicBezTo>
                  <a:cubicBezTo>
                    <a:pt x="22" y="12"/>
                    <a:pt x="23" y="13"/>
                    <a:pt x="23" y="13"/>
                  </a:cubicBezTo>
                  <a:cubicBezTo>
                    <a:pt x="23" y="14"/>
                    <a:pt x="22" y="13"/>
                    <a:pt x="21" y="14"/>
                  </a:cubicBezTo>
                  <a:cubicBezTo>
                    <a:pt x="20" y="14"/>
                    <a:pt x="20" y="15"/>
                    <a:pt x="19" y="16"/>
                  </a:cubicBezTo>
                  <a:cubicBezTo>
                    <a:pt x="18" y="17"/>
                    <a:pt x="17" y="17"/>
                    <a:pt x="15" y="18"/>
                  </a:cubicBezTo>
                  <a:cubicBezTo>
                    <a:pt x="14" y="18"/>
                    <a:pt x="16" y="19"/>
                    <a:pt x="15" y="19"/>
                  </a:cubicBezTo>
                  <a:cubicBezTo>
                    <a:pt x="15" y="20"/>
                    <a:pt x="13" y="18"/>
                    <a:pt x="13" y="19"/>
                  </a:cubicBezTo>
                  <a:cubicBezTo>
                    <a:pt x="11" y="20"/>
                    <a:pt x="10" y="20"/>
                    <a:pt x="8" y="21"/>
                  </a:cubicBezTo>
                  <a:cubicBezTo>
                    <a:pt x="7" y="21"/>
                    <a:pt x="6" y="20"/>
                    <a:pt x="6" y="21"/>
                  </a:cubicBezTo>
                  <a:cubicBezTo>
                    <a:pt x="5" y="23"/>
                    <a:pt x="5" y="25"/>
                    <a:pt x="4" y="27"/>
                  </a:cubicBezTo>
                  <a:cubicBezTo>
                    <a:pt x="3" y="32"/>
                    <a:pt x="8" y="39"/>
                    <a:pt x="4" y="44"/>
                  </a:cubicBezTo>
                  <a:cubicBezTo>
                    <a:pt x="3" y="46"/>
                    <a:pt x="1" y="48"/>
                    <a:pt x="0" y="51"/>
                  </a:cubicBezTo>
                  <a:cubicBezTo>
                    <a:pt x="0" y="52"/>
                    <a:pt x="0" y="54"/>
                    <a:pt x="0" y="55"/>
                  </a:cubicBezTo>
                  <a:cubicBezTo>
                    <a:pt x="1" y="56"/>
                    <a:pt x="3" y="57"/>
                    <a:pt x="2" y="59"/>
                  </a:cubicBezTo>
                  <a:cubicBezTo>
                    <a:pt x="1" y="62"/>
                    <a:pt x="2" y="66"/>
                    <a:pt x="5" y="68"/>
                  </a:cubicBezTo>
                  <a:cubicBezTo>
                    <a:pt x="8" y="70"/>
                    <a:pt x="11" y="70"/>
                    <a:pt x="16" y="68"/>
                  </a:cubicBezTo>
                  <a:cubicBezTo>
                    <a:pt x="21" y="66"/>
                    <a:pt x="22" y="55"/>
                    <a:pt x="24" y="50"/>
                  </a:cubicBezTo>
                  <a:cubicBezTo>
                    <a:pt x="26" y="43"/>
                    <a:pt x="29" y="37"/>
                    <a:pt x="31" y="30"/>
                  </a:cubicBezTo>
                  <a:cubicBezTo>
                    <a:pt x="31" y="28"/>
                    <a:pt x="31" y="25"/>
                    <a:pt x="32" y="23"/>
                  </a:cubicBezTo>
                  <a:cubicBezTo>
                    <a:pt x="33" y="22"/>
                    <a:pt x="31" y="14"/>
                    <a:pt x="34" y="19"/>
                  </a:cubicBezTo>
                  <a:cubicBezTo>
                    <a:pt x="35" y="20"/>
                    <a:pt x="35" y="18"/>
                    <a:pt x="36" y="17"/>
                  </a:cubicBezTo>
                  <a:cubicBezTo>
                    <a:pt x="36" y="15"/>
                    <a:pt x="35" y="13"/>
                    <a:pt x="35" y="11"/>
                  </a:cubicBezTo>
                  <a:cubicBezTo>
                    <a:pt x="34" y="9"/>
                    <a:pt x="33" y="4"/>
                    <a:pt x="31" y="2"/>
                  </a:cubicBezTo>
                  <a:cubicBezTo>
                    <a:pt x="30" y="1"/>
                    <a:pt x="32" y="2"/>
                    <a:pt x="31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58" name="Freeform 729">
              <a:extLst>
                <a:ext uri="{FF2B5EF4-FFF2-40B4-BE49-F238E27FC236}">
                  <a16:creationId xmlns:a16="http://schemas.microsoft.com/office/drawing/2014/main" id="{32CFE14F-7EE8-14EC-4EE8-7F91F642A989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7605" y="4600779"/>
              <a:ext cx="277180" cy="490123"/>
            </a:xfrm>
            <a:custGeom>
              <a:avLst/>
              <a:gdLst>
                <a:gd name="T0" fmla="*/ 52 w 53"/>
                <a:gd name="T1" fmla="*/ 23 h 88"/>
                <a:gd name="T2" fmla="*/ 50 w 53"/>
                <a:gd name="T3" fmla="*/ 3 h 88"/>
                <a:gd name="T4" fmla="*/ 46 w 53"/>
                <a:gd name="T5" fmla="*/ 3 h 88"/>
                <a:gd name="T6" fmla="*/ 41 w 53"/>
                <a:gd name="T7" fmla="*/ 6 h 88"/>
                <a:gd name="T8" fmla="*/ 38 w 53"/>
                <a:gd name="T9" fmla="*/ 7 h 88"/>
                <a:gd name="T10" fmla="*/ 32 w 53"/>
                <a:gd name="T11" fmla="*/ 7 h 88"/>
                <a:gd name="T12" fmla="*/ 28 w 53"/>
                <a:gd name="T13" fmla="*/ 7 h 88"/>
                <a:gd name="T14" fmla="*/ 23 w 53"/>
                <a:gd name="T15" fmla="*/ 7 h 88"/>
                <a:gd name="T16" fmla="*/ 24 w 53"/>
                <a:gd name="T17" fmla="*/ 18 h 88"/>
                <a:gd name="T18" fmla="*/ 25 w 53"/>
                <a:gd name="T19" fmla="*/ 20 h 88"/>
                <a:gd name="T20" fmla="*/ 27 w 53"/>
                <a:gd name="T21" fmla="*/ 22 h 88"/>
                <a:gd name="T22" fmla="*/ 27 w 53"/>
                <a:gd name="T23" fmla="*/ 28 h 88"/>
                <a:gd name="T24" fmla="*/ 25 w 53"/>
                <a:gd name="T25" fmla="*/ 31 h 88"/>
                <a:gd name="T26" fmla="*/ 24 w 53"/>
                <a:gd name="T27" fmla="*/ 35 h 88"/>
                <a:gd name="T28" fmla="*/ 20 w 53"/>
                <a:gd name="T29" fmla="*/ 31 h 88"/>
                <a:gd name="T30" fmla="*/ 21 w 53"/>
                <a:gd name="T31" fmla="*/ 25 h 88"/>
                <a:gd name="T32" fmla="*/ 16 w 53"/>
                <a:gd name="T33" fmla="*/ 22 h 88"/>
                <a:gd name="T34" fmla="*/ 13 w 53"/>
                <a:gd name="T35" fmla="*/ 20 h 88"/>
                <a:gd name="T36" fmla="*/ 2 w 53"/>
                <a:gd name="T37" fmla="*/ 24 h 88"/>
                <a:gd name="T38" fmla="*/ 0 w 53"/>
                <a:gd name="T39" fmla="*/ 26 h 88"/>
                <a:gd name="T40" fmla="*/ 1 w 53"/>
                <a:gd name="T41" fmla="*/ 30 h 88"/>
                <a:gd name="T42" fmla="*/ 12 w 53"/>
                <a:gd name="T43" fmla="*/ 35 h 88"/>
                <a:gd name="T44" fmla="*/ 13 w 53"/>
                <a:gd name="T45" fmla="*/ 44 h 88"/>
                <a:gd name="T46" fmla="*/ 12 w 53"/>
                <a:gd name="T47" fmla="*/ 52 h 88"/>
                <a:gd name="T48" fmla="*/ 6 w 53"/>
                <a:gd name="T49" fmla="*/ 62 h 88"/>
                <a:gd name="T50" fmla="*/ 6 w 53"/>
                <a:gd name="T51" fmla="*/ 69 h 88"/>
                <a:gd name="T52" fmla="*/ 8 w 53"/>
                <a:gd name="T53" fmla="*/ 78 h 88"/>
                <a:gd name="T54" fmla="*/ 9 w 53"/>
                <a:gd name="T55" fmla="*/ 87 h 88"/>
                <a:gd name="T56" fmla="*/ 12 w 53"/>
                <a:gd name="T57" fmla="*/ 86 h 88"/>
                <a:gd name="T58" fmla="*/ 13 w 53"/>
                <a:gd name="T59" fmla="*/ 83 h 88"/>
                <a:gd name="T60" fmla="*/ 11 w 53"/>
                <a:gd name="T61" fmla="*/ 83 h 88"/>
                <a:gd name="T62" fmla="*/ 16 w 53"/>
                <a:gd name="T63" fmla="*/ 77 h 88"/>
                <a:gd name="T64" fmla="*/ 25 w 53"/>
                <a:gd name="T65" fmla="*/ 72 h 88"/>
                <a:gd name="T66" fmla="*/ 25 w 53"/>
                <a:gd name="T67" fmla="*/ 64 h 88"/>
                <a:gd name="T68" fmla="*/ 21 w 53"/>
                <a:gd name="T69" fmla="*/ 48 h 88"/>
                <a:gd name="T70" fmla="*/ 24 w 53"/>
                <a:gd name="T71" fmla="*/ 48 h 88"/>
                <a:gd name="T72" fmla="*/ 29 w 53"/>
                <a:gd name="T73" fmla="*/ 44 h 88"/>
                <a:gd name="T74" fmla="*/ 35 w 53"/>
                <a:gd name="T75" fmla="*/ 38 h 88"/>
                <a:gd name="T76" fmla="*/ 40 w 53"/>
                <a:gd name="T77" fmla="*/ 36 h 88"/>
                <a:gd name="T78" fmla="*/ 46 w 53"/>
                <a:gd name="T79" fmla="*/ 32 h 88"/>
                <a:gd name="T80" fmla="*/ 52 w 53"/>
                <a:gd name="T81" fmla="*/ 23 h 88"/>
                <a:gd name="T82" fmla="*/ 52 w 53"/>
                <a:gd name="T83" fmla="*/ 23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3" h="88">
                  <a:moveTo>
                    <a:pt x="52" y="23"/>
                  </a:moveTo>
                  <a:cubicBezTo>
                    <a:pt x="49" y="17"/>
                    <a:pt x="50" y="9"/>
                    <a:pt x="50" y="3"/>
                  </a:cubicBezTo>
                  <a:cubicBezTo>
                    <a:pt x="50" y="0"/>
                    <a:pt x="48" y="2"/>
                    <a:pt x="46" y="3"/>
                  </a:cubicBezTo>
                  <a:cubicBezTo>
                    <a:pt x="45" y="4"/>
                    <a:pt x="43" y="6"/>
                    <a:pt x="41" y="6"/>
                  </a:cubicBezTo>
                  <a:cubicBezTo>
                    <a:pt x="40" y="6"/>
                    <a:pt x="38" y="5"/>
                    <a:pt x="38" y="7"/>
                  </a:cubicBezTo>
                  <a:cubicBezTo>
                    <a:pt x="36" y="10"/>
                    <a:pt x="34" y="7"/>
                    <a:pt x="32" y="7"/>
                  </a:cubicBezTo>
                  <a:cubicBezTo>
                    <a:pt x="30" y="7"/>
                    <a:pt x="30" y="9"/>
                    <a:pt x="28" y="7"/>
                  </a:cubicBezTo>
                  <a:cubicBezTo>
                    <a:pt x="27" y="7"/>
                    <a:pt x="24" y="7"/>
                    <a:pt x="23" y="7"/>
                  </a:cubicBezTo>
                  <a:cubicBezTo>
                    <a:pt x="20" y="7"/>
                    <a:pt x="21" y="16"/>
                    <a:pt x="24" y="18"/>
                  </a:cubicBezTo>
                  <a:cubicBezTo>
                    <a:pt x="24" y="18"/>
                    <a:pt x="24" y="20"/>
                    <a:pt x="25" y="20"/>
                  </a:cubicBezTo>
                  <a:cubicBezTo>
                    <a:pt x="25" y="21"/>
                    <a:pt x="26" y="21"/>
                    <a:pt x="27" y="22"/>
                  </a:cubicBezTo>
                  <a:cubicBezTo>
                    <a:pt x="27" y="24"/>
                    <a:pt x="27" y="27"/>
                    <a:pt x="27" y="28"/>
                  </a:cubicBezTo>
                  <a:cubicBezTo>
                    <a:pt x="27" y="30"/>
                    <a:pt x="28" y="31"/>
                    <a:pt x="25" y="31"/>
                  </a:cubicBezTo>
                  <a:cubicBezTo>
                    <a:pt x="24" y="31"/>
                    <a:pt x="24" y="34"/>
                    <a:pt x="24" y="35"/>
                  </a:cubicBezTo>
                  <a:cubicBezTo>
                    <a:pt x="23" y="34"/>
                    <a:pt x="21" y="32"/>
                    <a:pt x="20" y="31"/>
                  </a:cubicBezTo>
                  <a:cubicBezTo>
                    <a:pt x="19" y="29"/>
                    <a:pt x="21" y="27"/>
                    <a:pt x="21" y="25"/>
                  </a:cubicBezTo>
                  <a:cubicBezTo>
                    <a:pt x="22" y="20"/>
                    <a:pt x="19" y="24"/>
                    <a:pt x="16" y="22"/>
                  </a:cubicBezTo>
                  <a:cubicBezTo>
                    <a:pt x="15" y="21"/>
                    <a:pt x="15" y="19"/>
                    <a:pt x="13" y="20"/>
                  </a:cubicBezTo>
                  <a:cubicBezTo>
                    <a:pt x="9" y="22"/>
                    <a:pt x="6" y="23"/>
                    <a:pt x="2" y="24"/>
                  </a:cubicBezTo>
                  <a:cubicBezTo>
                    <a:pt x="1" y="25"/>
                    <a:pt x="0" y="25"/>
                    <a:pt x="0" y="26"/>
                  </a:cubicBezTo>
                  <a:cubicBezTo>
                    <a:pt x="0" y="27"/>
                    <a:pt x="1" y="29"/>
                    <a:pt x="1" y="30"/>
                  </a:cubicBezTo>
                  <a:cubicBezTo>
                    <a:pt x="4" y="30"/>
                    <a:pt x="12" y="32"/>
                    <a:pt x="12" y="35"/>
                  </a:cubicBezTo>
                  <a:cubicBezTo>
                    <a:pt x="13" y="38"/>
                    <a:pt x="13" y="41"/>
                    <a:pt x="13" y="44"/>
                  </a:cubicBezTo>
                  <a:cubicBezTo>
                    <a:pt x="12" y="46"/>
                    <a:pt x="14" y="49"/>
                    <a:pt x="12" y="52"/>
                  </a:cubicBezTo>
                  <a:cubicBezTo>
                    <a:pt x="10" y="55"/>
                    <a:pt x="8" y="59"/>
                    <a:pt x="6" y="62"/>
                  </a:cubicBezTo>
                  <a:cubicBezTo>
                    <a:pt x="4" y="64"/>
                    <a:pt x="6" y="68"/>
                    <a:pt x="6" y="69"/>
                  </a:cubicBezTo>
                  <a:cubicBezTo>
                    <a:pt x="8" y="73"/>
                    <a:pt x="8" y="75"/>
                    <a:pt x="8" y="78"/>
                  </a:cubicBezTo>
                  <a:cubicBezTo>
                    <a:pt x="8" y="81"/>
                    <a:pt x="8" y="84"/>
                    <a:pt x="9" y="87"/>
                  </a:cubicBezTo>
                  <a:cubicBezTo>
                    <a:pt x="9" y="88"/>
                    <a:pt x="12" y="87"/>
                    <a:pt x="12" y="86"/>
                  </a:cubicBezTo>
                  <a:cubicBezTo>
                    <a:pt x="13" y="85"/>
                    <a:pt x="13" y="83"/>
                    <a:pt x="13" y="83"/>
                  </a:cubicBezTo>
                  <a:cubicBezTo>
                    <a:pt x="12" y="83"/>
                    <a:pt x="11" y="83"/>
                    <a:pt x="11" y="83"/>
                  </a:cubicBezTo>
                  <a:cubicBezTo>
                    <a:pt x="11" y="80"/>
                    <a:pt x="14" y="78"/>
                    <a:pt x="16" y="77"/>
                  </a:cubicBezTo>
                  <a:cubicBezTo>
                    <a:pt x="19" y="76"/>
                    <a:pt x="23" y="75"/>
                    <a:pt x="25" y="72"/>
                  </a:cubicBezTo>
                  <a:cubicBezTo>
                    <a:pt x="25" y="71"/>
                    <a:pt x="25" y="66"/>
                    <a:pt x="25" y="64"/>
                  </a:cubicBezTo>
                  <a:cubicBezTo>
                    <a:pt x="25" y="62"/>
                    <a:pt x="21" y="48"/>
                    <a:pt x="21" y="48"/>
                  </a:cubicBezTo>
                  <a:cubicBezTo>
                    <a:pt x="22" y="47"/>
                    <a:pt x="22" y="50"/>
                    <a:pt x="24" y="48"/>
                  </a:cubicBezTo>
                  <a:cubicBezTo>
                    <a:pt x="26" y="46"/>
                    <a:pt x="27" y="45"/>
                    <a:pt x="29" y="44"/>
                  </a:cubicBezTo>
                  <a:cubicBezTo>
                    <a:pt x="31" y="43"/>
                    <a:pt x="32" y="37"/>
                    <a:pt x="35" y="38"/>
                  </a:cubicBezTo>
                  <a:cubicBezTo>
                    <a:pt x="36" y="38"/>
                    <a:pt x="38" y="36"/>
                    <a:pt x="40" y="36"/>
                  </a:cubicBezTo>
                  <a:cubicBezTo>
                    <a:pt x="42" y="35"/>
                    <a:pt x="44" y="34"/>
                    <a:pt x="46" y="32"/>
                  </a:cubicBezTo>
                  <a:cubicBezTo>
                    <a:pt x="47" y="31"/>
                    <a:pt x="53" y="25"/>
                    <a:pt x="52" y="23"/>
                  </a:cubicBezTo>
                  <a:cubicBezTo>
                    <a:pt x="51" y="22"/>
                    <a:pt x="52" y="24"/>
                    <a:pt x="52" y="2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59" name="Freeform 730">
              <a:extLst>
                <a:ext uri="{FF2B5EF4-FFF2-40B4-BE49-F238E27FC236}">
                  <a16:creationId xmlns:a16="http://schemas.microsoft.com/office/drawing/2014/main" id="{B6E45563-48C8-A61C-A6DD-CCE402EA0C1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60194" y="4585640"/>
              <a:ext cx="84048" cy="210054"/>
            </a:xfrm>
            <a:custGeom>
              <a:avLst/>
              <a:gdLst>
                <a:gd name="T0" fmla="*/ 4 w 16"/>
                <a:gd name="T1" fmla="*/ 25 h 38"/>
                <a:gd name="T2" fmla="*/ 9 w 16"/>
                <a:gd name="T3" fmla="*/ 26 h 38"/>
                <a:gd name="T4" fmla="*/ 8 w 16"/>
                <a:gd name="T5" fmla="*/ 31 h 38"/>
                <a:gd name="T6" fmla="*/ 12 w 16"/>
                <a:gd name="T7" fmla="*/ 38 h 38"/>
                <a:gd name="T8" fmla="*/ 12 w 16"/>
                <a:gd name="T9" fmla="*/ 34 h 38"/>
                <a:gd name="T10" fmla="*/ 15 w 16"/>
                <a:gd name="T11" fmla="*/ 33 h 38"/>
                <a:gd name="T12" fmla="*/ 15 w 16"/>
                <a:gd name="T13" fmla="*/ 27 h 38"/>
                <a:gd name="T14" fmla="*/ 12 w 16"/>
                <a:gd name="T15" fmla="*/ 22 h 38"/>
                <a:gd name="T16" fmla="*/ 8 w 16"/>
                <a:gd name="T17" fmla="*/ 20 h 38"/>
                <a:gd name="T18" fmla="*/ 8 w 16"/>
                <a:gd name="T19" fmla="*/ 16 h 38"/>
                <a:gd name="T20" fmla="*/ 7 w 16"/>
                <a:gd name="T21" fmla="*/ 14 h 38"/>
                <a:gd name="T22" fmla="*/ 8 w 16"/>
                <a:gd name="T23" fmla="*/ 8 h 38"/>
                <a:gd name="T24" fmla="*/ 7 w 16"/>
                <a:gd name="T25" fmla="*/ 3 h 38"/>
                <a:gd name="T26" fmla="*/ 7 w 16"/>
                <a:gd name="T27" fmla="*/ 1 h 38"/>
                <a:gd name="T28" fmla="*/ 2 w 16"/>
                <a:gd name="T29" fmla="*/ 0 h 38"/>
                <a:gd name="T30" fmla="*/ 4 w 16"/>
                <a:gd name="T31" fmla="*/ 6 h 38"/>
                <a:gd name="T32" fmla="*/ 4 w 16"/>
                <a:gd name="T33" fmla="*/ 14 h 38"/>
                <a:gd name="T34" fmla="*/ 2 w 16"/>
                <a:gd name="T35" fmla="*/ 16 h 38"/>
                <a:gd name="T36" fmla="*/ 1 w 16"/>
                <a:gd name="T37" fmla="*/ 20 h 38"/>
                <a:gd name="T38" fmla="*/ 4 w 16"/>
                <a:gd name="T39" fmla="*/ 25 h 38"/>
                <a:gd name="T40" fmla="*/ 4 w 16"/>
                <a:gd name="T41" fmla="*/ 2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" h="38">
                  <a:moveTo>
                    <a:pt x="4" y="25"/>
                  </a:moveTo>
                  <a:cubicBezTo>
                    <a:pt x="6" y="26"/>
                    <a:pt x="9" y="24"/>
                    <a:pt x="9" y="26"/>
                  </a:cubicBezTo>
                  <a:cubicBezTo>
                    <a:pt x="10" y="28"/>
                    <a:pt x="9" y="29"/>
                    <a:pt x="8" y="31"/>
                  </a:cubicBezTo>
                  <a:cubicBezTo>
                    <a:pt x="6" y="33"/>
                    <a:pt x="10" y="36"/>
                    <a:pt x="12" y="38"/>
                  </a:cubicBezTo>
                  <a:cubicBezTo>
                    <a:pt x="13" y="37"/>
                    <a:pt x="12" y="35"/>
                    <a:pt x="12" y="34"/>
                  </a:cubicBezTo>
                  <a:cubicBezTo>
                    <a:pt x="13" y="33"/>
                    <a:pt x="16" y="35"/>
                    <a:pt x="15" y="33"/>
                  </a:cubicBezTo>
                  <a:cubicBezTo>
                    <a:pt x="15" y="31"/>
                    <a:pt x="15" y="29"/>
                    <a:pt x="15" y="27"/>
                  </a:cubicBezTo>
                  <a:cubicBezTo>
                    <a:pt x="14" y="25"/>
                    <a:pt x="13" y="24"/>
                    <a:pt x="12" y="22"/>
                  </a:cubicBezTo>
                  <a:cubicBezTo>
                    <a:pt x="11" y="25"/>
                    <a:pt x="8" y="21"/>
                    <a:pt x="8" y="20"/>
                  </a:cubicBezTo>
                  <a:cubicBezTo>
                    <a:pt x="8" y="18"/>
                    <a:pt x="8" y="17"/>
                    <a:pt x="8" y="16"/>
                  </a:cubicBezTo>
                  <a:cubicBezTo>
                    <a:pt x="8" y="14"/>
                    <a:pt x="8" y="15"/>
                    <a:pt x="7" y="14"/>
                  </a:cubicBezTo>
                  <a:cubicBezTo>
                    <a:pt x="6" y="14"/>
                    <a:pt x="8" y="8"/>
                    <a:pt x="8" y="8"/>
                  </a:cubicBezTo>
                  <a:cubicBezTo>
                    <a:pt x="8" y="6"/>
                    <a:pt x="7" y="5"/>
                    <a:pt x="7" y="3"/>
                  </a:cubicBezTo>
                  <a:cubicBezTo>
                    <a:pt x="6" y="2"/>
                    <a:pt x="5" y="0"/>
                    <a:pt x="7" y="1"/>
                  </a:cubicBezTo>
                  <a:cubicBezTo>
                    <a:pt x="6" y="0"/>
                    <a:pt x="3" y="0"/>
                    <a:pt x="2" y="0"/>
                  </a:cubicBezTo>
                  <a:cubicBezTo>
                    <a:pt x="2" y="1"/>
                    <a:pt x="6" y="5"/>
                    <a:pt x="4" y="6"/>
                  </a:cubicBezTo>
                  <a:cubicBezTo>
                    <a:pt x="1" y="7"/>
                    <a:pt x="2" y="12"/>
                    <a:pt x="4" y="14"/>
                  </a:cubicBezTo>
                  <a:cubicBezTo>
                    <a:pt x="4" y="15"/>
                    <a:pt x="2" y="15"/>
                    <a:pt x="2" y="16"/>
                  </a:cubicBezTo>
                  <a:cubicBezTo>
                    <a:pt x="1" y="16"/>
                    <a:pt x="1" y="19"/>
                    <a:pt x="1" y="20"/>
                  </a:cubicBezTo>
                  <a:cubicBezTo>
                    <a:pt x="0" y="22"/>
                    <a:pt x="3" y="24"/>
                    <a:pt x="4" y="25"/>
                  </a:cubicBezTo>
                  <a:cubicBezTo>
                    <a:pt x="5" y="26"/>
                    <a:pt x="4" y="24"/>
                    <a:pt x="4" y="2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60" name="Freeform 731">
              <a:extLst>
                <a:ext uri="{FF2B5EF4-FFF2-40B4-BE49-F238E27FC236}">
                  <a16:creationId xmlns:a16="http://schemas.microsoft.com/office/drawing/2014/main" id="{D1D4AC0C-01A3-35D5-C638-D3F39BC2B6D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75861" y="4545901"/>
              <a:ext cx="314732" cy="278179"/>
            </a:xfrm>
            <a:custGeom>
              <a:avLst/>
              <a:gdLst>
                <a:gd name="T0" fmla="*/ 56 w 60"/>
                <a:gd name="T1" fmla="*/ 30 h 50"/>
                <a:gd name="T2" fmla="*/ 55 w 60"/>
                <a:gd name="T3" fmla="*/ 24 h 50"/>
                <a:gd name="T4" fmla="*/ 57 w 60"/>
                <a:gd name="T5" fmla="*/ 22 h 50"/>
                <a:gd name="T6" fmla="*/ 57 w 60"/>
                <a:gd name="T7" fmla="*/ 19 h 50"/>
                <a:gd name="T8" fmla="*/ 58 w 60"/>
                <a:gd name="T9" fmla="*/ 13 h 50"/>
                <a:gd name="T10" fmla="*/ 56 w 60"/>
                <a:gd name="T11" fmla="*/ 8 h 50"/>
                <a:gd name="T12" fmla="*/ 51 w 60"/>
                <a:gd name="T13" fmla="*/ 5 h 50"/>
                <a:gd name="T14" fmla="*/ 48 w 60"/>
                <a:gd name="T15" fmla="*/ 3 h 50"/>
                <a:gd name="T16" fmla="*/ 45 w 60"/>
                <a:gd name="T17" fmla="*/ 0 h 50"/>
                <a:gd name="T18" fmla="*/ 38 w 60"/>
                <a:gd name="T19" fmla="*/ 1 h 50"/>
                <a:gd name="T20" fmla="*/ 34 w 60"/>
                <a:gd name="T21" fmla="*/ 4 h 50"/>
                <a:gd name="T22" fmla="*/ 35 w 60"/>
                <a:gd name="T23" fmla="*/ 10 h 50"/>
                <a:gd name="T24" fmla="*/ 33 w 60"/>
                <a:gd name="T25" fmla="*/ 17 h 50"/>
                <a:gd name="T26" fmla="*/ 37 w 60"/>
                <a:gd name="T27" fmla="*/ 21 h 50"/>
                <a:gd name="T28" fmla="*/ 40 w 60"/>
                <a:gd name="T29" fmla="*/ 23 h 50"/>
                <a:gd name="T30" fmla="*/ 39 w 60"/>
                <a:gd name="T31" fmla="*/ 26 h 50"/>
                <a:gd name="T32" fmla="*/ 35 w 60"/>
                <a:gd name="T33" fmla="*/ 26 h 50"/>
                <a:gd name="T34" fmla="*/ 31 w 60"/>
                <a:gd name="T35" fmla="*/ 22 h 50"/>
                <a:gd name="T36" fmla="*/ 27 w 60"/>
                <a:gd name="T37" fmla="*/ 17 h 50"/>
                <a:gd name="T38" fmla="*/ 20 w 60"/>
                <a:gd name="T39" fmla="*/ 18 h 50"/>
                <a:gd name="T40" fmla="*/ 16 w 60"/>
                <a:gd name="T41" fmla="*/ 16 h 50"/>
                <a:gd name="T42" fmla="*/ 14 w 60"/>
                <a:gd name="T43" fmla="*/ 16 h 50"/>
                <a:gd name="T44" fmla="*/ 11 w 60"/>
                <a:gd name="T45" fmla="*/ 14 h 50"/>
                <a:gd name="T46" fmla="*/ 11 w 60"/>
                <a:gd name="T47" fmla="*/ 20 h 50"/>
                <a:gd name="T48" fmla="*/ 10 w 60"/>
                <a:gd name="T49" fmla="*/ 24 h 50"/>
                <a:gd name="T50" fmla="*/ 2 w 60"/>
                <a:gd name="T51" fmla="*/ 24 h 50"/>
                <a:gd name="T52" fmla="*/ 1 w 60"/>
                <a:gd name="T53" fmla="*/ 29 h 50"/>
                <a:gd name="T54" fmla="*/ 3 w 60"/>
                <a:gd name="T55" fmla="*/ 43 h 50"/>
                <a:gd name="T56" fmla="*/ 8 w 60"/>
                <a:gd name="T57" fmla="*/ 48 h 50"/>
                <a:gd name="T58" fmla="*/ 16 w 60"/>
                <a:gd name="T59" fmla="*/ 50 h 50"/>
                <a:gd name="T60" fmla="*/ 18 w 60"/>
                <a:gd name="T61" fmla="*/ 50 h 50"/>
                <a:gd name="T62" fmla="*/ 22 w 60"/>
                <a:gd name="T63" fmla="*/ 50 h 50"/>
                <a:gd name="T64" fmla="*/ 28 w 60"/>
                <a:gd name="T65" fmla="*/ 47 h 50"/>
                <a:gd name="T66" fmla="*/ 31 w 60"/>
                <a:gd name="T67" fmla="*/ 44 h 50"/>
                <a:gd name="T68" fmla="*/ 35 w 60"/>
                <a:gd name="T69" fmla="*/ 41 h 50"/>
                <a:gd name="T70" fmla="*/ 37 w 60"/>
                <a:gd name="T71" fmla="*/ 38 h 50"/>
                <a:gd name="T72" fmla="*/ 43 w 60"/>
                <a:gd name="T73" fmla="*/ 38 h 50"/>
                <a:gd name="T74" fmla="*/ 42 w 60"/>
                <a:gd name="T75" fmla="*/ 35 h 50"/>
                <a:gd name="T76" fmla="*/ 46 w 60"/>
                <a:gd name="T77" fmla="*/ 33 h 50"/>
                <a:gd name="T78" fmla="*/ 56 w 60"/>
                <a:gd name="T79" fmla="*/ 30 h 50"/>
                <a:gd name="T80" fmla="*/ 56 w 60"/>
                <a:gd name="T81" fmla="*/ 3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0" h="50">
                  <a:moveTo>
                    <a:pt x="56" y="30"/>
                  </a:moveTo>
                  <a:cubicBezTo>
                    <a:pt x="54" y="27"/>
                    <a:pt x="56" y="27"/>
                    <a:pt x="55" y="24"/>
                  </a:cubicBezTo>
                  <a:cubicBezTo>
                    <a:pt x="55" y="23"/>
                    <a:pt x="56" y="23"/>
                    <a:pt x="57" y="22"/>
                  </a:cubicBezTo>
                  <a:cubicBezTo>
                    <a:pt x="58" y="21"/>
                    <a:pt x="57" y="20"/>
                    <a:pt x="57" y="19"/>
                  </a:cubicBezTo>
                  <a:cubicBezTo>
                    <a:pt x="56" y="17"/>
                    <a:pt x="56" y="14"/>
                    <a:pt x="58" y="13"/>
                  </a:cubicBezTo>
                  <a:cubicBezTo>
                    <a:pt x="60" y="12"/>
                    <a:pt x="57" y="9"/>
                    <a:pt x="56" y="8"/>
                  </a:cubicBezTo>
                  <a:cubicBezTo>
                    <a:pt x="55" y="6"/>
                    <a:pt x="53" y="5"/>
                    <a:pt x="51" y="5"/>
                  </a:cubicBezTo>
                  <a:cubicBezTo>
                    <a:pt x="50" y="4"/>
                    <a:pt x="49" y="3"/>
                    <a:pt x="48" y="3"/>
                  </a:cubicBezTo>
                  <a:cubicBezTo>
                    <a:pt x="47" y="2"/>
                    <a:pt x="46" y="1"/>
                    <a:pt x="45" y="0"/>
                  </a:cubicBezTo>
                  <a:cubicBezTo>
                    <a:pt x="45" y="0"/>
                    <a:pt x="39" y="1"/>
                    <a:pt x="38" y="1"/>
                  </a:cubicBezTo>
                  <a:cubicBezTo>
                    <a:pt x="36" y="1"/>
                    <a:pt x="36" y="3"/>
                    <a:pt x="34" y="4"/>
                  </a:cubicBezTo>
                  <a:cubicBezTo>
                    <a:pt x="33" y="6"/>
                    <a:pt x="34" y="9"/>
                    <a:pt x="35" y="10"/>
                  </a:cubicBezTo>
                  <a:cubicBezTo>
                    <a:pt x="35" y="13"/>
                    <a:pt x="33" y="14"/>
                    <a:pt x="33" y="17"/>
                  </a:cubicBezTo>
                  <a:cubicBezTo>
                    <a:pt x="33" y="18"/>
                    <a:pt x="35" y="21"/>
                    <a:pt x="37" y="21"/>
                  </a:cubicBezTo>
                  <a:cubicBezTo>
                    <a:pt x="39" y="21"/>
                    <a:pt x="40" y="20"/>
                    <a:pt x="40" y="23"/>
                  </a:cubicBezTo>
                  <a:cubicBezTo>
                    <a:pt x="40" y="25"/>
                    <a:pt x="40" y="26"/>
                    <a:pt x="39" y="26"/>
                  </a:cubicBezTo>
                  <a:cubicBezTo>
                    <a:pt x="37" y="27"/>
                    <a:pt x="36" y="28"/>
                    <a:pt x="35" y="26"/>
                  </a:cubicBezTo>
                  <a:cubicBezTo>
                    <a:pt x="34" y="24"/>
                    <a:pt x="33" y="22"/>
                    <a:pt x="31" y="22"/>
                  </a:cubicBezTo>
                  <a:cubicBezTo>
                    <a:pt x="29" y="21"/>
                    <a:pt x="28" y="19"/>
                    <a:pt x="27" y="17"/>
                  </a:cubicBezTo>
                  <a:cubicBezTo>
                    <a:pt x="25" y="21"/>
                    <a:pt x="23" y="19"/>
                    <a:pt x="20" y="18"/>
                  </a:cubicBezTo>
                  <a:cubicBezTo>
                    <a:pt x="18" y="18"/>
                    <a:pt x="18" y="16"/>
                    <a:pt x="16" y="16"/>
                  </a:cubicBezTo>
                  <a:cubicBezTo>
                    <a:pt x="16" y="16"/>
                    <a:pt x="15" y="17"/>
                    <a:pt x="14" y="16"/>
                  </a:cubicBezTo>
                  <a:cubicBezTo>
                    <a:pt x="13" y="16"/>
                    <a:pt x="13" y="14"/>
                    <a:pt x="11" y="14"/>
                  </a:cubicBezTo>
                  <a:cubicBezTo>
                    <a:pt x="11" y="16"/>
                    <a:pt x="11" y="18"/>
                    <a:pt x="11" y="20"/>
                  </a:cubicBezTo>
                  <a:cubicBezTo>
                    <a:pt x="11" y="22"/>
                    <a:pt x="12" y="24"/>
                    <a:pt x="10" y="24"/>
                  </a:cubicBezTo>
                  <a:cubicBezTo>
                    <a:pt x="7" y="24"/>
                    <a:pt x="4" y="24"/>
                    <a:pt x="2" y="24"/>
                  </a:cubicBezTo>
                  <a:cubicBezTo>
                    <a:pt x="1" y="24"/>
                    <a:pt x="1" y="28"/>
                    <a:pt x="1" y="29"/>
                  </a:cubicBezTo>
                  <a:cubicBezTo>
                    <a:pt x="1" y="33"/>
                    <a:pt x="0" y="40"/>
                    <a:pt x="3" y="43"/>
                  </a:cubicBezTo>
                  <a:cubicBezTo>
                    <a:pt x="4" y="44"/>
                    <a:pt x="7" y="48"/>
                    <a:pt x="8" y="48"/>
                  </a:cubicBezTo>
                  <a:cubicBezTo>
                    <a:pt x="10" y="47"/>
                    <a:pt x="19" y="47"/>
                    <a:pt x="16" y="50"/>
                  </a:cubicBezTo>
                  <a:cubicBezTo>
                    <a:pt x="18" y="50"/>
                    <a:pt x="17" y="50"/>
                    <a:pt x="18" y="50"/>
                  </a:cubicBezTo>
                  <a:cubicBezTo>
                    <a:pt x="20" y="49"/>
                    <a:pt x="21" y="50"/>
                    <a:pt x="22" y="50"/>
                  </a:cubicBezTo>
                  <a:cubicBezTo>
                    <a:pt x="25" y="50"/>
                    <a:pt x="27" y="50"/>
                    <a:pt x="28" y="47"/>
                  </a:cubicBezTo>
                  <a:cubicBezTo>
                    <a:pt x="29" y="46"/>
                    <a:pt x="30" y="45"/>
                    <a:pt x="31" y="44"/>
                  </a:cubicBezTo>
                  <a:cubicBezTo>
                    <a:pt x="32" y="43"/>
                    <a:pt x="34" y="43"/>
                    <a:pt x="35" y="41"/>
                  </a:cubicBezTo>
                  <a:cubicBezTo>
                    <a:pt x="36" y="40"/>
                    <a:pt x="36" y="39"/>
                    <a:pt x="37" y="38"/>
                  </a:cubicBezTo>
                  <a:cubicBezTo>
                    <a:pt x="39" y="38"/>
                    <a:pt x="41" y="38"/>
                    <a:pt x="43" y="38"/>
                  </a:cubicBezTo>
                  <a:cubicBezTo>
                    <a:pt x="42" y="37"/>
                    <a:pt x="42" y="35"/>
                    <a:pt x="42" y="35"/>
                  </a:cubicBezTo>
                  <a:cubicBezTo>
                    <a:pt x="44" y="34"/>
                    <a:pt x="45" y="34"/>
                    <a:pt x="46" y="33"/>
                  </a:cubicBezTo>
                  <a:cubicBezTo>
                    <a:pt x="49" y="32"/>
                    <a:pt x="53" y="31"/>
                    <a:pt x="56" y="30"/>
                  </a:cubicBezTo>
                  <a:cubicBezTo>
                    <a:pt x="55" y="29"/>
                    <a:pt x="55" y="30"/>
                    <a:pt x="56" y="3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61" name="Freeform 732">
              <a:extLst>
                <a:ext uri="{FF2B5EF4-FFF2-40B4-BE49-F238E27FC236}">
                  <a16:creationId xmlns:a16="http://schemas.microsoft.com/office/drawing/2014/main" id="{E927FFB2-C638-4A81-481B-C0A43D87251E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6236" y="4795693"/>
              <a:ext cx="334403" cy="350089"/>
            </a:xfrm>
            <a:custGeom>
              <a:avLst/>
              <a:gdLst>
                <a:gd name="T0" fmla="*/ 33 w 64"/>
                <a:gd name="T1" fmla="*/ 5 h 63"/>
                <a:gd name="T2" fmla="*/ 31 w 64"/>
                <a:gd name="T3" fmla="*/ 2 h 63"/>
                <a:gd name="T4" fmla="*/ 28 w 64"/>
                <a:gd name="T5" fmla="*/ 2 h 63"/>
                <a:gd name="T6" fmla="*/ 18 w 64"/>
                <a:gd name="T7" fmla="*/ 2 h 63"/>
                <a:gd name="T8" fmla="*/ 10 w 64"/>
                <a:gd name="T9" fmla="*/ 2 h 63"/>
                <a:gd name="T10" fmla="*/ 7 w 64"/>
                <a:gd name="T11" fmla="*/ 0 h 63"/>
                <a:gd name="T12" fmla="*/ 4 w 64"/>
                <a:gd name="T13" fmla="*/ 2 h 63"/>
                <a:gd name="T14" fmla="*/ 1 w 64"/>
                <a:gd name="T15" fmla="*/ 2 h 63"/>
                <a:gd name="T16" fmla="*/ 6 w 64"/>
                <a:gd name="T17" fmla="*/ 14 h 63"/>
                <a:gd name="T18" fmla="*/ 9 w 64"/>
                <a:gd name="T19" fmla="*/ 21 h 63"/>
                <a:gd name="T20" fmla="*/ 13 w 64"/>
                <a:gd name="T21" fmla="*/ 29 h 63"/>
                <a:gd name="T22" fmla="*/ 13 w 64"/>
                <a:gd name="T23" fmla="*/ 34 h 63"/>
                <a:gd name="T24" fmla="*/ 14 w 64"/>
                <a:gd name="T25" fmla="*/ 42 h 63"/>
                <a:gd name="T26" fmla="*/ 16 w 64"/>
                <a:gd name="T27" fmla="*/ 51 h 63"/>
                <a:gd name="T28" fmla="*/ 22 w 64"/>
                <a:gd name="T29" fmla="*/ 61 h 63"/>
                <a:gd name="T30" fmla="*/ 28 w 64"/>
                <a:gd name="T31" fmla="*/ 62 h 63"/>
                <a:gd name="T32" fmla="*/ 33 w 64"/>
                <a:gd name="T33" fmla="*/ 62 h 63"/>
                <a:gd name="T34" fmla="*/ 38 w 64"/>
                <a:gd name="T35" fmla="*/ 58 h 63"/>
                <a:gd name="T36" fmla="*/ 38 w 64"/>
                <a:gd name="T37" fmla="*/ 40 h 63"/>
                <a:gd name="T38" fmla="*/ 38 w 64"/>
                <a:gd name="T39" fmla="*/ 28 h 63"/>
                <a:gd name="T40" fmla="*/ 39 w 64"/>
                <a:gd name="T41" fmla="*/ 26 h 63"/>
                <a:gd name="T42" fmla="*/ 43 w 64"/>
                <a:gd name="T43" fmla="*/ 26 h 63"/>
                <a:gd name="T44" fmla="*/ 43 w 64"/>
                <a:gd name="T45" fmla="*/ 7 h 63"/>
                <a:gd name="T46" fmla="*/ 51 w 64"/>
                <a:gd name="T47" fmla="*/ 6 h 63"/>
                <a:gd name="T48" fmla="*/ 53 w 64"/>
                <a:gd name="T49" fmla="*/ 5 h 63"/>
                <a:gd name="T50" fmla="*/ 56 w 64"/>
                <a:gd name="T51" fmla="*/ 8 h 63"/>
                <a:gd name="T52" fmla="*/ 58 w 64"/>
                <a:gd name="T53" fmla="*/ 6 h 63"/>
                <a:gd name="T54" fmla="*/ 62 w 64"/>
                <a:gd name="T55" fmla="*/ 5 h 63"/>
                <a:gd name="T56" fmla="*/ 59 w 64"/>
                <a:gd name="T57" fmla="*/ 2 h 63"/>
                <a:gd name="T58" fmla="*/ 45 w 64"/>
                <a:gd name="T59" fmla="*/ 5 h 63"/>
                <a:gd name="T60" fmla="*/ 33 w 64"/>
                <a:gd name="T61" fmla="*/ 5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64" h="63">
                  <a:moveTo>
                    <a:pt x="33" y="5"/>
                  </a:moveTo>
                  <a:cubicBezTo>
                    <a:pt x="32" y="5"/>
                    <a:pt x="31" y="2"/>
                    <a:pt x="31" y="2"/>
                  </a:cubicBezTo>
                  <a:cubicBezTo>
                    <a:pt x="30" y="2"/>
                    <a:pt x="29" y="2"/>
                    <a:pt x="28" y="2"/>
                  </a:cubicBezTo>
                  <a:cubicBezTo>
                    <a:pt x="25" y="2"/>
                    <a:pt x="21" y="2"/>
                    <a:pt x="18" y="2"/>
                  </a:cubicBezTo>
                  <a:cubicBezTo>
                    <a:pt x="15" y="2"/>
                    <a:pt x="13" y="2"/>
                    <a:pt x="10" y="2"/>
                  </a:cubicBezTo>
                  <a:cubicBezTo>
                    <a:pt x="9" y="2"/>
                    <a:pt x="9" y="0"/>
                    <a:pt x="7" y="0"/>
                  </a:cubicBezTo>
                  <a:cubicBezTo>
                    <a:pt x="6" y="0"/>
                    <a:pt x="5" y="2"/>
                    <a:pt x="4" y="2"/>
                  </a:cubicBezTo>
                  <a:cubicBezTo>
                    <a:pt x="3" y="2"/>
                    <a:pt x="2" y="2"/>
                    <a:pt x="1" y="2"/>
                  </a:cubicBezTo>
                  <a:cubicBezTo>
                    <a:pt x="0" y="7"/>
                    <a:pt x="4" y="9"/>
                    <a:pt x="6" y="14"/>
                  </a:cubicBezTo>
                  <a:cubicBezTo>
                    <a:pt x="7" y="16"/>
                    <a:pt x="8" y="19"/>
                    <a:pt x="9" y="21"/>
                  </a:cubicBezTo>
                  <a:cubicBezTo>
                    <a:pt x="10" y="24"/>
                    <a:pt x="12" y="26"/>
                    <a:pt x="13" y="29"/>
                  </a:cubicBezTo>
                  <a:cubicBezTo>
                    <a:pt x="13" y="30"/>
                    <a:pt x="13" y="33"/>
                    <a:pt x="13" y="34"/>
                  </a:cubicBezTo>
                  <a:cubicBezTo>
                    <a:pt x="13" y="37"/>
                    <a:pt x="14" y="39"/>
                    <a:pt x="14" y="42"/>
                  </a:cubicBezTo>
                  <a:cubicBezTo>
                    <a:pt x="15" y="45"/>
                    <a:pt x="15" y="48"/>
                    <a:pt x="16" y="51"/>
                  </a:cubicBezTo>
                  <a:cubicBezTo>
                    <a:pt x="17" y="55"/>
                    <a:pt x="20" y="58"/>
                    <a:pt x="22" y="61"/>
                  </a:cubicBezTo>
                  <a:cubicBezTo>
                    <a:pt x="25" y="58"/>
                    <a:pt x="25" y="60"/>
                    <a:pt x="28" y="62"/>
                  </a:cubicBezTo>
                  <a:cubicBezTo>
                    <a:pt x="29" y="63"/>
                    <a:pt x="32" y="63"/>
                    <a:pt x="33" y="62"/>
                  </a:cubicBezTo>
                  <a:cubicBezTo>
                    <a:pt x="36" y="62"/>
                    <a:pt x="38" y="61"/>
                    <a:pt x="38" y="58"/>
                  </a:cubicBezTo>
                  <a:cubicBezTo>
                    <a:pt x="38" y="52"/>
                    <a:pt x="38" y="46"/>
                    <a:pt x="38" y="40"/>
                  </a:cubicBezTo>
                  <a:cubicBezTo>
                    <a:pt x="38" y="36"/>
                    <a:pt x="38" y="32"/>
                    <a:pt x="38" y="28"/>
                  </a:cubicBezTo>
                  <a:cubicBezTo>
                    <a:pt x="38" y="27"/>
                    <a:pt x="38" y="26"/>
                    <a:pt x="39" y="26"/>
                  </a:cubicBezTo>
                  <a:cubicBezTo>
                    <a:pt x="39" y="26"/>
                    <a:pt x="43" y="26"/>
                    <a:pt x="43" y="26"/>
                  </a:cubicBezTo>
                  <a:cubicBezTo>
                    <a:pt x="43" y="20"/>
                    <a:pt x="43" y="13"/>
                    <a:pt x="43" y="7"/>
                  </a:cubicBezTo>
                  <a:cubicBezTo>
                    <a:pt x="46" y="8"/>
                    <a:pt x="48" y="6"/>
                    <a:pt x="51" y="6"/>
                  </a:cubicBezTo>
                  <a:cubicBezTo>
                    <a:pt x="51" y="5"/>
                    <a:pt x="52" y="5"/>
                    <a:pt x="53" y="5"/>
                  </a:cubicBezTo>
                  <a:cubicBezTo>
                    <a:pt x="53" y="5"/>
                    <a:pt x="55" y="8"/>
                    <a:pt x="56" y="8"/>
                  </a:cubicBezTo>
                  <a:cubicBezTo>
                    <a:pt x="57" y="7"/>
                    <a:pt x="56" y="6"/>
                    <a:pt x="58" y="6"/>
                  </a:cubicBezTo>
                  <a:cubicBezTo>
                    <a:pt x="59" y="6"/>
                    <a:pt x="60" y="5"/>
                    <a:pt x="62" y="5"/>
                  </a:cubicBezTo>
                  <a:cubicBezTo>
                    <a:pt x="64" y="4"/>
                    <a:pt x="60" y="2"/>
                    <a:pt x="59" y="2"/>
                  </a:cubicBezTo>
                  <a:cubicBezTo>
                    <a:pt x="54" y="2"/>
                    <a:pt x="50" y="5"/>
                    <a:pt x="45" y="5"/>
                  </a:cubicBezTo>
                  <a:cubicBezTo>
                    <a:pt x="41" y="5"/>
                    <a:pt x="37" y="5"/>
                    <a:pt x="33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62" name="Freeform 733">
              <a:extLst>
                <a:ext uri="{FF2B5EF4-FFF2-40B4-BE49-F238E27FC236}">
                  <a16:creationId xmlns:a16="http://schemas.microsoft.com/office/drawing/2014/main" id="{48EA60DA-C615-BA0D-4DEF-529BAD3F0340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5177" y="4167429"/>
              <a:ext cx="477465" cy="527971"/>
            </a:xfrm>
            <a:custGeom>
              <a:avLst/>
              <a:gdLst>
                <a:gd name="T0" fmla="*/ 89 w 91"/>
                <a:gd name="T1" fmla="*/ 10 h 95"/>
                <a:gd name="T2" fmla="*/ 83 w 91"/>
                <a:gd name="T3" fmla="*/ 4 h 95"/>
                <a:gd name="T4" fmla="*/ 77 w 91"/>
                <a:gd name="T5" fmla="*/ 6 h 95"/>
                <a:gd name="T6" fmla="*/ 72 w 91"/>
                <a:gd name="T7" fmla="*/ 1 h 95"/>
                <a:gd name="T8" fmla="*/ 65 w 91"/>
                <a:gd name="T9" fmla="*/ 1 h 95"/>
                <a:gd name="T10" fmla="*/ 57 w 91"/>
                <a:gd name="T11" fmla="*/ 2 h 95"/>
                <a:gd name="T12" fmla="*/ 48 w 91"/>
                <a:gd name="T13" fmla="*/ 6 h 95"/>
                <a:gd name="T14" fmla="*/ 35 w 91"/>
                <a:gd name="T15" fmla="*/ 2 h 95"/>
                <a:gd name="T16" fmla="*/ 30 w 91"/>
                <a:gd name="T17" fmla="*/ 12 h 95"/>
                <a:gd name="T18" fmla="*/ 19 w 91"/>
                <a:gd name="T19" fmla="*/ 35 h 95"/>
                <a:gd name="T20" fmla="*/ 17 w 91"/>
                <a:gd name="T21" fmla="*/ 48 h 95"/>
                <a:gd name="T22" fmla="*/ 10 w 91"/>
                <a:gd name="T23" fmla="*/ 49 h 95"/>
                <a:gd name="T24" fmla="*/ 2 w 91"/>
                <a:gd name="T25" fmla="*/ 55 h 95"/>
                <a:gd name="T26" fmla="*/ 1 w 91"/>
                <a:gd name="T27" fmla="*/ 59 h 95"/>
                <a:gd name="T28" fmla="*/ 18 w 91"/>
                <a:gd name="T29" fmla="*/ 57 h 95"/>
                <a:gd name="T30" fmla="*/ 26 w 91"/>
                <a:gd name="T31" fmla="*/ 68 h 95"/>
                <a:gd name="T32" fmla="*/ 35 w 91"/>
                <a:gd name="T33" fmla="*/ 63 h 95"/>
                <a:gd name="T34" fmla="*/ 41 w 91"/>
                <a:gd name="T35" fmla="*/ 64 h 95"/>
                <a:gd name="T36" fmla="*/ 46 w 91"/>
                <a:gd name="T37" fmla="*/ 70 h 95"/>
                <a:gd name="T38" fmla="*/ 47 w 91"/>
                <a:gd name="T39" fmla="*/ 78 h 95"/>
                <a:gd name="T40" fmla="*/ 53 w 91"/>
                <a:gd name="T41" fmla="*/ 82 h 95"/>
                <a:gd name="T42" fmla="*/ 60 w 91"/>
                <a:gd name="T43" fmla="*/ 84 h 95"/>
                <a:gd name="T44" fmla="*/ 66 w 91"/>
                <a:gd name="T45" fmla="*/ 87 h 95"/>
                <a:gd name="T46" fmla="*/ 76 w 91"/>
                <a:gd name="T47" fmla="*/ 90 h 95"/>
                <a:gd name="T48" fmla="*/ 84 w 91"/>
                <a:gd name="T49" fmla="*/ 94 h 95"/>
                <a:gd name="T50" fmla="*/ 77 w 91"/>
                <a:gd name="T51" fmla="*/ 85 h 95"/>
                <a:gd name="T52" fmla="*/ 78 w 91"/>
                <a:gd name="T53" fmla="*/ 73 h 95"/>
                <a:gd name="T54" fmla="*/ 80 w 91"/>
                <a:gd name="T55" fmla="*/ 70 h 95"/>
                <a:gd name="T56" fmla="*/ 84 w 91"/>
                <a:gd name="T57" fmla="*/ 63 h 95"/>
                <a:gd name="T58" fmla="*/ 81 w 91"/>
                <a:gd name="T59" fmla="*/ 55 h 95"/>
                <a:gd name="T60" fmla="*/ 81 w 91"/>
                <a:gd name="T61" fmla="*/ 45 h 95"/>
                <a:gd name="T62" fmla="*/ 83 w 91"/>
                <a:gd name="T63" fmla="*/ 28 h 95"/>
                <a:gd name="T64" fmla="*/ 90 w 91"/>
                <a:gd name="T65" fmla="*/ 18 h 95"/>
                <a:gd name="T66" fmla="*/ 90 w 91"/>
                <a:gd name="T67" fmla="*/ 1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91" h="95">
                  <a:moveTo>
                    <a:pt x="90" y="15"/>
                  </a:moveTo>
                  <a:cubicBezTo>
                    <a:pt x="89" y="14"/>
                    <a:pt x="89" y="12"/>
                    <a:pt x="89" y="10"/>
                  </a:cubicBezTo>
                  <a:cubicBezTo>
                    <a:pt x="89" y="9"/>
                    <a:pt x="87" y="8"/>
                    <a:pt x="86" y="7"/>
                  </a:cubicBezTo>
                  <a:cubicBezTo>
                    <a:pt x="86" y="6"/>
                    <a:pt x="84" y="4"/>
                    <a:pt x="83" y="4"/>
                  </a:cubicBezTo>
                  <a:cubicBezTo>
                    <a:pt x="82" y="4"/>
                    <a:pt x="82" y="6"/>
                    <a:pt x="80" y="5"/>
                  </a:cubicBezTo>
                  <a:cubicBezTo>
                    <a:pt x="78" y="4"/>
                    <a:pt x="79" y="5"/>
                    <a:pt x="77" y="6"/>
                  </a:cubicBezTo>
                  <a:cubicBezTo>
                    <a:pt x="77" y="6"/>
                    <a:pt x="75" y="5"/>
                    <a:pt x="75" y="4"/>
                  </a:cubicBezTo>
                  <a:cubicBezTo>
                    <a:pt x="74" y="3"/>
                    <a:pt x="73" y="2"/>
                    <a:pt x="72" y="1"/>
                  </a:cubicBezTo>
                  <a:cubicBezTo>
                    <a:pt x="71" y="0"/>
                    <a:pt x="70" y="2"/>
                    <a:pt x="69" y="2"/>
                  </a:cubicBezTo>
                  <a:cubicBezTo>
                    <a:pt x="68" y="3"/>
                    <a:pt x="66" y="2"/>
                    <a:pt x="65" y="1"/>
                  </a:cubicBezTo>
                  <a:cubicBezTo>
                    <a:pt x="63" y="0"/>
                    <a:pt x="63" y="1"/>
                    <a:pt x="61" y="2"/>
                  </a:cubicBezTo>
                  <a:cubicBezTo>
                    <a:pt x="60" y="3"/>
                    <a:pt x="58" y="2"/>
                    <a:pt x="57" y="2"/>
                  </a:cubicBezTo>
                  <a:cubicBezTo>
                    <a:pt x="56" y="3"/>
                    <a:pt x="53" y="3"/>
                    <a:pt x="52" y="3"/>
                  </a:cubicBezTo>
                  <a:cubicBezTo>
                    <a:pt x="49" y="1"/>
                    <a:pt x="51" y="6"/>
                    <a:pt x="48" y="6"/>
                  </a:cubicBezTo>
                  <a:cubicBezTo>
                    <a:pt x="46" y="7"/>
                    <a:pt x="42" y="6"/>
                    <a:pt x="40" y="5"/>
                  </a:cubicBezTo>
                  <a:cubicBezTo>
                    <a:pt x="38" y="4"/>
                    <a:pt x="37" y="2"/>
                    <a:pt x="35" y="2"/>
                  </a:cubicBezTo>
                  <a:cubicBezTo>
                    <a:pt x="34" y="1"/>
                    <a:pt x="32" y="3"/>
                    <a:pt x="31" y="4"/>
                  </a:cubicBezTo>
                  <a:cubicBezTo>
                    <a:pt x="29" y="6"/>
                    <a:pt x="31" y="9"/>
                    <a:pt x="30" y="12"/>
                  </a:cubicBezTo>
                  <a:cubicBezTo>
                    <a:pt x="27" y="17"/>
                    <a:pt x="27" y="23"/>
                    <a:pt x="24" y="27"/>
                  </a:cubicBezTo>
                  <a:cubicBezTo>
                    <a:pt x="22" y="30"/>
                    <a:pt x="21" y="32"/>
                    <a:pt x="19" y="35"/>
                  </a:cubicBezTo>
                  <a:cubicBezTo>
                    <a:pt x="18" y="37"/>
                    <a:pt x="18" y="39"/>
                    <a:pt x="18" y="41"/>
                  </a:cubicBezTo>
                  <a:cubicBezTo>
                    <a:pt x="18" y="44"/>
                    <a:pt x="19" y="46"/>
                    <a:pt x="17" y="48"/>
                  </a:cubicBezTo>
                  <a:cubicBezTo>
                    <a:pt x="16" y="48"/>
                    <a:pt x="11" y="51"/>
                    <a:pt x="11" y="51"/>
                  </a:cubicBezTo>
                  <a:cubicBezTo>
                    <a:pt x="10" y="51"/>
                    <a:pt x="12" y="48"/>
                    <a:pt x="10" y="49"/>
                  </a:cubicBezTo>
                  <a:cubicBezTo>
                    <a:pt x="7" y="51"/>
                    <a:pt x="7" y="53"/>
                    <a:pt x="5" y="50"/>
                  </a:cubicBezTo>
                  <a:cubicBezTo>
                    <a:pt x="4" y="51"/>
                    <a:pt x="2" y="53"/>
                    <a:pt x="2" y="55"/>
                  </a:cubicBezTo>
                  <a:cubicBezTo>
                    <a:pt x="2" y="55"/>
                    <a:pt x="2" y="56"/>
                    <a:pt x="1" y="56"/>
                  </a:cubicBezTo>
                  <a:cubicBezTo>
                    <a:pt x="0" y="57"/>
                    <a:pt x="1" y="58"/>
                    <a:pt x="1" y="59"/>
                  </a:cubicBezTo>
                  <a:cubicBezTo>
                    <a:pt x="5" y="56"/>
                    <a:pt x="8" y="57"/>
                    <a:pt x="13" y="57"/>
                  </a:cubicBezTo>
                  <a:cubicBezTo>
                    <a:pt x="15" y="57"/>
                    <a:pt x="16" y="57"/>
                    <a:pt x="18" y="57"/>
                  </a:cubicBezTo>
                  <a:cubicBezTo>
                    <a:pt x="20" y="57"/>
                    <a:pt x="21" y="60"/>
                    <a:pt x="22" y="62"/>
                  </a:cubicBezTo>
                  <a:cubicBezTo>
                    <a:pt x="23" y="64"/>
                    <a:pt x="24" y="67"/>
                    <a:pt x="26" y="68"/>
                  </a:cubicBezTo>
                  <a:cubicBezTo>
                    <a:pt x="27" y="69"/>
                    <a:pt x="31" y="68"/>
                    <a:pt x="33" y="67"/>
                  </a:cubicBezTo>
                  <a:cubicBezTo>
                    <a:pt x="34" y="67"/>
                    <a:pt x="34" y="64"/>
                    <a:pt x="35" y="63"/>
                  </a:cubicBezTo>
                  <a:cubicBezTo>
                    <a:pt x="35" y="61"/>
                    <a:pt x="38" y="62"/>
                    <a:pt x="39" y="62"/>
                  </a:cubicBezTo>
                  <a:cubicBezTo>
                    <a:pt x="39" y="64"/>
                    <a:pt x="39" y="64"/>
                    <a:pt x="41" y="64"/>
                  </a:cubicBezTo>
                  <a:cubicBezTo>
                    <a:pt x="42" y="64"/>
                    <a:pt x="45" y="63"/>
                    <a:pt x="45" y="65"/>
                  </a:cubicBezTo>
                  <a:cubicBezTo>
                    <a:pt x="45" y="67"/>
                    <a:pt x="46" y="68"/>
                    <a:pt x="46" y="70"/>
                  </a:cubicBezTo>
                  <a:cubicBezTo>
                    <a:pt x="46" y="71"/>
                    <a:pt x="46" y="72"/>
                    <a:pt x="45" y="74"/>
                  </a:cubicBezTo>
                  <a:cubicBezTo>
                    <a:pt x="45" y="75"/>
                    <a:pt x="46" y="77"/>
                    <a:pt x="47" y="78"/>
                  </a:cubicBezTo>
                  <a:cubicBezTo>
                    <a:pt x="48" y="79"/>
                    <a:pt x="47" y="81"/>
                    <a:pt x="47" y="82"/>
                  </a:cubicBezTo>
                  <a:cubicBezTo>
                    <a:pt x="47" y="85"/>
                    <a:pt x="52" y="82"/>
                    <a:pt x="53" y="82"/>
                  </a:cubicBezTo>
                  <a:cubicBezTo>
                    <a:pt x="55" y="82"/>
                    <a:pt x="56" y="82"/>
                    <a:pt x="57" y="83"/>
                  </a:cubicBezTo>
                  <a:cubicBezTo>
                    <a:pt x="59" y="85"/>
                    <a:pt x="58" y="84"/>
                    <a:pt x="60" y="84"/>
                  </a:cubicBezTo>
                  <a:cubicBezTo>
                    <a:pt x="62" y="84"/>
                    <a:pt x="62" y="85"/>
                    <a:pt x="63" y="86"/>
                  </a:cubicBezTo>
                  <a:cubicBezTo>
                    <a:pt x="64" y="86"/>
                    <a:pt x="65" y="87"/>
                    <a:pt x="66" y="87"/>
                  </a:cubicBezTo>
                  <a:cubicBezTo>
                    <a:pt x="69" y="88"/>
                    <a:pt x="70" y="88"/>
                    <a:pt x="71" y="85"/>
                  </a:cubicBezTo>
                  <a:cubicBezTo>
                    <a:pt x="72" y="88"/>
                    <a:pt x="73" y="89"/>
                    <a:pt x="76" y="90"/>
                  </a:cubicBezTo>
                  <a:cubicBezTo>
                    <a:pt x="78" y="91"/>
                    <a:pt x="78" y="94"/>
                    <a:pt x="80" y="95"/>
                  </a:cubicBezTo>
                  <a:cubicBezTo>
                    <a:pt x="80" y="95"/>
                    <a:pt x="84" y="94"/>
                    <a:pt x="84" y="94"/>
                  </a:cubicBezTo>
                  <a:cubicBezTo>
                    <a:pt x="84" y="92"/>
                    <a:pt x="85" y="88"/>
                    <a:pt x="83" y="89"/>
                  </a:cubicBezTo>
                  <a:cubicBezTo>
                    <a:pt x="80" y="90"/>
                    <a:pt x="78" y="88"/>
                    <a:pt x="77" y="85"/>
                  </a:cubicBezTo>
                  <a:cubicBezTo>
                    <a:pt x="77" y="83"/>
                    <a:pt x="79" y="80"/>
                    <a:pt x="78" y="77"/>
                  </a:cubicBezTo>
                  <a:cubicBezTo>
                    <a:pt x="78" y="76"/>
                    <a:pt x="77" y="74"/>
                    <a:pt x="78" y="73"/>
                  </a:cubicBezTo>
                  <a:cubicBezTo>
                    <a:pt x="78" y="73"/>
                    <a:pt x="78" y="72"/>
                    <a:pt x="79" y="72"/>
                  </a:cubicBezTo>
                  <a:cubicBezTo>
                    <a:pt x="80" y="72"/>
                    <a:pt x="79" y="70"/>
                    <a:pt x="80" y="70"/>
                  </a:cubicBezTo>
                  <a:cubicBezTo>
                    <a:pt x="81" y="68"/>
                    <a:pt x="86" y="68"/>
                    <a:pt x="87" y="68"/>
                  </a:cubicBezTo>
                  <a:cubicBezTo>
                    <a:pt x="85" y="67"/>
                    <a:pt x="86" y="64"/>
                    <a:pt x="84" y="63"/>
                  </a:cubicBezTo>
                  <a:cubicBezTo>
                    <a:pt x="83" y="62"/>
                    <a:pt x="82" y="61"/>
                    <a:pt x="82" y="60"/>
                  </a:cubicBezTo>
                  <a:cubicBezTo>
                    <a:pt x="82" y="58"/>
                    <a:pt x="82" y="56"/>
                    <a:pt x="81" y="55"/>
                  </a:cubicBezTo>
                  <a:cubicBezTo>
                    <a:pt x="81" y="53"/>
                    <a:pt x="80" y="52"/>
                    <a:pt x="80" y="50"/>
                  </a:cubicBezTo>
                  <a:cubicBezTo>
                    <a:pt x="80" y="49"/>
                    <a:pt x="80" y="44"/>
                    <a:pt x="81" y="45"/>
                  </a:cubicBezTo>
                  <a:cubicBezTo>
                    <a:pt x="80" y="41"/>
                    <a:pt x="80" y="39"/>
                    <a:pt x="82" y="35"/>
                  </a:cubicBezTo>
                  <a:cubicBezTo>
                    <a:pt x="83" y="32"/>
                    <a:pt x="83" y="31"/>
                    <a:pt x="83" y="28"/>
                  </a:cubicBezTo>
                  <a:cubicBezTo>
                    <a:pt x="83" y="25"/>
                    <a:pt x="85" y="23"/>
                    <a:pt x="87" y="21"/>
                  </a:cubicBezTo>
                  <a:cubicBezTo>
                    <a:pt x="88" y="20"/>
                    <a:pt x="89" y="19"/>
                    <a:pt x="90" y="18"/>
                  </a:cubicBezTo>
                  <a:cubicBezTo>
                    <a:pt x="91" y="17"/>
                    <a:pt x="91" y="17"/>
                    <a:pt x="90" y="15"/>
                  </a:cubicBezTo>
                  <a:cubicBezTo>
                    <a:pt x="89" y="15"/>
                    <a:pt x="91" y="16"/>
                    <a:pt x="90" y="1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63" name="Freeform 734">
              <a:extLst>
                <a:ext uri="{FF2B5EF4-FFF2-40B4-BE49-F238E27FC236}">
                  <a16:creationId xmlns:a16="http://schemas.microsoft.com/office/drawing/2014/main" id="{005472AA-C835-2C73-FD6F-14B72F504976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9812" y="4479669"/>
              <a:ext cx="295062" cy="350089"/>
            </a:xfrm>
            <a:custGeom>
              <a:avLst/>
              <a:gdLst>
                <a:gd name="T0" fmla="*/ 51 w 56"/>
                <a:gd name="T1" fmla="*/ 27 h 63"/>
                <a:gd name="T2" fmla="*/ 48 w 56"/>
                <a:gd name="T3" fmla="*/ 26 h 63"/>
                <a:gd name="T4" fmla="*/ 47 w 56"/>
                <a:gd name="T5" fmla="*/ 21 h 63"/>
                <a:gd name="T6" fmla="*/ 46 w 56"/>
                <a:gd name="T7" fmla="*/ 12 h 63"/>
                <a:gd name="T8" fmla="*/ 46 w 56"/>
                <a:gd name="T9" fmla="*/ 8 h 63"/>
                <a:gd name="T10" fmla="*/ 43 w 56"/>
                <a:gd name="T11" fmla="*/ 8 h 63"/>
                <a:gd name="T12" fmla="*/ 40 w 56"/>
                <a:gd name="T13" fmla="*/ 6 h 63"/>
                <a:gd name="T14" fmla="*/ 35 w 56"/>
                <a:gd name="T15" fmla="*/ 8 h 63"/>
                <a:gd name="T16" fmla="*/ 34 w 56"/>
                <a:gd name="T17" fmla="*/ 11 h 63"/>
                <a:gd name="T18" fmla="*/ 29 w 56"/>
                <a:gd name="T19" fmla="*/ 12 h 63"/>
                <a:gd name="T20" fmla="*/ 18 w 56"/>
                <a:gd name="T21" fmla="*/ 1 h 63"/>
                <a:gd name="T22" fmla="*/ 3 w 56"/>
                <a:gd name="T23" fmla="*/ 2 h 63"/>
                <a:gd name="T24" fmla="*/ 6 w 56"/>
                <a:gd name="T25" fmla="*/ 12 h 63"/>
                <a:gd name="T26" fmla="*/ 6 w 56"/>
                <a:gd name="T27" fmla="*/ 16 h 63"/>
                <a:gd name="T28" fmla="*/ 6 w 56"/>
                <a:gd name="T29" fmla="*/ 20 h 63"/>
                <a:gd name="T30" fmla="*/ 8 w 56"/>
                <a:gd name="T31" fmla="*/ 33 h 63"/>
                <a:gd name="T32" fmla="*/ 3 w 56"/>
                <a:gd name="T33" fmla="*/ 41 h 63"/>
                <a:gd name="T34" fmla="*/ 0 w 56"/>
                <a:gd name="T35" fmla="*/ 50 h 63"/>
                <a:gd name="T36" fmla="*/ 0 w 56"/>
                <a:gd name="T37" fmla="*/ 55 h 63"/>
                <a:gd name="T38" fmla="*/ 0 w 56"/>
                <a:gd name="T39" fmla="*/ 59 h 63"/>
                <a:gd name="T40" fmla="*/ 3 w 56"/>
                <a:gd name="T41" fmla="*/ 59 h 63"/>
                <a:gd name="T42" fmla="*/ 8 w 56"/>
                <a:gd name="T43" fmla="*/ 58 h 63"/>
                <a:gd name="T44" fmla="*/ 9 w 56"/>
                <a:gd name="T45" fmla="*/ 59 h 63"/>
                <a:gd name="T46" fmla="*/ 16 w 56"/>
                <a:gd name="T47" fmla="*/ 59 h 63"/>
                <a:gd name="T48" fmla="*/ 25 w 56"/>
                <a:gd name="T49" fmla="*/ 59 h 63"/>
                <a:gd name="T50" fmla="*/ 30 w 56"/>
                <a:gd name="T51" fmla="*/ 59 h 63"/>
                <a:gd name="T52" fmla="*/ 39 w 56"/>
                <a:gd name="T53" fmla="*/ 62 h 63"/>
                <a:gd name="T54" fmla="*/ 53 w 56"/>
                <a:gd name="T55" fmla="*/ 60 h 63"/>
                <a:gd name="T56" fmla="*/ 46 w 56"/>
                <a:gd name="T57" fmla="*/ 51 h 63"/>
                <a:gd name="T58" fmla="*/ 46 w 56"/>
                <a:gd name="T59" fmla="*/ 37 h 63"/>
                <a:gd name="T60" fmla="*/ 56 w 56"/>
                <a:gd name="T61" fmla="*/ 35 h 63"/>
                <a:gd name="T62" fmla="*/ 56 w 56"/>
                <a:gd name="T63" fmla="*/ 27 h 63"/>
                <a:gd name="T64" fmla="*/ 51 w 56"/>
                <a:gd name="T65" fmla="*/ 2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63">
                  <a:moveTo>
                    <a:pt x="51" y="27"/>
                  </a:moveTo>
                  <a:cubicBezTo>
                    <a:pt x="49" y="27"/>
                    <a:pt x="48" y="28"/>
                    <a:pt x="48" y="26"/>
                  </a:cubicBezTo>
                  <a:cubicBezTo>
                    <a:pt x="48" y="24"/>
                    <a:pt x="48" y="23"/>
                    <a:pt x="47" y="21"/>
                  </a:cubicBezTo>
                  <a:cubicBezTo>
                    <a:pt x="45" y="18"/>
                    <a:pt x="48" y="15"/>
                    <a:pt x="46" y="12"/>
                  </a:cubicBezTo>
                  <a:cubicBezTo>
                    <a:pt x="46" y="11"/>
                    <a:pt x="46" y="8"/>
                    <a:pt x="46" y="8"/>
                  </a:cubicBezTo>
                  <a:cubicBezTo>
                    <a:pt x="46" y="8"/>
                    <a:pt x="43" y="8"/>
                    <a:pt x="43" y="8"/>
                  </a:cubicBezTo>
                  <a:cubicBezTo>
                    <a:pt x="40" y="8"/>
                    <a:pt x="40" y="9"/>
                    <a:pt x="40" y="6"/>
                  </a:cubicBezTo>
                  <a:cubicBezTo>
                    <a:pt x="37" y="6"/>
                    <a:pt x="36" y="5"/>
                    <a:pt x="35" y="8"/>
                  </a:cubicBezTo>
                  <a:cubicBezTo>
                    <a:pt x="35" y="8"/>
                    <a:pt x="35" y="11"/>
                    <a:pt x="34" y="11"/>
                  </a:cubicBezTo>
                  <a:cubicBezTo>
                    <a:pt x="33" y="12"/>
                    <a:pt x="31" y="12"/>
                    <a:pt x="29" y="12"/>
                  </a:cubicBezTo>
                  <a:cubicBezTo>
                    <a:pt x="22" y="13"/>
                    <a:pt x="24" y="1"/>
                    <a:pt x="18" y="1"/>
                  </a:cubicBezTo>
                  <a:cubicBezTo>
                    <a:pt x="13" y="1"/>
                    <a:pt x="7" y="0"/>
                    <a:pt x="3" y="2"/>
                  </a:cubicBezTo>
                  <a:cubicBezTo>
                    <a:pt x="1" y="4"/>
                    <a:pt x="6" y="10"/>
                    <a:pt x="6" y="12"/>
                  </a:cubicBezTo>
                  <a:cubicBezTo>
                    <a:pt x="7" y="13"/>
                    <a:pt x="7" y="15"/>
                    <a:pt x="6" y="16"/>
                  </a:cubicBezTo>
                  <a:cubicBezTo>
                    <a:pt x="4" y="17"/>
                    <a:pt x="6" y="19"/>
                    <a:pt x="6" y="20"/>
                  </a:cubicBezTo>
                  <a:cubicBezTo>
                    <a:pt x="9" y="24"/>
                    <a:pt x="11" y="29"/>
                    <a:pt x="8" y="33"/>
                  </a:cubicBezTo>
                  <a:cubicBezTo>
                    <a:pt x="6" y="36"/>
                    <a:pt x="4" y="38"/>
                    <a:pt x="3" y="41"/>
                  </a:cubicBezTo>
                  <a:cubicBezTo>
                    <a:pt x="2" y="44"/>
                    <a:pt x="1" y="47"/>
                    <a:pt x="0" y="50"/>
                  </a:cubicBezTo>
                  <a:cubicBezTo>
                    <a:pt x="0" y="52"/>
                    <a:pt x="0" y="54"/>
                    <a:pt x="0" y="55"/>
                  </a:cubicBezTo>
                  <a:cubicBezTo>
                    <a:pt x="0" y="56"/>
                    <a:pt x="0" y="58"/>
                    <a:pt x="0" y="59"/>
                  </a:cubicBezTo>
                  <a:cubicBezTo>
                    <a:pt x="1" y="59"/>
                    <a:pt x="2" y="59"/>
                    <a:pt x="3" y="59"/>
                  </a:cubicBezTo>
                  <a:cubicBezTo>
                    <a:pt x="5" y="59"/>
                    <a:pt x="5" y="56"/>
                    <a:pt x="8" y="58"/>
                  </a:cubicBezTo>
                  <a:cubicBezTo>
                    <a:pt x="8" y="58"/>
                    <a:pt x="9" y="59"/>
                    <a:pt x="9" y="59"/>
                  </a:cubicBezTo>
                  <a:cubicBezTo>
                    <a:pt x="12" y="59"/>
                    <a:pt x="14" y="59"/>
                    <a:pt x="16" y="59"/>
                  </a:cubicBezTo>
                  <a:cubicBezTo>
                    <a:pt x="19" y="59"/>
                    <a:pt x="22" y="59"/>
                    <a:pt x="25" y="59"/>
                  </a:cubicBezTo>
                  <a:cubicBezTo>
                    <a:pt x="26" y="59"/>
                    <a:pt x="29" y="59"/>
                    <a:pt x="30" y="59"/>
                  </a:cubicBezTo>
                  <a:cubicBezTo>
                    <a:pt x="32" y="63"/>
                    <a:pt x="36" y="62"/>
                    <a:pt x="39" y="62"/>
                  </a:cubicBezTo>
                  <a:cubicBezTo>
                    <a:pt x="44" y="62"/>
                    <a:pt x="48" y="61"/>
                    <a:pt x="53" y="60"/>
                  </a:cubicBezTo>
                  <a:cubicBezTo>
                    <a:pt x="50" y="57"/>
                    <a:pt x="46" y="55"/>
                    <a:pt x="46" y="51"/>
                  </a:cubicBezTo>
                  <a:cubicBezTo>
                    <a:pt x="46" y="46"/>
                    <a:pt x="46" y="41"/>
                    <a:pt x="46" y="37"/>
                  </a:cubicBezTo>
                  <a:cubicBezTo>
                    <a:pt x="46" y="36"/>
                    <a:pt x="56" y="38"/>
                    <a:pt x="56" y="35"/>
                  </a:cubicBezTo>
                  <a:cubicBezTo>
                    <a:pt x="56" y="33"/>
                    <a:pt x="56" y="30"/>
                    <a:pt x="56" y="27"/>
                  </a:cubicBezTo>
                  <a:cubicBezTo>
                    <a:pt x="56" y="24"/>
                    <a:pt x="53" y="27"/>
                    <a:pt x="51" y="2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64" name="Freeform 735">
              <a:extLst>
                <a:ext uri="{FF2B5EF4-FFF2-40B4-BE49-F238E27FC236}">
                  <a16:creationId xmlns:a16="http://schemas.microsoft.com/office/drawing/2014/main" id="{F3E0A074-2B6A-6CAD-002C-D2B6CEF3498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9368" y="4812725"/>
              <a:ext cx="241415" cy="266824"/>
            </a:xfrm>
            <a:custGeom>
              <a:avLst/>
              <a:gdLst>
                <a:gd name="T0" fmla="*/ 25 w 46"/>
                <a:gd name="T1" fmla="*/ 2 h 48"/>
                <a:gd name="T2" fmla="*/ 21 w 46"/>
                <a:gd name="T3" fmla="*/ 3 h 48"/>
                <a:gd name="T4" fmla="*/ 18 w 46"/>
                <a:gd name="T5" fmla="*/ 4 h 48"/>
                <a:gd name="T6" fmla="*/ 6 w 46"/>
                <a:gd name="T7" fmla="*/ 4 h 48"/>
                <a:gd name="T8" fmla="*/ 6 w 46"/>
                <a:gd name="T9" fmla="*/ 18 h 48"/>
                <a:gd name="T10" fmla="*/ 6 w 46"/>
                <a:gd name="T11" fmla="*/ 23 h 48"/>
                <a:gd name="T12" fmla="*/ 1 w 46"/>
                <a:gd name="T13" fmla="*/ 24 h 48"/>
                <a:gd name="T14" fmla="*/ 1 w 46"/>
                <a:gd name="T15" fmla="*/ 31 h 48"/>
                <a:gd name="T16" fmla="*/ 1 w 46"/>
                <a:gd name="T17" fmla="*/ 38 h 48"/>
                <a:gd name="T18" fmla="*/ 4 w 46"/>
                <a:gd name="T19" fmla="*/ 47 h 48"/>
                <a:gd name="T20" fmla="*/ 8 w 46"/>
                <a:gd name="T21" fmla="*/ 48 h 48"/>
                <a:gd name="T22" fmla="*/ 13 w 46"/>
                <a:gd name="T23" fmla="*/ 44 h 48"/>
                <a:gd name="T24" fmla="*/ 19 w 46"/>
                <a:gd name="T25" fmla="*/ 41 h 48"/>
                <a:gd name="T26" fmla="*/ 29 w 46"/>
                <a:gd name="T27" fmla="*/ 39 h 48"/>
                <a:gd name="T28" fmla="*/ 31 w 46"/>
                <a:gd name="T29" fmla="*/ 37 h 48"/>
                <a:gd name="T30" fmla="*/ 34 w 46"/>
                <a:gd name="T31" fmla="*/ 34 h 48"/>
                <a:gd name="T32" fmla="*/ 43 w 46"/>
                <a:gd name="T33" fmla="*/ 26 h 48"/>
                <a:gd name="T34" fmla="*/ 44 w 46"/>
                <a:gd name="T35" fmla="*/ 22 h 48"/>
                <a:gd name="T36" fmla="*/ 40 w 46"/>
                <a:gd name="T37" fmla="*/ 21 h 48"/>
                <a:gd name="T38" fmla="*/ 38 w 46"/>
                <a:gd name="T39" fmla="*/ 17 h 48"/>
                <a:gd name="T40" fmla="*/ 39 w 46"/>
                <a:gd name="T41" fmla="*/ 15 h 48"/>
                <a:gd name="T42" fmla="*/ 36 w 46"/>
                <a:gd name="T43" fmla="*/ 14 h 48"/>
                <a:gd name="T44" fmla="*/ 36 w 46"/>
                <a:gd name="T45" fmla="*/ 13 h 48"/>
                <a:gd name="T46" fmla="*/ 34 w 46"/>
                <a:gd name="T47" fmla="*/ 12 h 48"/>
                <a:gd name="T48" fmla="*/ 30 w 46"/>
                <a:gd name="T49" fmla="*/ 7 h 48"/>
                <a:gd name="T50" fmla="*/ 25 w 46"/>
                <a:gd name="T51" fmla="*/ 2 h 48"/>
                <a:gd name="T52" fmla="*/ 25 w 46"/>
                <a:gd name="T53" fmla="*/ 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6" h="48">
                  <a:moveTo>
                    <a:pt x="25" y="2"/>
                  </a:moveTo>
                  <a:cubicBezTo>
                    <a:pt x="24" y="3"/>
                    <a:pt x="22" y="3"/>
                    <a:pt x="21" y="3"/>
                  </a:cubicBezTo>
                  <a:cubicBezTo>
                    <a:pt x="19" y="3"/>
                    <a:pt x="20" y="6"/>
                    <a:pt x="18" y="4"/>
                  </a:cubicBezTo>
                  <a:cubicBezTo>
                    <a:pt x="15" y="0"/>
                    <a:pt x="10" y="5"/>
                    <a:pt x="6" y="4"/>
                  </a:cubicBezTo>
                  <a:cubicBezTo>
                    <a:pt x="6" y="9"/>
                    <a:pt x="6" y="14"/>
                    <a:pt x="6" y="18"/>
                  </a:cubicBezTo>
                  <a:cubicBezTo>
                    <a:pt x="6" y="19"/>
                    <a:pt x="7" y="23"/>
                    <a:pt x="6" y="23"/>
                  </a:cubicBezTo>
                  <a:cubicBezTo>
                    <a:pt x="5" y="24"/>
                    <a:pt x="1" y="22"/>
                    <a:pt x="1" y="24"/>
                  </a:cubicBezTo>
                  <a:cubicBezTo>
                    <a:pt x="1" y="26"/>
                    <a:pt x="1" y="29"/>
                    <a:pt x="1" y="31"/>
                  </a:cubicBezTo>
                  <a:cubicBezTo>
                    <a:pt x="1" y="33"/>
                    <a:pt x="0" y="36"/>
                    <a:pt x="1" y="38"/>
                  </a:cubicBezTo>
                  <a:cubicBezTo>
                    <a:pt x="5" y="39"/>
                    <a:pt x="6" y="44"/>
                    <a:pt x="4" y="47"/>
                  </a:cubicBezTo>
                  <a:cubicBezTo>
                    <a:pt x="4" y="48"/>
                    <a:pt x="8" y="48"/>
                    <a:pt x="8" y="48"/>
                  </a:cubicBezTo>
                  <a:cubicBezTo>
                    <a:pt x="10" y="48"/>
                    <a:pt x="11" y="46"/>
                    <a:pt x="13" y="44"/>
                  </a:cubicBezTo>
                  <a:cubicBezTo>
                    <a:pt x="15" y="42"/>
                    <a:pt x="15" y="39"/>
                    <a:pt x="19" y="41"/>
                  </a:cubicBezTo>
                  <a:cubicBezTo>
                    <a:pt x="23" y="43"/>
                    <a:pt x="27" y="44"/>
                    <a:pt x="29" y="39"/>
                  </a:cubicBezTo>
                  <a:cubicBezTo>
                    <a:pt x="29" y="38"/>
                    <a:pt x="29" y="37"/>
                    <a:pt x="31" y="37"/>
                  </a:cubicBezTo>
                  <a:cubicBezTo>
                    <a:pt x="33" y="37"/>
                    <a:pt x="34" y="35"/>
                    <a:pt x="34" y="34"/>
                  </a:cubicBezTo>
                  <a:cubicBezTo>
                    <a:pt x="36" y="31"/>
                    <a:pt x="40" y="28"/>
                    <a:pt x="43" y="26"/>
                  </a:cubicBezTo>
                  <a:cubicBezTo>
                    <a:pt x="45" y="25"/>
                    <a:pt x="46" y="24"/>
                    <a:pt x="44" y="22"/>
                  </a:cubicBezTo>
                  <a:cubicBezTo>
                    <a:pt x="43" y="21"/>
                    <a:pt x="40" y="22"/>
                    <a:pt x="40" y="21"/>
                  </a:cubicBezTo>
                  <a:cubicBezTo>
                    <a:pt x="39" y="20"/>
                    <a:pt x="38" y="19"/>
                    <a:pt x="38" y="17"/>
                  </a:cubicBezTo>
                  <a:cubicBezTo>
                    <a:pt x="38" y="17"/>
                    <a:pt x="39" y="16"/>
                    <a:pt x="39" y="15"/>
                  </a:cubicBezTo>
                  <a:cubicBezTo>
                    <a:pt x="38" y="15"/>
                    <a:pt x="37" y="15"/>
                    <a:pt x="36" y="14"/>
                  </a:cubicBezTo>
                  <a:cubicBezTo>
                    <a:pt x="36" y="14"/>
                    <a:pt x="37" y="13"/>
                    <a:pt x="36" y="13"/>
                  </a:cubicBezTo>
                  <a:cubicBezTo>
                    <a:pt x="35" y="13"/>
                    <a:pt x="35" y="12"/>
                    <a:pt x="34" y="12"/>
                  </a:cubicBezTo>
                  <a:cubicBezTo>
                    <a:pt x="32" y="11"/>
                    <a:pt x="31" y="10"/>
                    <a:pt x="30" y="7"/>
                  </a:cubicBezTo>
                  <a:cubicBezTo>
                    <a:pt x="30" y="6"/>
                    <a:pt x="27" y="2"/>
                    <a:pt x="25" y="2"/>
                  </a:cubicBezTo>
                  <a:cubicBezTo>
                    <a:pt x="25" y="2"/>
                    <a:pt x="26" y="2"/>
                    <a:pt x="25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65" name="Freeform 736">
              <a:extLst>
                <a:ext uri="{FF2B5EF4-FFF2-40B4-BE49-F238E27FC236}">
                  <a16:creationId xmlns:a16="http://schemas.microsoft.com/office/drawing/2014/main" id="{9796FCB8-583C-5B5F-9F3D-DE4716C1D843}"/>
                </a:ext>
              </a:extLst>
            </p:cNvPr>
            <p:cNvSpPr>
              <a:spLocks/>
            </p:cNvSpPr>
            <p:nvPr/>
          </p:nvSpPr>
          <p:spPr bwMode="auto">
            <a:xfrm>
              <a:off x="6459909" y="4757845"/>
              <a:ext cx="205650" cy="193021"/>
            </a:xfrm>
            <a:custGeom>
              <a:avLst/>
              <a:gdLst>
                <a:gd name="T0" fmla="*/ 39 w 39"/>
                <a:gd name="T1" fmla="*/ 22 h 35"/>
                <a:gd name="T2" fmla="*/ 38 w 39"/>
                <a:gd name="T3" fmla="*/ 18 h 35"/>
                <a:gd name="T4" fmla="*/ 39 w 39"/>
                <a:gd name="T5" fmla="*/ 14 h 35"/>
                <a:gd name="T6" fmla="*/ 38 w 39"/>
                <a:gd name="T7" fmla="*/ 7 h 35"/>
                <a:gd name="T8" fmla="*/ 27 w 39"/>
                <a:gd name="T9" fmla="*/ 2 h 35"/>
                <a:gd name="T10" fmla="*/ 24 w 39"/>
                <a:gd name="T11" fmla="*/ 0 h 35"/>
                <a:gd name="T12" fmla="*/ 19 w 39"/>
                <a:gd name="T13" fmla="*/ 3 h 35"/>
                <a:gd name="T14" fmla="*/ 13 w 39"/>
                <a:gd name="T15" fmla="*/ 7 h 35"/>
                <a:gd name="T16" fmla="*/ 9 w 39"/>
                <a:gd name="T17" fmla="*/ 12 h 35"/>
                <a:gd name="T18" fmla="*/ 2 w 39"/>
                <a:gd name="T19" fmla="*/ 12 h 35"/>
                <a:gd name="T20" fmla="*/ 5 w 39"/>
                <a:gd name="T21" fmla="*/ 16 h 35"/>
                <a:gd name="T22" fmla="*/ 8 w 39"/>
                <a:gd name="T23" fmla="*/ 21 h 35"/>
                <a:gd name="T24" fmla="*/ 11 w 39"/>
                <a:gd name="T25" fmla="*/ 23 h 35"/>
                <a:gd name="T26" fmla="*/ 11 w 39"/>
                <a:gd name="T27" fmla="*/ 24 h 35"/>
                <a:gd name="T28" fmla="*/ 14 w 39"/>
                <a:gd name="T29" fmla="*/ 25 h 35"/>
                <a:gd name="T30" fmla="*/ 13 w 39"/>
                <a:gd name="T31" fmla="*/ 28 h 35"/>
                <a:gd name="T32" fmla="*/ 15 w 39"/>
                <a:gd name="T33" fmla="*/ 31 h 35"/>
                <a:gd name="T34" fmla="*/ 20 w 39"/>
                <a:gd name="T35" fmla="*/ 34 h 35"/>
                <a:gd name="T36" fmla="*/ 25 w 39"/>
                <a:gd name="T37" fmla="*/ 35 h 35"/>
                <a:gd name="T38" fmla="*/ 27 w 39"/>
                <a:gd name="T39" fmla="*/ 35 h 35"/>
                <a:gd name="T40" fmla="*/ 34 w 39"/>
                <a:gd name="T41" fmla="*/ 31 h 35"/>
                <a:gd name="T42" fmla="*/ 36 w 39"/>
                <a:gd name="T43" fmla="*/ 27 h 35"/>
                <a:gd name="T44" fmla="*/ 39 w 39"/>
                <a:gd name="T45" fmla="*/ 22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9" h="35">
                  <a:moveTo>
                    <a:pt x="39" y="22"/>
                  </a:moveTo>
                  <a:cubicBezTo>
                    <a:pt x="39" y="21"/>
                    <a:pt x="38" y="19"/>
                    <a:pt x="38" y="18"/>
                  </a:cubicBezTo>
                  <a:cubicBezTo>
                    <a:pt x="38" y="16"/>
                    <a:pt x="39" y="15"/>
                    <a:pt x="39" y="14"/>
                  </a:cubicBezTo>
                  <a:cubicBezTo>
                    <a:pt x="39" y="11"/>
                    <a:pt x="39" y="9"/>
                    <a:pt x="38" y="7"/>
                  </a:cubicBezTo>
                  <a:cubicBezTo>
                    <a:pt x="38" y="4"/>
                    <a:pt x="29" y="2"/>
                    <a:pt x="27" y="2"/>
                  </a:cubicBezTo>
                  <a:cubicBezTo>
                    <a:pt x="27" y="0"/>
                    <a:pt x="27" y="0"/>
                    <a:pt x="24" y="0"/>
                  </a:cubicBezTo>
                  <a:cubicBezTo>
                    <a:pt x="21" y="0"/>
                    <a:pt x="21" y="1"/>
                    <a:pt x="19" y="3"/>
                  </a:cubicBezTo>
                  <a:cubicBezTo>
                    <a:pt x="18" y="5"/>
                    <a:pt x="15" y="6"/>
                    <a:pt x="13" y="7"/>
                  </a:cubicBezTo>
                  <a:cubicBezTo>
                    <a:pt x="12" y="9"/>
                    <a:pt x="11" y="12"/>
                    <a:pt x="9" y="12"/>
                  </a:cubicBezTo>
                  <a:cubicBezTo>
                    <a:pt x="7" y="12"/>
                    <a:pt x="5" y="11"/>
                    <a:pt x="2" y="12"/>
                  </a:cubicBezTo>
                  <a:cubicBezTo>
                    <a:pt x="0" y="13"/>
                    <a:pt x="4" y="15"/>
                    <a:pt x="5" y="16"/>
                  </a:cubicBezTo>
                  <a:cubicBezTo>
                    <a:pt x="6" y="18"/>
                    <a:pt x="6" y="20"/>
                    <a:pt x="8" y="21"/>
                  </a:cubicBezTo>
                  <a:cubicBezTo>
                    <a:pt x="9" y="22"/>
                    <a:pt x="10" y="23"/>
                    <a:pt x="11" y="23"/>
                  </a:cubicBezTo>
                  <a:cubicBezTo>
                    <a:pt x="12" y="23"/>
                    <a:pt x="11" y="24"/>
                    <a:pt x="11" y="24"/>
                  </a:cubicBezTo>
                  <a:cubicBezTo>
                    <a:pt x="12" y="24"/>
                    <a:pt x="13" y="25"/>
                    <a:pt x="14" y="25"/>
                  </a:cubicBezTo>
                  <a:cubicBezTo>
                    <a:pt x="14" y="26"/>
                    <a:pt x="13" y="27"/>
                    <a:pt x="13" y="28"/>
                  </a:cubicBezTo>
                  <a:cubicBezTo>
                    <a:pt x="13" y="29"/>
                    <a:pt x="14" y="31"/>
                    <a:pt x="15" y="31"/>
                  </a:cubicBezTo>
                  <a:cubicBezTo>
                    <a:pt x="18" y="31"/>
                    <a:pt x="19" y="31"/>
                    <a:pt x="20" y="34"/>
                  </a:cubicBezTo>
                  <a:cubicBezTo>
                    <a:pt x="21" y="35"/>
                    <a:pt x="23" y="34"/>
                    <a:pt x="25" y="35"/>
                  </a:cubicBezTo>
                  <a:cubicBezTo>
                    <a:pt x="26" y="35"/>
                    <a:pt x="26" y="35"/>
                    <a:pt x="27" y="35"/>
                  </a:cubicBezTo>
                  <a:cubicBezTo>
                    <a:pt x="31" y="35"/>
                    <a:pt x="32" y="34"/>
                    <a:pt x="34" y="31"/>
                  </a:cubicBezTo>
                  <a:cubicBezTo>
                    <a:pt x="35" y="30"/>
                    <a:pt x="36" y="28"/>
                    <a:pt x="36" y="27"/>
                  </a:cubicBezTo>
                  <a:cubicBezTo>
                    <a:pt x="37" y="25"/>
                    <a:pt x="39" y="24"/>
                    <a:pt x="39" y="2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66" name="Freeform 737">
              <a:extLst>
                <a:ext uri="{FF2B5EF4-FFF2-40B4-BE49-F238E27FC236}">
                  <a16:creationId xmlns:a16="http://schemas.microsoft.com/office/drawing/2014/main" id="{2A02F06C-4C58-C1F3-B145-F98C678B1CA7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7605" y="5045484"/>
              <a:ext cx="51859" cy="62449"/>
            </a:xfrm>
            <a:custGeom>
              <a:avLst/>
              <a:gdLst>
                <a:gd name="T0" fmla="*/ 5 w 10"/>
                <a:gd name="T1" fmla="*/ 1 h 11"/>
                <a:gd name="T2" fmla="*/ 7 w 10"/>
                <a:gd name="T3" fmla="*/ 9 h 11"/>
                <a:gd name="T4" fmla="*/ 5 w 10"/>
                <a:gd name="T5" fmla="*/ 1 h 11"/>
                <a:gd name="T6" fmla="*/ 5 w 10"/>
                <a:gd name="T7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1">
                  <a:moveTo>
                    <a:pt x="5" y="1"/>
                  </a:moveTo>
                  <a:cubicBezTo>
                    <a:pt x="0" y="2"/>
                    <a:pt x="3" y="11"/>
                    <a:pt x="7" y="9"/>
                  </a:cubicBezTo>
                  <a:cubicBezTo>
                    <a:pt x="10" y="8"/>
                    <a:pt x="9" y="0"/>
                    <a:pt x="5" y="1"/>
                  </a:cubicBezTo>
                  <a:cubicBezTo>
                    <a:pt x="3" y="1"/>
                    <a:pt x="6" y="1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67" name="Freeform 738">
              <a:extLst>
                <a:ext uri="{FF2B5EF4-FFF2-40B4-BE49-F238E27FC236}">
                  <a16:creationId xmlns:a16="http://schemas.microsoft.com/office/drawing/2014/main" id="{4E812F85-A46A-681A-663F-530CF757C76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45319" y="4945190"/>
              <a:ext cx="414874" cy="384149"/>
            </a:xfrm>
            <a:custGeom>
              <a:avLst/>
              <a:gdLst>
                <a:gd name="T0" fmla="*/ 74 w 79"/>
                <a:gd name="T1" fmla="*/ 27 h 69"/>
                <a:gd name="T2" fmla="*/ 69 w 79"/>
                <a:gd name="T3" fmla="*/ 22 h 69"/>
                <a:gd name="T4" fmla="*/ 72 w 79"/>
                <a:gd name="T5" fmla="*/ 19 h 69"/>
                <a:gd name="T6" fmla="*/ 75 w 79"/>
                <a:gd name="T7" fmla="*/ 20 h 69"/>
                <a:gd name="T8" fmla="*/ 75 w 79"/>
                <a:gd name="T9" fmla="*/ 11 h 69"/>
                <a:gd name="T10" fmla="*/ 73 w 79"/>
                <a:gd name="T11" fmla="*/ 7 h 69"/>
                <a:gd name="T12" fmla="*/ 72 w 79"/>
                <a:gd name="T13" fmla="*/ 1 h 69"/>
                <a:gd name="T14" fmla="*/ 66 w 79"/>
                <a:gd name="T15" fmla="*/ 1 h 69"/>
                <a:gd name="T16" fmla="*/ 60 w 79"/>
                <a:gd name="T17" fmla="*/ 2 h 69"/>
                <a:gd name="T18" fmla="*/ 55 w 79"/>
                <a:gd name="T19" fmla="*/ 5 h 69"/>
                <a:gd name="T20" fmla="*/ 51 w 79"/>
                <a:gd name="T21" fmla="*/ 8 h 69"/>
                <a:gd name="T22" fmla="*/ 49 w 79"/>
                <a:gd name="T23" fmla="*/ 12 h 69"/>
                <a:gd name="T24" fmla="*/ 45 w 79"/>
                <a:gd name="T25" fmla="*/ 14 h 69"/>
                <a:gd name="T26" fmla="*/ 44 w 79"/>
                <a:gd name="T27" fmla="*/ 17 h 69"/>
                <a:gd name="T28" fmla="*/ 34 w 79"/>
                <a:gd name="T29" fmla="*/ 17 h 69"/>
                <a:gd name="T30" fmla="*/ 28 w 79"/>
                <a:gd name="T31" fmla="*/ 21 h 69"/>
                <a:gd name="T32" fmla="*/ 24 w 79"/>
                <a:gd name="T33" fmla="*/ 24 h 69"/>
                <a:gd name="T34" fmla="*/ 20 w 79"/>
                <a:gd name="T35" fmla="*/ 23 h 69"/>
                <a:gd name="T36" fmla="*/ 17 w 79"/>
                <a:gd name="T37" fmla="*/ 14 h 69"/>
                <a:gd name="T38" fmla="*/ 17 w 79"/>
                <a:gd name="T39" fmla="*/ 29 h 69"/>
                <a:gd name="T40" fmla="*/ 17 w 79"/>
                <a:gd name="T41" fmla="*/ 33 h 69"/>
                <a:gd name="T42" fmla="*/ 9 w 79"/>
                <a:gd name="T43" fmla="*/ 35 h 69"/>
                <a:gd name="T44" fmla="*/ 6 w 79"/>
                <a:gd name="T45" fmla="*/ 34 h 69"/>
                <a:gd name="T46" fmla="*/ 2 w 79"/>
                <a:gd name="T47" fmla="*/ 33 h 69"/>
                <a:gd name="T48" fmla="*/ 3 w 79"/>
                <a:gd name="T49" fmla="*/ 40 h 69"/>
                <a:gd name="T50" fmla="*/ 5 w 79"/>
                <a:gd name="T51" fmla="*/ 45 h 69"/>
                <a:gd name="T52" fmla="*/ 9 w 79"/>
                <a:gd name="T53" fmla="*/ 56 h 69"/>
                <a:gd name="T54" fmla="*/ 8 w 79"/>
                <a:gd name="T55" fmla="*/ 60 h 69"/>
                <a:gd name="T56" fmla="*/ 9 w 79"/>
                <a:gd name="T57" fmla="*/ 62 h 69"/>
                <a:gd name="T58" fmla="*/ 10 w 79"/>
                <a:gd name="T59" fmla="*/ 66 h 69"/>
                <a:gd name="T60" fmla="*/ 11 w 79"/>
                <a:gd name="T61" fmla="*/ 64 h 69"/>
                <a:gd name="T62" fmla="*/ 15 w 79"/>
                <a:gd name="T63" fmla="*/ 68 h 69"/>
                <a:gd name="T64" fmla="*/ 21 w 79"/>
                <a:gd name="T65" fmla="*/ 66 h 69"/>
                <a:gd name="T66" fmla="*/ 26 w 79"/>
                <a:gd name="T67" fmla="*/ 65 h 69"/>
                <a:gd name="T68" fmla="*/ 31 w 79"/>
                <a:gd name="T69" fmla="*/ 64 h 69"/>
                <a:gd name="T70" fmla="*/ 38 w 79"/>
                <a:gd name="T71" fmla="*/ 64 h 69"/>
                <a:gd name="T72" fmla="*/ 39 w 79"/>
                <a:gd name="T73" fmla="*/ 64 h 69"/>
                <a:gd name="T74" fmla="*/ 41 w 79"/>
                <a:gd name="T75" fmla="*/ 63 h 69"/>
                <a:gd name="T76" fmla="*/ 42 w 79"/>
                <a:gd name="T77" fmla="*/ 62 h 69"/>
                <a:gd name="T78" fmla="*/ 44 w 79"/>
                <a:gd name="T79" fmla="*/ 65 h 69"/>
                <a:gd name="T80" fmla="*/ 46 w 79"/>
                <a:gd name="T81" fmla="*/ 62 h 69"/>
                <a:gd name="T82" fmla="*/ 57 w 79"/>
                <a:gd name="T83" fmla="*/ 56 h 69"/>
                <a:gd name="T84" fmla="*/ 65 w 79"/>
                <a:gd name="T85" fmla="*/ 48 h 69"/>
                <a:gd name="T86" fmla="*/ 72 w 79"/>
                <a:gd name="T87" fmla="*/ 37 h 69"/>
                <a:gd name="T88" fmla="*/ 77 w 79"/>
                <a:gd name="T89" fmla="*/ 33 h 69"/>
                <a:gd name="T90" fmla="*/ 79 w 79"/>
                <a:gd name="T91" fmla="*/ 25 h 69"/>
                <a:gd name="T92" fmla="*/ 76 w 79"/>
                <a:gd name="T93" fmla="*/ 25 h 69"/>
                <a:gd name="T94" fmla="*/ 74 w 79"/>
                <a:gd name="T95" fmla="*/ 27 h 69"/>
                <a:gd name="T96" fmla="*/ 62 w 79"/>
                <a:gd name="T97" fmla="*/ 39 h 69"/>
                <a:gd name="T98" fmla="*/ 61 w 79"/>
                <a:gd name="T99" fmla="*/ 41 h 69"/>
                <a:gd name="T100" fmla="*/ 57 w 79"/>
                <a:gd name="T101" fmla="*/ 43 h 69"/>
                <a:gd name="T102" fmla="*/ 55 w 79"/>
                <a:gd name="T103" fmla="*/ 44 h 69"/>
                <a:gd name="T104" fmla="*/ 52 w 79"/>
                <a:gd name="T105" fmla="*/ 41 h 69"/>
                <a:gd name="T106" fmla="*/ 56 w 79"/>
                <a:gd name="T107" fmla="*/ 35 h 69"/>
                <a:gd name="T108" fmla="*/ 60 w 79"/>
                <a:gd name="T109" fmla="*/ 35 h 69"/>
                <a:gd name="T110" fmla="*/ 62 w 79"/>
                <a:gd name="T111" fmla="*/ 39 h 69"/>
                <a:gd name="T112" fmla="*/ 62 w 79"/>
                <a:gd name="T113" fmla="*/ 3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9" h="69">
                  <a:moveTo>
                    <a:pt x="74" y="27"/>
                  </a:moveTo>
                  <a:cubicBezTo>
                    <a:pt x="71" y="27"/>
                    <a:pt x="68" y="24"/>
                    <a:pt x="69" y="22"/>
                  </a:cubicBezTo>
                  <a:cubicBezTo>
                    <a:pt x="69" y="20"/>
                    <a:pt x="71" y="19"/>
                    <a:pt x="72" y="19"/>
                  </a:cubicBezTo>
                  <a:cubicBezTo>
                    <a:pt x="73" y="19"/>
                    <a:pt x="74" y="20"/>
                    <a:pt x="75" y="20"/>
                  </a:cubicBezTo>
                  <a:cubicBezTo>
                    <a:pt x="75" y="17"/>
                    <a:pt x="76" y="14"/>
                    <a:pt x="75" y="11"/>
                  </a:cubicBezTo>
                  <a:cubicBezTo>
                    <a:pt x="74" y="10"/>
                    <a:pt x="73" y="8"/>
                    <a:pt x="73" y="7"/>
                  </a:cubicBezTo>
                  <a:cubicBezTo>
                    <a:pt x="72" y="5"/>
                    <a:pt x="72" y="3"/>
                    <a:pt x="72" y="1"/>
                  </a:cubicBezTo>
                  <a:cubicBezTo>
                    <a:pt x="70" y="2"/>
                    <a:pt x="67" y="1"/>
                    <a:pt x="66" y="1"/>
                  </a:cubicBezTo>
                  <a:cubicBezTo>
                    <a:pt x="63" y="0"/>
                    <a:pt x="61" y="0"/>
                    <a:pt x="60" y="2"/>
                  </a:cubicBezTo>
                  <a:cubicBezTo>
                    <a:pt x="58" y="3"/>
                    <a:pt x="56" y="3"/>
                    <a:pt x="55" y="5"/>
                  </a:cubicBezTo>
                  <a:cubicBezTo>
                    <a:pt x="54" y="6"/>
                    <a:pt x="52" y="7"/>
                    <a:pt x="51" y="8"/>
                  </a:cubicBezTo>
                  <a:cubicBezTo>
                    <a:pt x="50" y="9"/>
                    <a:pt x="50" y="11"/>
                    <a:pt x="49" y="12"/>
                  </a:cubicBezTo>
                  <a:cubicBezTo>
                    <a:pt x="48" y="14"/>
                    <a:pt x="46" y="12"/>
                    <a:pt x="45" y="14"/>
                  </a:cubicBezTo>
                  <a:cubicBezTo>
                    <a:pt x="44" y="15"/>
                    <a:pt x="45" y="16"/>
                    <a:pt x="44" y="17"/>
                  </a:cubicBezTo>
                  <a:cubicBezTo>
                    <a:pt x="42" y="21"/>
                    <a:pt x="37" y="18"/>
                    <a:pt x="34" y="17"/>
                  </a:cubicBezTo>
                  <a:cubicBezTo>
                    <a:pt x="31" y="15"/>
                    <a:pt x="30" y="19"/>
                    <a:pt x="28" y="21"/>
                  </a:cubicBezTo>
                  <a:cubicBezTo>
                    <a:pt x="27" y="22"/>
                    <a:pt x="26" y="24"/>
                    <a:pt x="24" y="24"/>
                  </a:cubicBezTo>
                  <a:cubicBezTo>
                    <a:pt x="24" y="24"/>
                    <a:pt x="20" y="24"/>
                    <a:pt x="20" y="23"/>
                  </a:cubicBezTo>
                  <a:cubicBezTo>
                    <a:pt x="22" y="20"/>
                    <a:pt x="21" y="15"/>
                    <a:pt x="17" y="14"/>
                  </a:cubicBezTo>
                  <a:cubicBezTo>
                    <a:pt x="17" y="19"/>
                    <a:pt x="17" y="24"/>
                    <a:pt x="17" y="29"/>
                  </a:cubicBezTo>
                  <a:cubicBezTo>
                    <a:pt x="17" y="29"/>
                    <a:pt x="18" y="32"/>
                    <a:pt x="17" y="33"/>
                  </a:cubicBezTo>
                  <a:cubicBezTo>
                    <a:pt x="14" y="35"/>
                    <a:pt x="13" y="36"/>
                    <a:pt x="9" y="35"/>
                  </a:cubicBezTo>
                  <a:cubicBezTo>
                    <a:pt x="8" y="35"/>
                    <a:pt x="7" y="35"/>
                    <a:pt x="6" y="34"/>
                  </a:cubicBezTo>
                  <a:cubicBezTo>
                    <a:pt x="5" y="32"/>
                    <a:pt x="4" y="31"/>
                    <a:pt x="2" y="33"/>
                  </a:cubicBezTo>
                  <a:cubicBezTo>
                    <a:pt x="0" y="35"/>
                    <a:pt x="2" y="38"/>
                    <a:pt x="3" y="40"/>
                  </a:cubicBezTo>
                  <a:cubicBezTo>
                    <a:pt x="4" y="41"/>
                    <a:pt x="5" y="43"/>
                    <a:pt x="5" y="45"/>
                  </a:cubicBezTo>
                  <a:cubicBezTo>
                    <a:pt x="7" y="49"/>
                    <a:pt x="11" y="51"/>
                    <a:pt x="9" y="56"/>
                  </a:cubicBezTo>
                  <a:cubicBezTo>
                    <a:pt x="8" y="58"/>
                    <a:pt x="7" y="58"/>
                    <a:pt x="8" y="60"/>
                  </a:cubicBezTo>
                  <a:cubicBezTo>
                    <a:pt x="9" y="61"/>
                    <a:pt x="9" y="62"/>
                    <a:pt x="9" y="62"/>
                  </a:cubicBezTo>
                  <a:cubicBezTo>
                    <a:pt x="10" y="63"/>
                    <a:pt x="9" y="65"/>
                    <a:pt x="10" y="66"/>
                  </a:cubicBezTo>
                  <a:cubicBezTo>
                    <a:pt x="10" y="66"/>
                    <a:pt x="10" y="64"/>
                    <a:pt x="11" y="64"/>
                  </a:cubicBezTo>
                  <a:cubicBezTo>
                    <a:pt x="11" y="64"/>
                    <a:pt x="14" y="67"/>
                    <a:pt x="15" y="68"/>
                  </a:cubicBezTo>
                  <a:cubicBezTo>
                    <a:pt x="17" y="69"/>
                    <a:pt x="19" y="66"/>
                    <a:pt x="21" y="66"/>
                  </a:cubicBezTo>
                  <a:cubicBezTo>
                    <a:pt x="23" y="65"/>
                    <a:pt x="25" y="67"/>
                    <a:pt x="26" y="65"/>
                  </a:cubicBezTo>
                  <a:cubicBezTo>
                    <a:pt x="28" y="64"/>
                    <a:pt x="29" y="64"/>
                    <a:pt x="31" y="64"/>
                  </a:cubicBezTo>
                  <a:cubicBezTo>
                    <a:pt x="33" y="64"/>
                    <a:pt x="35" y="64"/>
                    <a:pt x="38" y="64"/>
                  </a:cubicBezTo>
                  <a:cubicBezTo>
                    <a:pt x="38" y="64"/>
                    <a:pt x="39" y="64"/>
                    <a:pt x="39" y="64"/>
                  </a:cubicBezTo>
                  <a:cubicBezTo>
                    <a:pt x="40" y="64"/>
                    <a:pt x="40" y="63"/>
                    <a:pt x="41" y="63"/>
                  </a:cubicBezTo>
                  <a:cubicBezTo>
                    <a:pt x="41" y="63"/>
                    <a:pt x="41" y="62"/>
                    <a:pt x="42" y="62"/>
                  </a:cubicBezTo>
                  <a:cubicBezTo>
                    <a:pt x="42" y="63"/>
                    <a:pt x="42" y="65"/>
                    <a:pt x="44" y="65"/>
                  </a:cubicBezTo>
                  <a:cubicBezTo>
                    <a:pt x="44" y="65"/>
                    <a:pt x="43" y="61"/>
                    <a:pt x="46" y="62"/>
                  </a:cubicBezTo>
                  <a:cubicBezTo>
                    <a:pt x="50" y="63"/>
                    <a:pt x="54" y="59"/>
                    <a:pt x="57" y="56"/>
                  </a:cubicBezTo>
                  <a:cubicBezTo>
                    <a:pt x="60" y="54"/>
                    <a:pt x="62" y="51"/>
                    <a:pt x="65" y="48"/>
                  </a:cubicBezTo>
                  <a:cubicBezTo>
                    <a:pt x="68" y="45"/>
                    <a:pt x="69" y="41"/>
                    <a:pt x="72" y="37"/>
                  </a:cubicBezTo>
                  <a:cubicBezTo>
                    <a:pt x="73" y="36"/>
                    <a:pt x="76" y="35"/>
                    <a:pt x="77" y="33"/>
                  </a:cubicBezTo>
                  <a:cubicBezTo>
                    <a:pt x="78" y="31"/>
                    <a:pt x="79" y="27"/>
                    <a:pt x="79" y="25"/>
                  </a:cubicBezTo>
                  <a:cubicBezTo>
                    <a:pt x="78" y="25"/>
                    <a:pt x="77" y="25"/>
                    <a:pt x="76" y="25"/>
                  </a:cubicBezTo>
                  <a:cubicBezTo>
                    <a:pt x="75" y="25"/>
                    <a:pt x="75" y="27"/>
                    <a:pt x="74" y="27"/>
                  </a:cubicBezTo>
                  <a:close/>
                  <a:moveTo>
                    <a:pt x="62" y="39"/>
                  </a:moveTo>
                  <a:cubicBezTo>
                    <a:pt x="61" y="39"/>
                    <a:pt x="61" y="41"/>
                    <a:pt x="61" y="41"/>
                  </a:cubicBezTo>
                  <a:cubicBezTo>
                    <a:pt x="60" y="43"/>
                    <a:pt x="58" y="42"/>
                    <a:pt x="57" y="43"/>
                  </a:cubicBezTo>
                  <a:cubicBezTo>
                    <a:pt x="56" y="43"/>
                    <a:pt x="56" y="44"/>
                    <a:pt x="55" y="44"/>
                  </a:cubicBezTo>
                  <a:cubicBezTo>
                    <a:pt x="53" y="44"/>
                    <a:pt x="52" y="42"/>
                    <a:pt x="52" y="41"/>
                  </a:cubicBezTo>
                  <a:cubicBezTo>
                    <a:pt x="51" y="39"/>
                    <a:pt x="54" y="36"/>
                    <a:pt x="56" y="35"/>
                  </a:cubicBezTo>
                  <a:cubicBezTo>
                    <a:pt x="57" y="34"/>
                    <a:pt x="59" y="34"/>
                    <a:pt x="60" y="35"/>
                  </a:cubicBezTo>
                  <a:cubicBezTo>
                    <a:pt x="61" y="36"/>
                    <a:pt x="64" y="38"/>
                    <a:pt x="62" y="39"/>
                  </a:cubicBezTo>
                  <a:cubicBezTo>
                    <a:pt x="61" y="39"/>
                    <a:pt x="63" y="38"/>
                    <a:pt x="62" y="3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68" name="Freeform 739">
              <a:extLst>
                <a:ext uri="{FF2B5EF4-FFF2-40B4-BE49-F238E27FC236}">
                  <a16:creationId xmlns:a16="http://schemas.microsoft.com/office/drawing/2014/main" id="{84441A7A-9FE7-D94F-FE19-3C92B5B10DE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3556" y="5128749"/>
              <a:ext cx="67953" cy="73803"/>
            </a:xfrm>
            <a:custGeom>
              <a:avLst/>
              <a:gdLst>
                <a:gd name="T0" fmla="*/ 11 w 13"/>
                <a:gd name="T1" fmla="*/ 4 h 13"/>
                <a:gd name="T2" fmla="*/ 3 w 13"/>
                <a:gd name="T3" fmla="*/ 3 h 13"/>
                <a:gd name="T4" fmla="*/ 2 w 13"/>
                <a:gd name="T5" fmla="*/ 9 h 13"/>
                <a:gd name="T6" fmla="*/ 7 w 13"/>
                <a:gd name="T7" fmla="*/ 9 h 13"/>
                <a:gd name="T8" fmla="*/ 11 w 13"/>
                <a:gd name="T9" fmla="*/ 4 h 13"/>
                <a:gd name="T10" fmla="*/ 11 w 13"/>
                <a:gd name="T11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13">
                  <a:moveTo>
                    <a:pt x="11" y="4"/>
                  </a:moveTo>
                  <a:cubicBezTo>
                    <a:pt x="9" y="2"/>
                    <a:pt x="5" y="0"/>
                    <a:pt x="3" y="3"/>
                  </a:cubicBezTo>
                  <a:cubicBezTo>
                    <a:pt x="1" y="5"/>
                    <a:pt x="0" y="7"/>
                    <a:pt x="2" y="9"/>
                  </a:cubicBezTo>
                  <a:cubicBezTo>
                    <a:pt x="4" y="13"/>
                    <a:pt x="5" y="9"/>
                    <a:pt x="7" y="9"/>
                  </a:cubicBezTo>
                  <a:cubicBezTo>
                    <a:pt x="10" y="9"/>
                    <a:pt x="13" y="5"/>
                    <a:pt x="11" y="4"/>
                  </a:cubicBezTo>
                  <a:cubicBezTo>
                    <a:pt x="10" y="3"/>
                    <a:pt x="12" y="4"/>
                    <a:pt x="11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69" name="Freeform 740">
              <a:extLst>
                <a:ext uri="{FF2B5EF4-FFF2-40B4-BE49-F238E27FC236}">
                  <a16:creationId xmlns:a16="http://schemas.microsoft.com/office/drawing/2014/main" id="{2B0C9410-3264-EF66-3CA6-684D9D58B58A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5177" y="4439927"/>
              <a:ext cx="26823" cy="45416"/>
            </a:xfrm>
            <a:custGeom>
              <a:avLst/>
              <a:gdLst>
                <a:gd name="T0" fmla="*/ 2 w 5"/>
                <a:gd name="T1" fmla="*/ 5 h 8"/>
                <a:gd name="T2" fmla="*/ 5 w 5"/>
                <a:gd name="T3" fmla="*/ 1 h 8"/>
                <a:gd name="T4" fmla="*/ 1 w 5"/>
                <a:gd name="T5" fmla="*/ 3 h 8"/>
                <a:gd name="T6" fmla="*/ 0 w 5"/>
                <a:gd name="T7" fmla="*/ 8 h 8"/>
                <a:gd name="T8" fmla="*/ 2 w 5"/>
                <a:gd name="T9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">
                  <a:moveTo>
                    <a:pt x="2" y="5"/>
                  </a:moveTo>
                  <a:cubicBezTo>
                    <a:pt x="2" y="4"/>
                    <a:pt x="4" y="2"/>
                    <a:pt x="5" y="1"/>
                  </a:cubicBezTo>
                  <a:cubicBezTo>
                    <a:pt x="4" y="0"/>
                    <a:pt x="2" y="2"/>
                    <a:pt x="1" y="3"/>
                  </a:cubicBezTo>
                  <a:cubicBezTo>
                    <a:pt x="0" y="4"/>
                    <a:pt x="0" y="6"/>
                    <a:pt x="0" y="8"/>
                  </a:cubicBezTo>
                  <a:cubicBezTo>
                    <a:pt x="2" y="7"/>
                    <a:pt x="2" y="6"/>
                    <a:pt x="2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70" name="Freeform 741">
              <a:extLst>
                <a:ext uri="{FF2B5EF4-FFF2-40B4-BE49-F238E27FC236}">
                  <a16:creationId xmlns:a16="http://schemas.microsoft.com/office/drawing/2014/main" id="{152FE653-2583-DD50-B0CB-10731E7CFF60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0140" y="4212845"/>
              <a:ext cx="182402" cy="249792"/>
            </a:xfrm>
            <a:custGeom>
              <a:avLst/>
              <a:gdLst>
                <a:gd name="T0" fmla="*/ 11 w 35"/>
                <a:gd name="T1" fmla="*/ 44 h 45"/>
                <a:gd name="T2" fmla="*/ 15 w 35"/>
                <a:gd name="T3" fmla="*/ 41 h 45"/>
                <a:gd name="T4" fmla="*/ 16 w 35"/>
                <a:gd name="T5" fmla="*/ 43 h 45"/>
                <a:gd name="T6" fmla="*/ 23 w 35"/>
                <a:gd name="T7" fmla="*/ 37 h 45"/>
                <a:gd name="T8" fmla="*/ 25 w 35"/>
                <a:gd name="T9" fmla="*/ 26 h 45"/>
                <a:gd name="T10" fmla="*/ 31 w 35"/>
                <a:gd name="T11" fmla="*/ 16 h 45"/>
                <a:gd name="T12" fmla="*/ 33 w 35"/>
                <a:gd name="T13" fmla="*/ 8 h 45"/>
                <a:gd name="T14" fmla="*/ 35 w 35"/>
                <a:gd name="T15" fmla="*/ 2 h 45"/>
                <a:gd name="T16" fmla="*/ 29 w 35"/>
                <a:gd name="T17" fmla="*/ 1 h 45"/>
                <a:gd name="T18" fmla="*/ 26 w 35"/>
                <a:gd name="T19" fmla="*/ 2 h 45"/>
                <a:gd name="T20" fmla="*/ 25 w 35"/>
                <a:gd name="T21" fmla="*/ 6 h 45"/>
                <a:gd name="T22" fmla="*/ 20 w 35"/>
                <a:gd name="T23" fmla="*/ 10 h 45"/>
                <a:gd name="T24" fmla="*/ 10 w 35"/>
                <a:gd name="T25" fmla="*/ 8 h 45"/>
                <a:gd name="T26" fmla="*/ 13 w 35"/>
                <a:gd name="T27" fmla="*/ 13 h 45"/>
                <a:gd name="T28" fmla="*/ 14 w 35"/>
                <a:gd name="T29" fmla="*/ 19 h 45"/>
                <a:gd name="T30" fmla="*/ 15 w 35"/>
                <a:gd name="T31" fmla="*/ 22 h 45"/>
                <a:gd name="T32" fmla="*/ 16 w 35"/>
                <a:gd name="T33" fmla="*/ 25 h 45"/>
                <a:gd name="T34" fmla="*/ 15 w 35"/>
                <a:gd name="T35" fmla="*/ 32 h 45"/>
                <a:gd name="T36" fmla="*/ 13 w 35"/>
                <a:gd name="T37" fmla="*/ 31 h 45"/>
                <a:gd name="T38" fmla="*/ 10 w 35"/>
                <a:gd name="T39" fmla="*/ 32 h 45"/>
                <a:gd name="T40" fmla="*/ 8 w 35"/>
                <a:gd name="T41" fmla="*/ 29 h 45"/>
                <a:gd name="T42" fmla="*/ 6 w 35"/>
                <a:gd name="T43" fmla="*/ 32 h 45"/>
                <a:gd name="T44" fmla="*/ 4 w 35"/>
                <a:gd name="T45" fmla="*/ 32 h 45"/>
                <a:gd name="T46" fmla="*/ 3 w 35"/>
                <a:gd name="T47" fmla="*/ 35 h 45"/>
                <a:gd name="T48" fmla="*/ 0 w 35"/>
                <a:gd name="T49" fmla="*/ 39 h 45"/>
                <a:gd name="T50" fmla="*/ 5 w 35"/>
                <a:gd name="T51" fmla="*/ 45 h 45"/>
                <a:gd name="T52" fmla="*/ 8 w 35"/>
                <a:gd name="T53" fmla="*/ 42 h 45"/>
                <a:gd name="T54" fmla="*/ 11 w 35"/>
                <a:gd name="T55" fmla="*/ 44 h 45"/>
                <a:gd name="T56" fmla="*/ 11 w 35"/>
                <a:gd name="T57" fmla="*/ 44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5" h="45">
                  <a:moveTo>
                    <a:pt x="11" y="44"/>
                  </a:moveTo>
                  <a:cubicBezTo>
                    <a:pt x="12" y="44"/>
                    <a:pt x="14" y="42"/>
                    <a:pt x="15" y="41"/>
                  </a:cubicBezTo>
                  <a:cubicBezTo>
                    <a:pt x="17" y="40"/>
                    <a:pt x="15" y="43"/>
                    <a:pt x="16" y="43"/>
                  </a:cubicBezTo>
                  <a:cubicBezTo>
                    <a:pt x="16" y="43"/>
                    <a:pt x="23" y="39"/>
                    <a:pt x="23" y="37"/>
                  </a:cubicBezTo>
                  <a:cubicBezTo>
                    <a:pt x="23" y="33"/>
                    <a:pt x="23" y="29"/>
                    <a:pt x="25" y="26"/>
                  </a:cubicBezTo>
                  <a:cubicBezTo>
                    <a:pt x="27" y="22"/>
                    <a:pt x="30" y="19"/>
                    <a:pt x="31" y="16"/>
                  </a:cubicBezTo>
                  <a:cubicBezTo>
                    <a:pt x="32" y="13"/>
                    <a:pt x="32" y="11"/>
                    <a:pt x="33" y="8"/>
                  </a:cubicBezTo>
                  <a:cubicBezTo>
                    <a:pt x="33" y="6"/>
                    <a:pt x="35" y="4"/>
                    <a:pt x="35" y="2"/>
                  </a:cubicBezTo>
                  <a:cubicBezTo>
                    <a:pt x="33" y="2"/>
                    <a:pt x="31" y="0"/>
                    <a:pt x="29" y="1"/>
                  </a:cubicBezTo>
                  <a:cubicBezTo>
                    <a:pt x="28" y="1"/>
                    <a:pt x="26" y="1"/>
                    <a:pt x="26" y="2"/>
                  </a:cubicBezTo>
                  <a:cubicBezTo>
                    <a:pt x="25" y="4"/>
                    <a:pt x="25" y="5"/>
                    <a:pt x="25" y="6"/>
                  </a:cubicBezTo>
                  <a:cubicBezTo>
                    <a:pt x="24" y="9"/>
                    <a:pt x="23" y="10"/>
                    <a:pt x="20" y="10"/>
                  </a:cubicBezTo>
                  <a:cubicBezTo>
                    <a:pt x="17" y="9"/>
                    <a:pt x="13" y="8"/>
                    <a:pt x="10" y="8"/>
                  </a:cubicBezTo>
                  <a:cubicBezTo>
                    <a:pt x="10" y="10"/>
                    <a:pt x="9" y="14"/>
                    <a:pt x="13" y="13"/>
                  </a:cubicBezTo>
                  <a:cubicBezTo>
                    <a:pt x="17" y="11"/>
                    <a:pt x="14" y="17"/>
                    <a:pt x="14" y="19"/>
                  </a:cubicBezTo>
                  <a:cubicBezTo>
                    <a:pt x="14" y="20"/>
                    <a:pt x="14" y="21"/>
                    <a:pt x="15" y="22"/>
                  </a:cubicBezTo>
                  <a:cubicBezTo>
                    <a:pt x="16" y="23"/>
                    <a:pt x="16" y="24"/>
                    <a:pt x="16" y="25"/>
                  </a:cubicBezTo>
                  <a:cubicBezTo>
                    <a:pt x="16" y="27"/>
                    <a:pt x="16" y="30"/>
                    <a:pt x="15" y="32"/>
                  </a:cubicBezTo>
                  <a:cubicBezTo>
                    <a:pt x="15" y="33"/>
                    <a:pt x="13" y="31"/>
                    <a:pt x="13" y="31"/>
                  </a:cubicBezTo>
                  <a:cubicBezTo>
                    <a:pt x="11" y="31"/>
                    <a:pt x="11" y="33"/>
                    <a:pt x="10" y="32"/>
                  </a:cubicBezTo>
                  <a:cubicBezTo>
                    <a:pt x="10" y="31"/>
                    <a:pt x="9" y="30"/>
                    <a:pt x="8" y="29"/>
                  </a:cubicBezTo>
                  <a:cubicBezTo>
                    <a:pt x="7" y="29"/>
                    <a:pt x="7" y="31"/>
                    <a:pt x="6" y="32"/>
                  </a:cubicBezTo>
                  <a:cubicBezTo>
                    <a:pt x="6" y="32"/>
                    <a:pt x="4" y="32"/>
                    <a:pt x="4" y="32"/>
                  </a:cubicBezTo>
                  <a:cubicBezTo>
                    <a:pt x="2" y="32"/>
                    <a:pt x="3" y="34"/>
                    <a:pt x="3" y="35"/>
                  </a:cubicBezTo>
                  <a:cubicBezTo>
                    <a:pt x="4" y="38"/>
                    <a:pt x="3" y="37"/>
                    <a:pt x="0" y="39"/>
                  </a:cubicBezTo>
                  <a:cubicBezTo>
                    <a:pt x="2" y="41"/>
                    <a:pt x="4" y="42"/>
                    <a:pt x="5" y="45"/>
                  </a:cubicBezTo>
                  <a:cubicBezTo>
                    <a:pt x="6" y="44"/>
                    <a:pt x="7" y="43"/>
                    <a:pt x="8" y="42"/>
                  </a:cubicBezTo>
                  <a:cubicBezTo>
                    <a:pt x="10" y="41"/>
                    <a:pt x="10" y="43"/>
                    <a:pt x="11" y="44"/>
                  </a:cubicBezTo>
                  <a:cubicBezTo>
                    <a:pt x="12" y="44"/>
                    <a:pt x="10" y="43"/>
                    <a:pt x="11" y="4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71" name="Freeform 742">
              <a:extLst>
                <a:ext uri="{FF2B5EF4-FFF2-40B4-BE49-F238E27FC236}">
                  <a16:creationId xmlns:a16="http://schemas.microsoft.com/office/drawing/2014/main" id="{E29A69C4-DAF3-6FEB-6BDC-B54D78C940DC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824" y="4012254"/>
              <a:ext cx="334403" cy="249792"/>
            </a:xfrm>
            <a:custGeom>
              <a:avLst/>
              <a:gdLst>
                <a:gd name="T0" fmla="*/ 12 w 64"/>
                <a:gd name="T1" fmla="*/ 37 h 45"/>
                <a:gd name="T2" fmla="*/ 17 w 64"/>
                <a:gd name="T3" fmla="*/ 37 h 45"/>
                <a:gd name="T4" fmla="*/ 20 w 64"/>
                <a:gd name="T5" fmla="*/ 38 h 45"/>
                <a:gd name="T6" fmla="*/ 21 w 64"/>
                <a:gd name="T7" fmla="*/ 33 h 45"/>
                <a:gd name="T8" fmla="*/ 25 w 64"/>
                <a:gd name="T9" fmla="*/ 30 h 45"/>
                <a:gd name="T10" fmla="*/ 30 w 64"/>
                <a:gd name="T11" fmla="*/ 33 h 45"/>
                <a:gd name="T12" fmla="*/ 36 w 64"/>
                <a:gd name="T13" fmla="*/ 34 h 45"/>
                <a:gd name="T14" fmla="*/ 39 w 64"/>
                <a:gd name="T15" fmla="*/ 34 h 45"/>
                <a:gd name="T16" fmla="*/ 41 w 64"/>
                <a:gd name="T17" fmla="*/ 30 h 45"/>
                <a:gd name="T18" fmla="*/ 45 w 64"/>
                <a:gd name="T19" fmla="*/ 31 h 45"/>
                <a:gd name="T20" fmla="*/ 50 w 64"/>
                <a:gd name="T21" fmla="*/ 31 h 45"/>
                <a:gd name="T22" fmla="*/ 55 w 64"/>
                <a:gd name="T23" fmla="*/ 29 h 45"/>
                <a:gd name="T24" fmla="*/ 60 w 64"/>
                <a:gd name="T25" fmla="*/ 30 h 45"/>
                <a:gd name="T26" fmla="*/ 58 w 64"/>
                <a:gd name="T27" fmla="*/ 24 h 45"/>
                <a:gd name="T28" fmla="*/ 55 w 64"/>
                <a:gd name="T29" fmla="*/ 20 h 45"/>
                <a:gd name="T30" fmla="*/ 51 w 64"/>
                <a:gd name="T31" fmla="*/ 16 h 45"/>
                <a:gd name="T32" fmla="*/ 47 w 64"/>
                <a:gd name="T33" fmla="*/ 13 h 45"/>
                <a:gd name="T34" fmla="*/ 46 w 64"/>
                <a:gd name="T35" fmla="*/ 12 h 45"/>
                <a:gd name="T36" fmla="*/ 44 w 64"/>
                <a:gd name="T37" fmla="*/ 12 h 45"/>
                <a:gd name="T38" fmla="*/ 44 w 64"/>
                <a:gd name="T39" fmla="*/ 6 h 45"/>
                <a:gd name="T40" fmla="*/ 41 w 64"/>
                <a:gd name="T41" fmla="*/ 1 h 45"/>
                <a:gd name="T42" fmla="*/ 41 w 64"/>
                <a:gd name="T43" fmla="*/ 0 h 45"/>
                <a:gd name="T44" fmla="*/ 38 w 64"/>
                <a:gd name="T45" fmla="*/ 0 h 45"/>
                <a:gd name="T46" fmla="*/ 35 w 64"/>
                <a:gd name="T47" fmla="*/ 3 h 45"/>
                <a:gd name="T48" fmla="*/ 26 w 64"/>
                <a:gd name="T49" fmla="*/ 10 h 45"/>
                <a:gd name="T50" fmla="*/ 22 w 64"/>
                <a:gd name="T51" fmla="*/ 11 h 45"/>
                <a:gd name="T52" fmla="*/ 19 w 64"/>
                <a:gd name="T53" fmla="*/ 15 h 45"/>
                <a:gd name="T54" fmla="*/ 13 w 64"/>
                <a:gd name="T55" fmla="*/ 17 h 45"/>
                <a:gd name="T56" fmla="*/ 9 w 64"/>
                <a:gd name="T57" fmla="*/ 17 h 45"/>
                <a:gd name="T58" fmla="*/ 6 w 64"/>
                <a:gd name="T59" fmla="*/ 18 h 45"/>
                <a:gd name="T60" fmla="*/ 3 w 64"/>
                <a:gd name="T61" fmla="*/ 23 h 45"/>
                <a:gd name="T62" fmla="*/ 4 w 64"/>
                <a:gd name="T63" fmla="*/ 34 h 45"/>
                <a:gd name="T64" fmla="*/ 6 w 64"/>
                <a:gd name="T65" fmla="*/ 39 h 45"/>
                <a:gd name="T66" fmla="*/ 9 w 64"/>
                <a:gd name="T67" fmla="*/ 45 h 45"/>
                <a:gd name="T68" fmla="*/ 12 w 64"/>
                <a:gd name="T69" fmla="*/ 3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4" h="45">
                  <a:moveTo>
                    <a:pt x="12" y="37"/>
                  </a:moveTo>
                  <a:cubicBezTo>
                    <a:pt x="13" y="37"/>
                    <a:pt x="16" y="36"/>
                    <a:pt x="17" y="37"/>
                  </a:cubicBezTo>
                  <a:cubicBezTo>
                    <a:pt x="17" y="38"/>
                    <a:pt x="20" y="38"/>
                    <a:pt x="20" y="38"/>
                  </a:cubicBezTo>
                  <a:cubicBezTo>
                    <a:pt x="21" y="36"/>
                    <a:pt x="20" y="34"/>
                    <a:pt x="21" y="33"/>
                  </a:cubicBezTo>
                  <a:cubicBezTo>
                    <a:pt x="21" y="32"/>
                    <a:pt x="23" y="29"/>
                    <a:pt x="25" y="30"/>
                  </a:cubicBezTo>
                  <a:cubicBezTo>
                    <a:pt x="27" y="30"/>
                    <a:pt x="28" y="32"/>
                    <a:pt x="30" y="33"/>
                  </a:cubicBezTo>
                  <a:cubicBezTo>
                    <a:pt x="32" y="34"/>
                    <a:pt x="34" y="34"/>
                    <a:pt x="36" y="34"/>
                  </a:cubicBezTo>
                  <a:cubicBezTo>
                    <a:pt x="37" y="34"/>
                    <a:pt x="39" y="35"/>
                    <a:pt x="39" y="34"/>
                  </a:cubicBezTo>
                  <a:cubicBezTo>
                    <a:pt x="40" y="33"/>
                    <a:pt x="40" y="29"/>
                    <a:pt x="41" y="30"/>
                  </a:cubicBezTo>
                  <a:cubicBezTo>
                    <a:pt x="43" y="31"/>
                    <a:pt x="43" y="31"/>
                    <a:pt x="45" y="31"/>
                  </a:cubicBezTo>
                  <a:cubicBezTo>
                    <a:pt x="47" y="30"/>
                    <a:pt x="48" y="31"/>
                    <a:pt x="50" y="31"/>
                  </a:cubicBezTo>
                  <a:cubicBezTo>
                    <a:pt x="52" y="31"/>
                    <a:pt x="53" y="28"/>
                    <a:pt x="55" y="29"/>
                  </a:cubicBezTo>
                  <a:cubicBezTo>
                    <a:pt x="56" y="29"/>
                    <a:pt x="58" y="31"/>
                    <a:pt x="60" y="30"/>
                  </a:cubicBezTo>
                  <a:cubicBezTo>
                    <a:pt x="64" y="28"/>
                    <a:pt x="59" y="26"/>
                    <a:pt x="58" y="24"/>
                  </a:cubicBezTo>
                  <a:cubicBezTo>
                    <a:pt x="57" y="22"/>
                    <a:pt x="57" y="21"/>
                    <a:pt x="55" y="20"/>
                  </a:cubicBezTo>
                  <a:cubicBezTo>
                    <a:pt x="53" y="19"/>
                    <a:pt x="52" y="18"/>
                    <a:pt x="51" y="16"/>
                  </a:cubicBezTo>
                  <a:cubicBezTo>
                    <a:pt x="51" y="14"/>
                    <a:pt x="49" y="14"/>
                    <a:pt x="47" y="13"/>
                  </a:cubicBezTo>
                  <a:cubicBezTo>
                    <a:pt x="47" y="13"/>
                    <a:pt x="47" y="12"/>
                    <a:pt x="46" y="12"/>
                  </a:cubicBezTo>
                  <a:cubicBezTo>
                    <a:pt x="46" y="12"/>
                    <a:pt x="44" y="12"/>
                    <a:pt x="44" y="12"/>
                  </a:cubicBezTo>
                  <a:cubicBezTo>
                    <a:pt x="43" y="11"/>
                    <a:pt x="44" y="7"/>
                    <a:pt x="44" y="6"/>
                  </a:cubicBezTo>
                  <a:cubicBezTo>
                    <a:pt x="44" y="4"/>
                    <a:pt x="42" y="3"/>
                    <a:pt x="41" y="1"/>
                  </a:cubicBezTo>
                  <a:cubicBezTo>
                    <a:pt x="41" y="1"/>
                    <a:pt x="41" y="0"/>
                    <a:pt x="41" y="0"/>
                  </a:cubicBezTo>
                  <a:cubicBezTo>
                    <a:pt x="40" y="0"/>
                    <a:pt x="39" y="0"/>
                    <a:pt x="38" y="0"/>
                  </a:cubicBezTo>
                  <a:cubicBezTo>
                    <a:pt x="36" y="1"/>
                    <a:pt x="36" y="1"/>
                    <a:pt x="35" y="3"/>
                  </a:cubicBezTo>
                  <a:cubicBezTo>
                    <a:pt x="35" y="6"/>
                    <a:pt x="28" y="10"/>
                    <a:pt x="26" y="10"/>
                  </a:cubicBezTo>
                  <a:cubicBezTo>
                    <a:pt x="25" y="10"/>
                    <a:pt x="21" y="10"/>
                    <a:pt x="22" y="11"/>
                  </a:cubicBezTo>
                  <a:cubicBezTo>
                    <a:pt x="23" y="13"/>
                    <a:pt x="20" y="15"/>
                    <a:pt x="19" y="15"/>
                  </a:cubicBezTo>
                  <a:cubicBezTo>
                    <a:pt x="17" y="16"/>
                    <a:pt x="15" y="17"/>
                    <a:pt x="13" y="17"/>
                  </a:cubicBezTo>
                  <a:cubicBezTo>
                    <a:pt x="11" y="18"/>
                    <a:pt x="11" y="16"/>
                    <a:pt x="9" y="17"/>
                  </a:cubicBezTo>
                  <a:cubicBezTo>
                    <a:pt x="7" y="18"/>
                    <a:pt x="6" y="17"/>
                    <a:pt x="6" y="18"/>
                  </a:cubicBezTo>
                  <a:cubicBezTo>
                    <a:pt x="5" y="20"/>
                    <a:pt x="4" y="22"/>
                    <a:pt x="3" y="23"/>
                  </a:cubicBezTo>
                  <a:cubicBezTo>
                    <a:pt x="0" y="27"/>
                    <a:pt x="2" y="30"/>
                    <a:pt x="4" y="34"/>
                  </a:cubicBezTo>
                  <a:cubicBezTo>
                    <a:pt x="5" y="36"/>
                    <a:pt x="5" y="37"/>
                    <a:pt x="6" y="39"/>
                  </a:cubicBezTo>
                  <a:cubicBezTo>
                    <a:pt x="8" y="41"/>
                    <a:pt x="9" y="42"/>
                    <a:pt x="9" y="45"/>
                  </a:cubicBezTo>
                  <a:cubicBezTo>
                    <a:pt x="9" y="44"/>
                    <a:pt x="10" y="37"/>
                    <a:pt x="12" y="3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72" name="Freeform 743">
              <a:extLst>
                <a:ext uri="{FF2B5EF4-FFF2-40B4-BE49-F238E27FC236}">
                  <a16:creationId xmlns:a16="http://schemas.microsoft.com/office/drawing/2014/main" id="{6B01655B-EFAE-8DE9-B0B2-9C42E2379E08}"/>
                </a:ext>
              </a:extLst>
            </p:cNvPr>
            <p:cNvSpPr>
              <a:spLocks/>
            </p:cNvSpPr>
            <p:nvPr/>
          </p:nvSpPr>
          <p:spPr bwMode="auto">
            <a:xfrm>
              <a:off x="5826867" y="3656490"/>
              <a:ext cx="613372" cy="456060"/>
            </a:xfrm>
            <a:custGeom>
              <a:avLst/>
              <a:gdLst>
                <a:gd name="T0" fmla="*/ 83 w 117"/>
                <a:gd name="T1" fmla="*/ 82 h 82"/>
                <a:gd name="T2" fmla="*/ 93 w 117"/>
                <a:gd name="T3" fmla="*/ 76 h 82"/>
                <a:gd name="T4" fmla="*/ 105 w 117"/>
                <a:gd name="T5" fmla="*/ 68 h 82"/>
                <a:gd name="T6" fmla="*/ 112 w 117"/>
                <a:gd name="T7" fmla="*/ 64 h 82"/>
                <a:gd name="T8" fmla="*/ 107 w 117"/>
                <a:gd name="T9" fmla="*/ 55 h 82"/>
                <a:gd name="T10" fmla="*/ 110 w 117"/>
                <a:gd name="T11" fmla="*/ 46 h 82"/>
                <a:gd name="T12" fmla="*/ 114 w 117"/>
                <a:gd name="T13" fmla="*/ 40 h 82"/>
                <a:gd name="T14" fmla="*/ 117 w 117"/>
                <a:gd name="T15" fmla="*/ 21 h 82"/>
                <a:gd name="T16" fmla="*/ 81 w 117"/>
                <a:gd name="T17" fmla="*/ 1 h 82"/>
                <a:gd name="T18" fmla="*/ 75 w 117"/>
                <a:gd name="T19" fmla="*/ 2 h 82"/>
                <a:gd name="T20" fmla="*/ 67 w 117"/>
                <a:gd name="T21" fmla="*/ 2 h 82"/>
                <a:gd name="T22" fmla="*/ 59 w 117"/>
                <a:gd name="T23" fmla="*/ 1 h 82"/>
                <a:gd name="T24" fmla="*/ 29 w 117"/>
                <a:gd name="T25" fmla="*/ 21 h 82"/>
                <a:gd name="T26" fmla="*/ 22 w 117"/>
                <a:gd name="T27" fmla="*/ 25 h 82"/>
                <a:gd name="T28" fmla="*/ 19 w 117"/>
                <a:gd name="T29" fmla="*/ 42 h 82"/>
                <a:gd name="T30" fmla="*/ 8 w 117"/>
                <a:gd name="T31" fmla="*/ 43 h 82"/>
                <a:gd name="T32" fmla="*/ 5 w 117"/>
                <a:gd name="T33" fmla="*/ 51 h 82"/>
                <a:gd name="T34" fmla="*/ 11 w 117"/>
                <a:gd name="T35" fmla="*/ 56 h 82"/>
                <a:gd name="T36" fmla="*/ 19 w 117"/>
                <a:gd name="T37" fmla="*/ 62 h 82"/>
                <a:gd name="T38" fmla="*/ 21 w 117"/>
                <a:gd name="T39" fmla="*/ 55 h 82"/>
                <a:gd name="T40" fmla="*/ 28 w 117"/>
                <a:gd name="T41" fmla="*/ 50 h 82"/>
                <a:gd name="T42" fmla="*/ 35 w 117"/>
                <a:gd name="T43" fmla="*/ 53 h 82"/>
                <a:gd name="T44" fmla="*/ 46 w 117"/>
                <a:gd name="T45" fmla="*/ 55 h 82"/>
                <a:gd name="T46" fmla="*/ 64 w 117"/>
                <a:gd name="T47" fmla="*/ 53 h 82"/>
                <a:gd name="T48" fmla="*/ 68 w 117"/>
                <a:gd name="T49" fmla="*/ 47 h 82"/>
                <a:gd name="T50" fmla="*/ 77 w 117"/>
                <a:gd name="T51" fmla="*/ 31 h 82"/>
                <a:gd name="T52" fmla="*/ 79 w 117"/>
                <a:gd name="T53" fmla="*/ 16 h 82"/>
                <a:gd name="T54" fmla="*/ 75 w 117"/>
                <a:gd name="T55" fmla="*/ 2 h 82"/>
                <a:gd name="T56" fmla="*/ 78 w 117"/>
                <a:gd name="T57" fmla="*/ 16 h 82"/>
                <a:gd name="T58" fmla="*/ 77 w 117"/>
                <a:gd name="T59" fmla="*/ 35 h 82"/>
                <a:gd name="T60" fmla="*/ 68 w 117"/>
                <a:gd name="T61" fmla="*/ 46 h 82"/>
                <a:gd name="T62" fmla="*/ 72 w 117"/>
                <a:gd name="T63" fmla="*/ 55 h 82"/>
                <a:gd name="T64" fmla="*/ 75 w 117"/>
                <a:gd name="T65" fmla="*/ 65 h 82"/>
                <a:gd name="T66" fmla="*/ 72 w 117"/>
                <a:gd name="T67" fmla="*/ 74 h 82"/>
                <a:gd name="T68" fmla="*/ 77 w 117"/>
                <a:gd name="T69" fmla="*/ 81 h 82"/>
                <a:gd name="T70" fmla="*/ 80 w 117"/>
                <a:gd name="T71" fmla="*/ 81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17" h="82">
                  <a:moveTo>
                    <a:pt x="80" y="81"/>
                  </a:moveTo>
                  <a:cubicBezTo>
                    <a:pt x="81" y="80"/>
                    <a:pt x="82" y="82"/>
                    <a:pt x="83" y="82"/>
                  </a:cubicBezTo>
                  <a:cubicBezTo>
                    <a:pt x="85" y="81"/>
                    <a:pt x="87" y="80"/>
                    <a:pt x="89" y="79"/>
                  </a:cubicBezTo>
                  <a:cubicBezTo>
                    <a:pt x="90" y="79"/>
                    <a:pt x="93" y="78"/>
                    <a:pt x="93" y="76"/>
                  </a:cubicBezTo>
                  <a:cubicBezTo>
                    <a:pt x="93" y="74"/>
                    <a:pt x="94" y="75"/>
                    <a:pt x="96" y="74"/>
                  </a:cubicBezTo>
                  <a:cubicBezTo>
                    <a:pt x="99" y="74"/>
                    <a:pt x="103" y="71"/>
                    <a:pt x="105" y="68"/>
                  </a:cubicBezTo>
                  <a:cubicBezTo>
                    <a:pt x="106" y="67"/>
                    <a:pt x="106" y="66"/>
                    <a:pt x="107" y="65"/>
                  </a:cubicBezTo>
                  <a:cubicBezTo>
                    <a:pt x="108" y="64"/>
                    <a:pt x="110" y="64"/>
                    <a:pt x="112" y="64"/>
                  </a:cubicBezTo>
                  <a:cubicBezTo>
                    <a:pt x="112" y="62"/>
                    <a:pt x="110" y="61"/>
                    <a:pt x="109" y="59"/>
                  </a:cubicBezTo>
                  <a:cubicBezTo>
                    <a:pt x="109" y="58"/>
                    <a:pt x="110" y="55"/>
                    <a:pt x="107" y="55"/>
                  </a:cubicBezTo>
                  <a:cubicBezTo>
                    <a:pt x="106" y="55"/>
                    <a:pt x="109" y="53"/>
                    <a:pt x="108" y="52"/>
                  </a:cubicBezTo>
                  <a:cubicBezTo>
                    <a:pt x="108" y="49"/>
                    <a:pt x="109" y="48"/>
                    <a:pt x="110" y="46"/>
                  </a:cubicBezTo>
                  <a:cubicBezTo>
                    <a:pt x="110" y="44"/>
                    <a:pt x="112" y="44"/>
                    <a:pt x="112" y="42"/>
                  </a:cubicBezTo>
                  <a:cubicBezTo>
                    <a:pt x="112" y="41"/>
                    <a:pt x="113" y="40"/>
                    <a:pt x="114" y="40"/>
                  </a:cubicBezTo>
                  <a:cubicBezTo>
                    <a:pt x="117" y="40"/>
                    <a:pt x="117" y="40"/>
                    <a:pt x="117" y="38"/>
                  </a:cubicBezTo>
                  <a:cubicBezTo>
                    <a:pt x="117" y="32"/>
                    <a:pt x="117" y="27"/>
                    <a:pt x="117" y="21"/>
                  </a:cubicBezTo>
                  <a:cubicBezTo>
                    <a:pt x="117" y="19"/>
                    <a:pt x="113" y="18"/>
                    <a:pt x="111" y="17"/>
                  </a:cubicBezTo>
                  <a:cubicBezTo>
                    <a:pt x="101" y="12"/>
                    <a:pt x="91" y="6"/>
                    <a:pt x="81" y="1"/>
                  </a:cubicBezTo>
                  <a:cubicBezTo>
                    <a:pt x="80" y="1"/>
                    <a:pt x="80" y="0"/>
                    <a:pt x="79" y="0"/>
                  </a:cubicBezTo>
                  <a:cubicBezTo>
                    <a:pt x="78" y="1"/>
                    <a:pt x="76" y="2"/>
                    <a:pt x="75" y="2"/>
                  </a:cubicBezTo>
                  <a:cubicBezTo>
                    <a:pt x="74" y="3"/>
                    <a:pt x="72" y="5"/>
                    <a:pt x="71" y="5"/>
                  </a:cubicBezTo>
                  <a:cubicBezTo>
                    <a:pt x="70" y="5"/>
                    <a:pt x="69" y="3"/>
                    <a:pt x="67" y="2"/>
                  </a:cubicBezTo>
                  <a:cubicBezTo>
                    <a:pt x="66" y="1"/>
                    <a:pt x="65" y="1"/>
                    <a:pt x="64" y="1"/>
                  </a:cubicBezTo>
                  <a:cubicBezTo>
                    <a:pt x="62" y="0"/>
                    <a:pt x="61" y="0"/>
                    <a:pt x="59" y="1"/>
                  </a:cubicBezTo>
                  <a:cubicBezTo>
                    <a:pt x="52" y="5"/>
                    <a:pt x="45" y="10"/>
                    <a:pt x="38" y="14"/>
                  </a:cubicBezTo>
                  <a:cubicBezTo>
                    <a:pt x="35" y="16"/>
                    <a:pt x="32" y="18"/>
                    <a:pt x="29" y="21"/>
                  </a:cubicBezTo>
                  <a:cubicBezTo>
                    <a:pt x="28" y="22"/>
                    <a:pt x="27" y="22"/>
                    <a:pt x="26" y="22"/>
                  </a:cubicBezTo>
                  <a:cubicBezTo>
                    <a:pt x="23" y="22"/>
                    <a:pt x="22" y="22"/>
                    <a:pt x="22" y="25"/>
                  </a:cubicBezTo>
                  <a:cubicBezTo>
                    <a:pt x="22" y="28"/>
                    <a:pt x="22" y="31"/>
                    <a:pt x="22" y="34"/>
                  </a:cubicBezTo>
                  <a:cubicBezTo>
                    <a:pt x="22" y="37"/>
                    <a:pt x="21" y="40"/>
                    <a:pt x="19" y="42"/>
                  </a:cubicBezTo>
                  <a:cubicBezTo>
                    <a:pt x="18" y="43"/>
                    <a:pt x="15" y="43"/>
                    <a:pt x="14" y="43"/>
                  </a:cubicBezTo>
                  <a:cubicBezTo>
                    <a:pt x="12" y="43"/>
                    <a:pt x="10" y="43"/>
                    <a:pt x="8" y="43"/>
                  </a:cubicBezTo>
                  <a:cubicBezTo>
                    <a:pt x="6" y="43"/>
                    <a:pt x="4" y="44"/>
                    <a:pt x="2" y="44"/>
                  </a:cubicBezTo>
                  <a:cubicBezTo>
                    <a:pt x="0" y="44"/>
                    <a:pt x="5" y="51"/>
                    <a:pt x="5" y="51"/>
                  </a:cubicBezTo>
                  <a:cubicBezTo>
                    <a:pt x="6" y="54"/>
                    <a:pt x="7" y="56"/>
                    <a:pt x="10" y="57"/>
                  </a:cubicBezTo>
                  <a:cubicBezTo>
                    <a:pt x="10" y="57"/>
                    <a:pt x="11" y="56"/>
                    <a:pt x="11" y="56"/>
                  </a:cubicBezTo>
                  <a:cubicBezTo>
                    <a:pt x="12" y="57"/>
                    <a:pt x="12" y="60"/>
                    <a:pt x="14" y="58"/>
                  </a:cubicBezTo>
                  <a:cubicBezTo>
                    <a:pt x="16" y="56"/>
                    <a:pt x="18" y="61"/>
                    <a:pt x="19" y="62"/>
                  </a:cubicBezTo>
                  <a:cubicBezTo>
                    <a:pt x="19" y="61"/>
                    <a:pt x="20" y="59"/>
                    <a:pt x="20" y="58"/>
                  </a:cubicBezTo>
                  <a:cubicBezTo>
                    <a:pt x="20" y="57"/>
                    <a:pt x="21" y="56"/>
                    <a:pt x="21" y="55"/>
                  </a:cubicBezTo>
                  <a:cubicBezTo>
                    <a:pt x="22" y="52"/>
                    <a:pt x="22" y="52"/>
                    <a:pt x="25" y="51"/>
                  </a:cubicBezTo>
                  <a:cubicBezTo>
                    <a:pt x="26" y="50"/>
                    <a:pt x="27" y="50"/>
                    <a:pt x="28" y="50"/>
                  </a:cubicBezTo>
                  <a:cubicBezTo>
                    <a:pt x="29" y="49"/>
                    <a:pt x="30" y="51"/>
                    <a:pt x="31" y="51"/>
                  </a:cubicBezTo>
                  <a:cubicBezTo>
                    <a:pt x="33" y="51"/>
                    <a:pt x="34" y="52"/>
                    <a:pt x="35" y="53"/>
                  </a:cubicBezTo>
                  <a:cubicBezTo>
                    <a:pt x="36" y="54"/>
                    <a:pt x="37" y="54"/>
                    <a:pt x="39" y="54"/>
                  </a:cubicBezTo>
                  <a:cubicBezTo>
                    <a:pt x="42" y="52"/>
                    <a:pt x="43" y="55"/>
                    <a:pt x="46" y="55"/>
                  </a:cubicBezTo>
                  <a:cubicBezTo>
                    <a:pt x="49" y="55"/>
                    <a:pt x="52" y="53"/>
                    <a:pt x="55" y="53"/>
                  </a:cubicBezTo>
                  <a:cubicBezTo>
                    <a:pt x="57" y="53"/>
                    <a:pt x="61" y="54"/>
                    <a:pt x="64" y="53"/>
                  </a:cubicBezTo>
                  <a:cubicBezTo>
                    <a:pt x="65" y="53"/>
                    <a:pt x="66" y="52"/>
                    <a:pt x="67" y="51"/>
                  </a:cubicBezTo>
                  <a:cubicBezTo>
                    <a:pt x="69" y="50"/>
                    <a:pt x="68" y="49"/>
                    <a:pt x="68" y="47"/>
                  </a:cubicBezTo>
                  <a:cubicBezTo>
                    <a:pt x="68" y="42"/>
                    <a:pt x="73" y="39"/>
                    <a:pt x="77" y="35"/>
                  </a:cubicBezTo>
                  <a:cubicBezTo>
                    <a:pt x="78" y="34"/>
                    <a:pt x="77" y="32"/>
                    <a:pt x="77" y="31"/>
                  </a:cubicBezTo>
                  <a:cubicBezTo>
                    <a:pt x="77" y="28"/>
                    <a:pt x="77" y="26"/>
                    <a:pt x="77" y="23"/>
                  </a:cubicBezTo>
                  <a:cubicBezTo>
                    <a:pt x="78" y="21"/>
                    <a:pt x="79" y="18"/>
                    <a:pt x="79" y="16"/>
                  </a:cubicBezTo>
                  <a:cubicBezTo>
                    <a:pt x="78" y="14"/>
                    <a:pt x="77" y="12"/>
                    <a:pt x="76" y="11"/>
                  </a:cubicBezTo>
                  <a:cubicBezTo>
                    <a:pt x="74" y="8"/>
                    <a:pt x="75" y="5"/>
                    <a:pt x="75" y="2"/>
                  </a:cubicBezTo>
                  <a:cubicBezTo>
                    <a:pt x="75" y="5"/>
                    <a:pt x="75" y="7"/>
                    <a:pt x="75" y="9"/>
                  </a:cubicBezTo>
                  <a:cubicBezTo>
                    <a:pt x="75" y="11"/>
                    <a:pt x="78" y="14"/>
                    <a:pt x="78" y="16"/>
                  </a:cubicBezTo>
                  <a:cubicBezTo>
                    <a:pt x="79" y="19"/>
                    <a:pt x="77" y="23"/>
                    <a:pt x="77" y="26"/>
                  </a:cubicBezTo>
                  <a:cubicBezTo>
                    <a:pt x="77" y="28"/>
                    <a:pt x="78" y="32"/>
                    <a:pt x="77" y="35"/>
                  </a:cubicBezTo>
                  <a:cubicBezTo>
                    <a:pt x="76" y="37"/>
                    <a:pt x="72" y="39"/>
                    <a:pt x="71" y="41"/>
                  </a:cubicBezTo>
                  <a:cubicBezTo>
                    <a:pt x="69" y="42"/>
                    <a:pt x="68" y="44"/>
                    <a:pt x="68" y="46"/>
                  </a:cubicBezTo>
                  <a:cubicBezTo>
                    <a:pt x="67" y="49"/>
                    <a:pt x="69" y="50"/>
                    <a:pt x="70" y="53"/>
                  </a:cubicBezTo>
                  <a:cubicBezTo>
                    <a:pt x="70" y="54"/>
                    <a:pt x="71" y="54"/>
                    <a:pt x="72" y="55"/>
                  </a:cubicBezTo>
                  <a:cubicBezTo>
                    <a:pt x="74" y="56"/>
                    <a:pt x="75" y="57"/>
                    <a:pt x="75" y="59"/>
                  </a:cubicBezTo>
                  <a:cubicBezTo>
                    <a:pt x="75" y="61"/>
                    <a:pt x="75" y="63"/>
                    <a:pt x="75" y="65"/>
                  </a:cubicBezTo>
                  <a:cubicBezTo>
                    <a:pt x="75" y="66"/>
                    <a:pt x="76" y="68"/>
                    <a:pt x="77" y="70"/>
                  </a:cubicBezTo>
                  <a:cubicBezTo>
                    <a:pt x="74" y="70"/>
                    <a:pt x="67" y="70"/>
                    <a:pt x="72" y="74"/>
                  </a:cubicBezTo>
                  <a:cubicBezTo>
                    <a:pt x="74" y="75"/>
                    <a:pt x="75" y="76"/>
                    <a:pt x="76" y="78"/>
                  </a:cubicBezTo>
                  <a:cubicBezTo>
                    <a:pt x="76" y="79"/>
                    <a:pt x="77" y="80"/>
                    <a:pt x="77" y="81"/>
                  </a:cubicBezTo>
                  <a:cubicBezTo>
                    <a:pt x="77" y="82"/>
                    <a:pt x="80" y="81"/>
                    <a:pt x="80" y="81"/>
                  </a:cubicBezTo>
                  <a:cubicBezTo>
                    <a:pt x="82" y="80"/>
                    <a:pt x="80" y="81"/>
                    <a:pt x="80" y="8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73" name="Freeform 744">
              <a:extLst>
                <a:ext uri="{FF2B5EF4-FFF2-40B4-BE49-F238E27FC236}">
                  <a16:creationId xmlns:a16="http://schemas.microsoft.com/office/drawing/2014/main" id="{56ABEF37-723F-247C-5D99-6CE50BFB421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81225" y="3667844"/>
              <a:ext cx="430969" cy="562032"/>
            </a:xfrm>
            <a:custGeom>
              <a:avLst/>
              <a:gdLst>
                <a:gd name="T0" fmla="*/ 6 w 82"/>
                <a:gd name="T1" fmla="*/ 39 h 101"/>
                <a:gd name="T2" fmla="*/ 6 w 82"/>
                <a:gd name="T3" fmla="*/ 41 h 101"/>
                <a:gd name="T4" fmla="*/ 4 w 82"/>
                <a:gd name="T5" fmla="*/ 43 h 101"/>
                <a:gd name="T6" fmla="*/ 2 w 82"/>
                <a:gd name="T7" fmla="*/ 49 h 101"/>
                <a:gd name="T8" fmla="*/ 2 w 82"/>
                <a:gd name="T9" fmla="*/ 51 h 101"/>
                <a:gd name="T10" fmla="*/ 1 w 82"/>
                <a:gd name="T11" fmla="*/ 53 h 101"/>
                <a:gd name="T12" fmla="*/ 4 w 82"/>
                <a:gd name="T13" fmla="*/ 58 h 101"/>
                <a:gd name="T14" fmla="*/ 6 w 82"/>
                <a:gd name="T15" fmla="*/ 60 h 101"/>
                <a:gd name="T16" fmla="*/ 6 w 82"/>
                <a:gd name="T17" fmla="*/ 63 h 101"/>
                <a:gd name="T18" fmla="*/ 9 w 82"/>
                <a:gd name="T19" fmla="*/ 68 h 101"/>
                <a:gd name="T20" fmla="*/ 9 w 82"/>
                <a:gd name="T21" fmla="*/ 74 h 101"/>
                <a:gd name="T22" fmla="*/ 15 w 82"/>
                <a:gd name="T23" fmla="*/ 76 h 101"/>
                <a:gd name="T24" fmla="*/ 18 w 82"/>
                <a:gd name="T25" fmla="*/ 81 h 101"/>
                <a:gd name="T26" fmla="*/ 22 w 82"/>
                <a:gd name="T27" fmla="*/ 84 h 101"/>
                <a:gd name="T28" fmla="*/ 26 w 82"/>
                <a:gd name="T29" fmla="*/ 88 h 101"/>
                <a:gd name="T30" fmla="*/ 26 w 82"/>
                <a:gd name="T31" fmla="*/ 91 h 101"/>
                <a:gd name="T32" fmla="*/ 28 w 82"/>
                <a:gd name="T33" fmla="*/ 92 h 101"/>
                <a:gd name="T34" fmla="*/ 32 w 82"/>
                <a:gd name="T35" fmla="*/ 96 h 101"/>
                <a:gd name="T36" fmla="*/ 35 w 82"/>
                <a:gd name="T37" fmla="*/ 95 h 101"/>
                <a:gd name="T38" fmla="*/ 39 w 82"/>
                <a:gd name="T39" fmla="*/ 94 h 101"/>
                <a:gd name="T40" fmla="*/ 44 w 82"/>
                <a:gd name="T41" fmla="*/ 100 h 101"/>
                <a:gd name="T42" fmla="*/ 51 w 82"/>
                <a:gd name="T43" fmla="*/ 100 h 101"/>
                <a:gd name="T44" fmla="*/ 55 w 82"/>
                <a:gd name="T45" fmla="*/ 98 h 101"/>
                <a:gd name="T46" fmla="*/ 59 w 82"/>
                <a:gd name="T47" fmla="*/ 97 h 101"/>
                <a:gd name="T48" fmla="*/ 69 w 82"/>
                <a:gd name="T49" fmla="*/ 94 h 101"/>
                <a:gd name="T50" fmla="*/ 69 w 82"/>
                <a:gd name="T51" fmla="*/ 91 h 101"/>
                <a:gd name="T52" fmla="*/ 66 w 82"/>
                <a:gd name="T53" fmla="*/ 90 h 101"/>
                <a:gd name="T54" fmla="*/ 61 w 82"/>
                <a:gd name="T55" fmla="*/ 83 h 101"/>
                <a:gd name="T56" fmla="*/ 59 w 82"/>
                <a:gd name="T57" fmla="*/ 80 h 101"/>
                <a:gd name="T58" fmla="*/ 56 w 82"/>
                <a:gd name="T59" fmla="*/ 78 h 101"/>
                <a:gd name="T60" fmla="*/ 59 w 82"/>
                <a:gd name="T61" fmla="*/ 75 h 101"/>
                <a:gd name="T62" fmla="*/ 61 w 82"/>
                <a:gd name="T63" fmla="*/ 67 h 101"/>
                <a:gd name="T64" fmla="*/ 62 w 82"/>
                <a:gd name="T65" fmla="*/ 64 h 101"/>
                <a:gd name="T66" fmla="*/ 65 w 82"/>
                <a:gd name="T67" fmla="*/ 62 h 101"/>
                <a:gd name="T68" fmla="*/ 65 w 82"/>
                <a:gd name="T69" fmla="*/ 58 h 101"/>
                <a:gd name="T70" fmla="*/ 67 w 82"/>
                <a:gd name="T71" fmla="*/ 55 h 101"/>
                <a:gd name="T72" fmla="*/ 71 w 82"/>
                <a:gd name="T73" fmla="*/ 52 h 101"/>
                <a:gd name="T74" fmla="*/ 72 w 82"/>
                <a:gd name="T75" fmla="*/ 45 h 101"/>
                <a:gd name="T76" fmla="*/ 72 w 82"/>
                <a:gd name="T77" fmla="*/ 42 h 101"/>
                <a:gd name="T78" fmla="*/ 74 w 82"/>
                <a:gd name="T79" fmla="*/ 37 h 101"/>
                <a:gd name="T80" fmla="*/ 79 w 82"/>
                <a:gd name="T81" fmla="*/ 29 h 101"/>
                <a:gd name="T82" fmla="*/ 82 w 82"/>
                <a:gd name="T83" fmla="*/ 27 h 101"/>
                <a:gd name="T84" fmla="*/ 79 w 82"/>
                <a:gd name="T85" fmla="*/ 23 h 101"/>
                <a:gd name="T86" fmla="*/ 76 w 82"/>
                <a:gd name="T87" fmla="*/ 17 h 101"/>
                <a:gd name="T88" fmla="*/ 76 w 82"/>
                <a:gd name="T89" fmla="*/ 11 h 101"/>
                <a:gd name="T90" fmla="*/ 75 w 82"/>
                <a:gd name="T91" fmla="*/ 9 h 101"/>
                <a:gd name="T92" fmla="*/ 74 w 82"/>
                <a:gd name="T93" fmla="*/ 5 h 101"/>
                <a:gd name="T94" fmla="*/ 68 w 82"/>
                <a:gd name="T95" fmla="*/ 0 h 101"/>
                <a:gd name="T96" fmla="*/ 64 w 82"/>
                <a:gd name="T97" fmla="*/ 2 h 101"/>
                <a:gd name="T98" fmla="*/ 60 w 82"/>
                <a:gd name="T99" fmla="*/ 5 h 101"/>
                <a:gd name="T100" fmla="*/ 56 w 82"/>
                <a:gd name="T101" fmla="*/ 5 h 101"/>
                <a:gd name="T102" fmla="*/ 46 w 82"/>
                <a:gd name="T103" fmla="*/ 5 h 101"/>
                <a:gd name="T104" fmla="*/ 17 w 82"/>
                <a:gd name="T105" fmla="*/ 5 h 101"/>
                <a:gd name="T106" fmla="*/ 16 w 82"/>
                <a:gd name="T107" fmla="*/ 14 h 101"/>
                <a:gd name="T108" fmla="*/ 13 w 82"/>
                <a:gd name="T109" fmla="*/ 16 h 101"/>
                <a:gd name="T110" fmla="*/ 11 w 82"/>
                <a:gd name="T111" fmla="*/ 18 h 101"/>
                <a:gd name="T112" fmla="*/ 11 w 82"/>
                <a:gd name="T113" fmla="*/ 32 h 101"/>
                <a:gd name="T114" fmla="*/ 11 w 82"/>
                <a:gd name="T115" fmla="*/ 37 h 101"/>
                <a:gd name="T116" fmla="*/ 6 w 82"/>
                <a:gd name="T117" fmla="*/ 3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82" h="101">
                  <a:moveTo>
                    <a:pt x="6" y="39"/>
                  </a:moveTo>
                  <a:cubicBezTo>
                    <a:pt x="6" y="39"/>
                    <a:pt x="6" y="40"/>
                    <a:pt x="6" y="41"/>
                  </a:cubicBezTo>
                  <a:cubicBezTo>
                    <a:pt x="5" y="42"/>
                    <a:pt x="4" y="42"/>
                    <a:pt x="4" y="43"/>
                  </a:cubicBezTo>
                  <a:cubicBezTo>
                    <a:pt x="4" y="45"/>
                    <a:pt x="2" y="47"/>
                    <a:pt x="2" y="49"/>
                  </a:cubicBezTo>
                  <a:cubicBezTo>
                    <a:pt x="2" y="50"/>
                    <a:pt x="3" y="51"/>
                    <a:pt x="2" y="51"/>
                  </a:cubicBezTo>
                  <a:cubicBezTo>
                    <a:pt x="2" y="52"/>
                    <a:pt x="0" y="53"/>
                    <a:pt x="1" y="53"/>
                  </a:cubicBezTo>
                  <a:cubicBezTo>
                    <a:pt x="4" y="53"/>
                    <a:pt x="3" y="57"/>
                    <a:pt x="4" y="58"/>
                  </a:cubicBezTo>
                  <a:cubicBezTo>
                    <a:pt x="4" y="59"/>
                    <a:pt x="5" y="59"/>
                    <a:pt x="6" y="60"/>
                  </a:cubicBezTo>
                  <a:cubicBezTo>
                    <a:pt x="6" y="61"/>
                    <a:pt x="6" y="62"/>
                    <a:pt x="6" y="63"/>
                  </a:cubicBezTo>
                  <a:cubicBezTo>
                    <a:pt x="7" y="65"/>
                    <a:pt x="9" y="66"/>
                    <a:pt x="9" y="68"/>
                  </a:cubicBezTo>
                  <a:cubicBezTo>
                    <a:pt x="9" y="69"/>
                    <a:pt x="8" y="74"/>
                    <a:pt x="9" y="74"/>
                  </a:cubicBezTo>
                  <a:cubicBezTo>
                    <a:pt x="12" y="74"/>
                    <a:pt x="13" y="75"/>
                    <a:pt x="15" y="76"/>
                  </a:cubicBezTo>
                  <a:cubicBezTo>
                    <a:pt x="17" y="77"/>
                    <a:pt x="16" y="80"/>
                    <a:pt x="18" y="81"/>
                  </a:cubicBezTo>
                  <a:cubicBezTo>
                    <a:pt x="19" y="82"/>
                    <a:pt x="22" y="82"/>
                    <a:pt x="22" y="84"/>
                  </a:cubicBezTo>
                  <a:cubicBezTo>
                    <a:pt x="22" y="86"/>
                    <a:pt x="25" y="87"/>
                    <a:pt x="26" y="88"/>
                  </a:cubicBezTo>
                  <a:cubicBezTo>
                    <a:pt x="26" y="89"/>
                    <a:pt x="26" y="90"/>
                    <a:pt x="26" y="91"/>
                  </a:cubicBezTo>
                  <a:cubicBezTo>
                    <a:pt x="27" y="91"/>
                    <a:pt x="28" y="92"/>
                    <a:pt x="28" y="92"/>
                  </a:cubicBezTo>
                  <a:cubicBezTo>
                    <a:pt x="29" y="93"/>
                    <a:pt x="30" y="95"/>
                    <a:pt x="32" y="96"/>
                  </a:cubicBezTo>
                  <a:cubicBezTo>
                    <a:pt x="33" y="97"/>
                    <a:pt x="33" y="93"/>
                    <a:pt x="35" y="95"/>
                  </a:cubicBezTo>
                  <a:cubicBezTo>
                    <a:pt x="37" y="96"/>
                    <a:pt x="37" y="94"/>
                    <a:pt x="39" y="94"/>
                  </a:cubicBezTo>
                  <a:cubicBezTo>
                    <a:pt x="41" y="95"/>
                    <a:pt x="42" y="98"/>
                    <a:pt x="44" y="100"/>
                  </a:cubicBezTo>
                  <a:cubicBezTo>
                    <a:pt x="46" y="95"/>
                    <a:pt x="49" y="101"/>
                    <a:pt x="51" y="100"/>
                  </a:cubicBezTo>
                  <a:cubicBezTo>
                    <a:pt x="52" y="99"/>
                    <a:pt x="53" y="98"/>
                    <a:pt x="55" y="98"/>
                  </a:cubicBezTo>
                  <a:cubicBezTo>
                    <a:pt x="56" y="98"/>
                    <a:pt x="58" y="98"/>
                    <a:pt x="59" y="97"/>
                  </a:cubicBezTo>
                  <a:cubicBezTo>
                    <a:pt x="61" y="93"/>
                    <a:pt x="65" y="91"/>
                    <a:pt x="69" y="94"/>
                  </a:cubicBezTo>
                  <a:cubicBezTo>
                    <a:pt x="69" y="93"/>
                    <a:pt x="69" y="92"/>
                    <a:pt x="69" y="91"/>
                  </a:cubicBezTo>
                  <a:cubicBezTo>
                    <a:pt x="69" y="90"/>
                    <a:pt x="66" y="90"/>
                    <a:pt x="66" y="90"/>
                  </a:cubicBezTo>
                  <a:cubicBezTo>
                    <a:pt x="64" y="88"/>
                    <a:pt x="63" y="85"/>
                    <a:pt x="61" y="83"/>
                  </a:cubicBezTo>
                  <a:cubicBezTo>
                    <a:pt x="60" y="82"/>
                    <a:pt x="60" y="81"/>
                    <a:pt x="59" y="80"/>
                  </a:cubicBezTo>
                  <a:cubicBezTo>
                    <a:pt x="58" y="79"/>
                    <a:pt x="57" y="79"/>
                    <a:pt x="56" y="78"/>
                  </a:cubicBezTo>
                  <a:cubicBezTo>
                    <a:pt x="53" y="75"/>
                    <a:pt x="59" y="75"/>
                    <a:pt x="59" y="75"/>
                  </a:cubicBezTo>
                  <a:cubicBezTo>
                    <a:pt x="61" y="74"/>
                    <a:pt x="60" y="69"/>
                    <a:pt x="61" y="67"/>
                  </a:cubicBezTo>
                  <a:cubicBezTo>
                    <a:pt x="61" y="66"/>
                    <a:pt x="61" y="64"/>
                    <a:pt x="62" y="64"/>
                  </a:cubicBezTo>
                  <a:cubicBezTo>
                    <a:pt x="63" y="63"/>
                    <a:pt x="65" y="63"/>
                    <a:pt x="65" y="62"/>
                  </a:cubicBezTo>
                  <a:cubicBezTo>
                    <a:pt x="65" y="61"/>
                    <a:pt x="65" y="60"/>
                    <a:pt x="65" y="58"/>
                  </a:cubicBezTo>
                  <a:cubicBezTo>
                    <a:pt x="65" y="57"/>
                    <a:pt x="66" y="56"/>
                    <a:pt x="67" y="55"/>
                  </a:cubicBezTo>
                  <a:cubicBezTo>
                    <a:pt x="68" y="53"/>
                    <a:pt x="70" y="54"/>
                    <a:pt x="71" y="52"/>
                  </a:cubicBezTo>
                  <a:cubicBezTo>
                    <a:pt x="71" y="50"/>
                    <a:pt x="72" y="48"/>
                    <a:pt x="72" y="45"/>
                  </a:cubicBezTo>
                  <a:cubicBezTo>
                    <a:pt x="72" y="44"/>
                    <a:pt x="72" y="43"/>
                    <a:pt x="72" y="42"/>
                  </a:cubicBezTo>
                  <a:cubicBezTo>
                    <a:pt x="72" y="40"/>
                    <a:pt x="74" y="38"/>
                    <a:pt x="74" y="37"/>
                  </a:cubicBezTo>
                  <a:cubicBezTo>
                    <a:pt x="74" y="33"/>
                    <a:pt x="75" y="30"/>
                    <a:pt x="79" y="29"/>
                  </a:cubicBezTo>
                  <a:cubicBezTo>
                    <a:pt x="80" y="29"/>
                    <a:pt x="81" y="29"/>
                    <a:pt x="82" y="27"/>
                  </a:cubicBezTo>
                  <a:cubicBezTo>
                    <a:pt x="82" y="26"/>
                    <a:pt x="80" y="24"/>
                    <a:pt x="79" y="23"/>
                  </a:cubicBezTo>
                  <a:cubicBezTo>
                    <a:pt x="77" y="21"/>
                    <a:pt x="76" y="19"/>
                    <a:pt x="76" y="17"/>
                  </a:cubicBezTo>
                  <a:cubicBezTo>
                    <a:pt x="76" y="16"/>
                    <a:pt x="75" y="11"/>
                    <a:pt x="76" y="11"/>
                  </a:cubicBezTo>
                  <a:cubicBezTo>
                    <a:pt x="77" y="10"/>
                    <a:pt x="76" y="10"/>
                    <a:pt x="75" y="9"/>
                  </a:cubicBezTo>
                  <a:cubicBezTo>
                    <a:pt x="74" y="8"/>
                    <a:pt x="74" y="7"/>
                    <a:pt x="74" y="5"/>
                  </a:cubicBezTo>
                  <a:cubicBezTo>
                    <a:pt x="72" y="3"/>
                    <a:pt x="69" y="2"/>
                    <a:pt x="68" y="0"/>
                  </a:cubicBezTo>
                  <a:cubicBezTo>
                    <a:pt x="67" y="0"/>
                    <a:pt x="65" y="1"/>
                    <a:pt x="64" y="2"/>
                  </a:cubicBezTo>
                  <a:cubicBezTo>
                    <a:pt x="63" y="5"/>
                    <a:pt x="61" y="3"/>
                    <a:pt x="60" y="5"/>
                  </a:cubicBezTo>
                  <a:cubicBezTo>
                    <a:pt x="59" y="9"/>
                    <a:pt x="58" y="5"/>
                    <a:pt x="56" y="5"/>
                  </a:cubicBezTo>
                  <a:cubicBezTo>
                    <a:pt x="52" y="5"/>
                    <a:pt x="49" y="5"/>
                    <a:pt x="46" y="5"/>
                  </a:cubicBezTo>
                  <a:cubicBezTo>
                    <a:pt x="37" y="5"/>
                    <a:pt x="27" y="5"/>
                    <a:pt x="17" y="5"/>
                  </a:cubicBezTo>
                  <a:cubicBezTo>
                    <a:pt x="15" y="5"/>
                    <a:pt x="16" y="12"/>
                    <a:pt x="16" y="14"/>
                  </a:cubicBezTo>
                  <a:cubicBezTo>
                    <a:pt x="16" y="16"/>
                    <a:pt x="15" y="16"/>
                    <a:pt x="13" y="16"/>
                  </a:cubicBezTo>
                  <a:cubicBezTo>
                    <a:pt x="10" y="16"/>
                    <a:pt x="11" y="16"/>
                    <a:pt x="11" y="18"/>
                  </a:cubicBezTo>
                  <a:cubicBezTo>
                    <a:pt x="11" y="23"/>
                    <a:pt x="11" y="27"/>
                    <a:pt x="11" y="32"/>
                  </a:cubicBezTo>
                  <a:cubicBezTo>
                    <a:pt x="11" y="34"/>
                    <a:pt x="11" y="36"/>
                    <a:pt x="11" y="37"/>
                  </a:cubicBezTo>
                  <a:cubicBezTo>
                    <a:pt x="11" y="39"/>
                    <a:pt x="7" y="38"/>
                    <a:pt x="6" y="3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74" name="Freeform 745">
              <a:extLst>
                <a:ext uri="{FF2B5EF4-FFF2-40B4-BE49-F238E27FC236}">
                  <a16:creationId xmlns:a16="http://schemas.microsoft.com/office/drawing/2014/main" id="{F739F4D8-CE9F-8A60-FCE0-1C5248A34A01}"/>
                </a:ext>
              </a:extLst>
            </p:cNvPr>
            <p:cNvSpPr>
              <a:spLocks/>
            </p:cNvSpPr>
            <p:nvPr/>
          </p:nvSpPr>
          <p:spPr bwMode="auto">
            <a:xfrm>
              <a:off x="6758549" y="3811664"/>
              <a:ext cx="168096" cy="160852"/>
            </a:xfrm>
            <a:custGeom>
              <a:avLst/>
              <a:gdLst>
                <a:gd name="T0" fmla="*/ 3 w 32"/>
                <a:gd name="T1" fmla="*/ 19 h 29"/>
                <a:gd name="T2" fmla="*/ 7 w 32"/>
                <a:gd name="T3" fmla="*/ 20 h 29"/>
                <a:gd name="T4" fmla="*/ 7 w 32"/>
                <a:gd name="T5" fmla="*/ 17 h 29"/>
                <a:gd name="T6" fmla="*/ 10 w 32"/>
                <a:gd name="T7" fmla="*/ 19 h 29"/>
                <a:gd name="T8" fmla="*/ 12 w 32"/>
                <a:gd name="T9" fmla="*/ 18 h 29"/>
                <a:gd name="T10" fmla="*/ 14 w 32"/>
                <a:gd name="T11" fmla="*/ 18 h 29"/>
                <a:gd name="T12" fmla="*/ 29 w 32"/>
                <a:gd name="T13" fmla="*/ 29 h 29"/>
                <a:gd name="T14" fmla="*/ 32 w 32"/>
                <a:gd name="T15" fmla="*/ 27 h 29"/>
                <a:gd name="T16" fmla="*/ 24 w 32"/>
                <a:gd name="T17" fmla="*/ 19 h 29"/>
                <a:gd name="T18" fmla="*/ 19 w 32"/>
                <a:gd name="T19" fmla="*/ 16 h 29"/>
                <a:gd name="T20" fmla="*/ 17 w 32"/>
                <a:gd name="T21" fmla="*/ 14 h 29"/>
                <a:gd name="T22" fmla="*/ 17 w 32"/>
                <a:gd name="T23" fmla="*/ 16 h 29"/>
                <a:gd name="T24" fmla="*/ 16 w 32"/>
                <a:gd name="T25" fmla="*/ 14 h 29"/>
                <a:gd name="T26" fmla="*/ 14 w 32"/>
                <a:gd name="T27" fmla="*/ 9 h 29"/>
                <a:gd name="T28" fmla="*/ 10 w 32"/>
                <a:gd name="T29" fmla="*/ 0 h 29"/>
                <a:gd name="T30" fmla="*/ 2 w 32"/>
                <a:gd name="T31" fmla="*/ 7 h 29"/>
                <a:gd name="T32" fmla="*/ 1 w 32"/>
                <a:gd name="T33" fmla="*/ 13 h 29"/>
                <a:gd name="T34" fmla="*/ 0 w 32"/>
                <a:gd name="T35" fmla="*/ 20 h 29"/>
                <a:gd name="T36" fmla="*/ 3 w 32"/>
                <a:gd name="T37" fmla="*/ 1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2" h="29">
                  <a:moveTo>
                    <a:pt x="3" y="19"/>
                  </a:moveTo>
                  <a:cubicBezTo>
                    <a:pt x="4" y="19"/>
                    <a:pt x="6" y="21"/>
                    <a:pt x="7" y="20"/>
                  </a:cubicBezTo>
                  <a:cubicBezTo>
                    <a:pt x="7" y="19"/>
                    <a:pt x="6" y="17"/>
                    <a:pt x="7" y="17"/>
                  </a:cubicBezTo>
                  <a:cubicBezTo>
                    <a:pt x="9" y="17"/>
                    <a:pt x="9" y="19"/>
                    <a:pt x="10" y="19"/>
                  </a:cubicBezTo>
                  <a:cubicBezTo>
                    <a:pt x="11" y="19"/>
                    <a:pt x="12" y="18"/>
                    <a:pt x="12" y="18"/>
                  </a:cubicBezTo>
                  <a:cubicBezTo>
                    <a:pt x="13" y="17"/>
                    <a:pt x="14" y="18"/>
                    <a:pt x="14" y="18"/>
                  </a:cubicBezTo>
                  <a:cubicBezTo>
                    <a:pt x="22" y="18"/>
                    <a:pt x="25" y="24"/>
                    <a:pt x="29" y="29"/>
                  </a:cubicBezTo>
                  <a:cubicBezTo>
                    <a:pt x="30" y="29"/>
                    <a:pt x="31" y="28"/>
                    <a:pt x="32" y="27"/>
                  </a:cubicBezTo>
                  <a:cubicBezTo>
                    <a:pt x="29" y="25"/>
                    <a:pt x="26" y="22"/>
                    <a:pt x="24" y="19"/>
                  </a:cubicBezTo>
                  <a:cubicBezTo>
                    <a:pt x="23" y="17"/>
                    <a:pt x="21" y="17"/>
                    <a:pt x="19" y="16"/>
                  </a:cubicBezTo>
                  <a:cubicBezTo>
                    <a:pt x="18" y="16"/>
                    <a:pt x="18" y="14"/>
                    <a:pt x="17" y="14"/>
                  </a:cubicBezTo>
                  <a:cubicBezTo>
                    <a:pt x="16" y="14"/>
                    <a:pt x="17" y="15"/>
                    <a:pt x="17" y="16"/>
                  </a:cubicBezTo>
                  <a:cubicBezTo>
                    <a:pt x="17" y="16"/>
                    <a:pt x="16" y="14"/>
                    <a:pt x="16" y="14"/>
                  </a:cubicBezTo>
                  <a:cubicBezTo>
                    <a:pt x="15" y="12"/>
                    <a:pt x="14" y="11"/>
                    <a:pt x="14" y="9"/>
                  </a:cubicBezTo>
                  <a:cubicBezTo>
                    <a:pt x="13" y="6"/>
                    <a:pt x="13" y="3"/>
                    <a:pt x="10" y="0"/>
                  </a:cubicBezTo>
                  <a:cubicBezTo>
                    <a:pt x="9" y="4"/>
                    <a:pt x="4" y="4"/>
                    <a:pt x="2" y="7"/>
                  </a:cubicBezTo>
                  <a:cubicBezTo>
                    <a:pt x="1" y="9"/>
                    <a:pt x="2" y="11"/>
                    <a:pt x="1" y="13"/>
                  </a:cubicBezTo>
                  <a:cubicBezTo>
                    <a:pt x="0" y="15"/>
                    <a:pt x="0" y="17"/>
                    <a:pt x="0" y="20"/>
                  </a:cubicBezTo>
                  <a:cubicBezTo>
                    <a:pt x="1" y="19"/>
                    <a:pt x="2" y="19"/>
                    <a:pt x="3" y="1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75" name="Freeform 746">
              <a:extLst>
                <a:ext uri="{FF2B5EF4-FFF2-40B4-BE49-F238E27FC236}">
                  <a16:creationId xmlns:a16="http://schemas.microsoft.com/office/drawing/2014/main" id="{B3B894BF-449E-91B6-CBB8-4F045930C3B9}"/>
                </a:ext>
              </a:extLst>
            </p:cNvPr>
            <p:cNvSpPr>
              <a:spLocks/>
            </p:cNvSpPr>
            <p:nvPr/>
          </p:nvSpPr>
          <p:spPr bwMode="auto">
            <a:xfrm>
              <a:off x="6670923" y="3889252"/>
              <a:ext cx="388051" cy="340625"/>
            </a:xfrm>
            <a:custGeom>
              <a:avLst/>
              <a:gdLst>
                <a:gd name="T0" fmla="*/ 70 w 74"/>
                <a:gd name="T1" fmla="*/ 38 h 61"/>
                <a:gd name="T2" fmla="*/ 57 w 74"/>
                <a:gd name="T3" fmla="*/ 33 h 61"/>
                <a:gd name="T4" fmla="*/ 51 w 74"/>
                <a:gd name="T5" fmla="*/ 29 h 61"/>
                <a:gd name="T6" fmla="*/ 48 w 74"/>
                <a:gd name="T7" fmla="*/ 24 h 61"/>
                <a:gd name="T8" fmla="*/ 51 w 74"/>
                <a:gd name="T9" fmla="*/ 20 h 61"/>
                <a:gd name="T10" fmla="*/ 45 w 74"/>
                <a:gd name="T11" fmla="*/ 23 h 61"/>
                <a:gd name="T12" fmla="*/ 44 w 74"/>
                <a:gd name="T13" fmla="*/ 18 h 61"/>
                <a:gd name="T14" fmla="*/ 44 w 74"/>
                <a:gd name="T15" fmla="*/ 12 h 61"/>
                <a:gd name="T16" fmla="*/ 37 w 74"/>
                <a:gd name="T17" fmla="*/ 5 h 61"/>
                <a:gd name="T18" fmla="*/ 28 w 74"/>
                <a:gd name="T19" fmla="*/ 4 h 61"/>
                <a:gd name="T20" fmla="*/ 24 w 74"/>
                <a:gd name="T21" fmla="*/ 5 h 61"/>
                <a:gd name="T22" fmla="*/ 21 w 74"/>
                <a:gd name="T23" fmla="*/ 5 h 61"/>
                <a:gd name="T24" fmla="*/ 18 w 74"/>
                <a:gd name="T25" fmla="*/ 5 h 61"/>
                <a:gd name="T26" fmla="*/ 17 w 74"/>
                <a:gd name="T27" fmla="*/ 8 h 61"/>
                <a:gd name="T28" fmla="*/ 15 w 74"/>
                <a:gd name="T29" fmla="*/ 13 h 61"/>
                <a:gd name="T30" fmla="*/ 12 w 74"/>
                <a:gd name="T31" fmla="*/ 14 h 61"/>
                <a:gd name="T32" fmla="*/ 10 w 74"/>
                <a:gd name="T33" fmla="*/ 18 h 61"/>
                <a:gd name="T34" fmla="*/ 10 w 74"/>
                <a:gd name="T35" fmla="*/ 23 h 61"/>
                <a:gd name="T36" fmla="*/ 5 w 74"/>
                <a:gd name="T37" fmla="*/ 34 h 61"/>
                <a:gd name="T38" fmla="*/ 1 w 74"/>
                <a:gd name="T39" fmla="*/ 35 h 61"/>
                <a:gd name="T40" fmla="*/ 2 w 74"/>
                <a:gd name="T41" fmla="*/ 38 h 61"/>
                <a:gd name="T42" fmla="*/ 9 w 74"/>
                <a:gd name="T43" fmla="*/ 47 h 61"/>
                <a:gd name="T44" fmla="*/ 13 w 74"/>
                <a:gd name="T45" fmla="*/ 50 h 61"/>
                <a:gd name="T46" fmla="*/ 14 w 74"/>
                <a:gd name="T47" fmla="*/ 54 h 61"/>
                <a:gd name="T48" fmla="*/ 20 w 74"/>
                <a:gd name="T49" fmla="*/ 55 h 61"/>
                <a:gd name="T50" fmla="*/ 25 w 74"/>
                <a:gd name="T51" fmla="*/ 59 h 61"/>
                <a:gd name="T52" fmla="*/ 33 w 74"/>
                <a:gd name="T53" fmla="*/ 60 h 61"/>
                <a:gd name="T54" fmla="*/ 39 w 74"/>
                <a:gd name="T55" fmla="*/ 57 h 61"/>
                <a:gd name="T56" fmla="*/ 47 w 74"/>
                <a:gd name="T57" fmla="*/ 56 h 61"/>
                <a:gd name="T58" fmla="*/ 54 w 74"/>
                <a:gd name="T59" fmla="*/ 53 h 61"/>
                <a:gd name="T60" fmla="*/ 59 w 74"/>
                <a:gd name="T61" fmla="*/ 53 h 61"/>
                <a:gd name="T62" fmla="*/ 74 w 74"/>
                <a:gd name="T63" fmla="*/ 38 h 61"/>
                <a:gd name="T64" fmla="*/ 70 w 74"/>
                <a:gd name="T65" fmla="*/ 38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4" h="61">
                  <a:moveTo>
                    <a:pt x="70" y="38"/>
                  </a:moveTo>
                  <a:cubicBezTo>
                    <a:pt x="65" y="36"/>
                    <a:pt x="61" y="35"/>
                    <a:pt x="57" y="33"/>
                  </a:cubicBezTo>
                  <a:cubicBezTo>
                    <a:pt x="54" y="32"/>
                    <a:pt x="53" y="31"/>
                    <a:pt x="51" y="29"/>
                  </a:cubicBezTo>
                  <a:cubicBezTo>
                    <a:pt x="50" y="28"/>
                    <a:pt x="49" y="26"/>
                    <a:pt x="48" y="24"/>
                  </a:cubicBezTo>
                  <a:cubicBezTo>
                    <a:pt x="48" y="23"/>
                    <a:pt x="51" y="21"/>
                    <a:pt x="51" y="20"/>
                  </a:cubicBezTo>
                  <a:cubicBezTo>
                    <a:pt x="49" y="21"/>
                    <a:pt x="47" y="22"/>
                    <a:pt x="45" y="23"/>
                  </a:cubicBezTo>
                  <a:cubicBezTo>
                    <a:pt x="43" y="23"/>
                    <a:pt x="43" y="19"/>
                    <a:pt x="44" y="18"/>
                  </a:cubicBezTo>
                  <a:cubicBezTo>
                    <a:pt x="47" y="15"/>
                    <a:pt x="46" y="15"/>
                    <a:pt x="44" y="12"/>
                  </a:cubicBezTo>
                  <a:cubicBezTo>
                    <a:pt x="42" y="10"/>
                    <a:pt x="40" y="6"/>
                    <a:pt x="37" y="5"/>
                  </a:cubicBezTo>
                  <a:cubicBezTo>
                    <a:pt x="35" y="5"/>
                    <a:pt x="30" y="3"/>
                    <a:pt x="28" y="4"/>
                  </a:cubicBezTo>
                  <a:cubicBezTo>
                    <a:pt x="26" y="7"/>
                    <a:pt x="24" y="0"/>
                    <a:pt x="24" y="5"/>
                  </a:cubicBezTo>
                  <a:cubicBezTo>
                    <a:pt x="24" y="7"/>
                    <a:pt x="22" y="6"/>
                    <a:pt x="21" y="5"/>
                  </a:cubicBezTo>
                  <a:cubicBezTo>
                    <a:pt x="20" y="5"/>
                    <a:pt x="19" y="5"/>
                    <a:pt x="18" y="5"/>
                  </a:cubicBezTo>
                  <a:cubicBezTo>
                    <a:pt x="16" y="6"/>
                    <a:pt x="17" y="6"/>
                    <a:pt x="17" y="8"/>
                  </a:cubicBezTo>
                  <a:cubicBezTo>
                    <a:pt x="17" y="9"/>
                    <a:pt x="16" y="12"/>
                    <a:pt x="15" y="13"/>
                  </a:cubicBezTo>
                  <a:cubicBezTo>
                    <a:pt x="15" y="14"/>
                    <a:pt x="12" y="13"/>
                    <a:pt x="12" y="14"/>
                  </a:cubicBezTo>
                  <a:cubicBezTo>
                    <a:pt x="12" y="16"/>
                    <a:pt x="10" y="17"/>
                    <a:pt x="10" y="18"/>
                  </a:cubicBezTo>
                  <a:cubicBezTo>
                    <a:pt x="10" y="19"/>
                    <a:pt x="11" y="22"/>
                    <a:pt x="10" y="23"/>
                  </a:cubicBezTo>
                  <a:cubicBezTo>
                    <a:pt x="4" y="24"/>
                    <a:pt x="6" y="30"/>
                    <a:pt x="5" y="34"/>
                  </a:cubicBezTo>
                  <a:cubicBezTo>
                    <a:pt x="4" y="35"/>
                    <a:pt x="3" y="35"/>
                    <a:pt x="1" y="35"/>
                  </a:cubicBezTo>
                  <a:cubicBezTo>
                    <a:pt x="0" y="36"/>
                    <a:pt x="0" y="38"/>
                    <a:pt x="2" y="38"/>
                  </a:cubicBezTo>
                  <a:cubicBezTo>
                    <a:pt x="5" y="39"/>
                    <a:pt x="8" y="45"/>
                    <a:pt x="9" y="47"/>
                  </a:cubicBezTo>
                  <a:cubicBezTo>
                    <a:pt x="10" y="49"/>
                    <a:pt x="11" y="49"/>
                    <a:pt x="13" y="50"/>
                  </a:cubicBezTo>
                  <a:cubicBezTo>
                    <a:pt x="14" y="51"/>
                    <a:pt x="13" y="53"/>
                    <a:pt x="14" y="54"/>
                  </a:cubicBezTo>
                  <a:cubicBezTo>
                    <a:pt x="16" y="56"/>
                    <a:pt x="18" y="54"/>
                    <a:pt x="20" y="55"/>
                  </a:cubicBezTo>
                  <a:cubicBezTo>
                    <a:pt x="21" y="56"/>
                    <a:pt x="23" y="58"/>
                    <a:pt x="25" y="59"/>
                  </a:cubicBezTo>
                  <a:cubicBezTo>
                    <a:pt x="27" y="59"/>
                    <a:pt x="31" y="61"/>
                    <a:pt x="33" y="60"/>
                  </a:cubicBezTo>
                  <a:cubicBezTo>
                    <a:pt x="35" y="58"/>
                    <a:pt x="36" y="56"/>
                    <a:pt x="39" y="57"/>
                  </a:cubicBezTo>
                  <a:cubicBezTo>
                    <a:pt x="42" y="58"/>
                    <a:pt x="45" y="57"/>
                    <a:pt x="47" y="56"/>
                  </a:cubicBezTo>
                  <a:cubicBezTo>
                    <a:pt x="49" y="54"/>
                    <a:pt x="51" y="53"/>
                    <a:pt x="54" y="53"/>
                  </a:cubicBezTo>
                  <a:cubicBezTo>
                    <a:pt x="55" y="53"/>
                    <a:pt x="59" y="53"/>
                    <a:pt x="59" y="53"/>
                  </a:cubicBezTo>
                  <a:cubicBezTo>
                    <a:pt x="64" y="48"/>
                    <a:pt x="69" y="43"/>
                    <a:pt x="74" y="38"/>
                  </a:cubicBezTo>
                  <a:cubicBezTo>
                    <a:pt x="73" y="38"/>
                    <a:pt x="71" y="38"/>
                    <a:pt x="70" y="3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76" name="Freeform 747">
              <a:extLst>
                <a:ext uri="{FF2B5EF4-FFF2-40B4-BE49-F238E27FC236}">
                  <a16:creationId xmlns:a16="http://schemas.microsoft.com/office/drawing/2014/main" id="{6D93F1FC-4D96-68C4-6245-8A5761A0BC28}"/>
                </a:ext>
              </a:extLst>
            </p:cNvPr>
            <p:cNvSpPr>
              <a:spLocks/>
            </p:cNvSpPr>
            <p:nvPr/>
          </p:nvSpPr>
          <p:spPr bwMode="auto">
            <a:xfrm>
              <a:off x="6690594" y="3989547"/>
              <a:ext cx="456005" cy="461736"/>
            </a:xfrm>
            <a:custGeom>
              <a:avLst/>
              <a:gdLst>
                <a:gd name="T0" fmla="*/ 86 w 87"/>
                <a:gd name="T1" fmla="*/ 1 h 83"/>
                <a:gd name="T2" fmla="*/ 83 w 87"/>
                <a:gd name="T3" fmla="*/ 0 h 83"/>
                <a:gd name="T4" fmla="*/ 79 w 87"/>
                <a:gd name="T5" fmla="*/ 3 h 83"/>
                <a:gd name="T6" fmla="*/ 71 w 87"/>
                <a:gd name="T7" fmla="*/ 3 h 83"/>
                <a:gd name="T8" fmla="*/ 69 w 87"/>
                <a:gd name="T9" fmla="*/ 4 h 83"/>
                <a:gd name="T10" fmla="*/ 68 w 87"/>
                <a:gd name="T11" fmla="*/ 3 h 83"/>
                <a:gd name="T12" fmla="*/ 63 w 87"/>
                <a:gd name="T13" fmla="*/ 6 h 83"/>
                <a:gd name="T14" fmla="*/ 58 w 87"/>
                <a:gd name="T15" fmla="*/ 5 h 83"/>
                <a:gd name="T16" fmla="*/ 53 w 87"/>
                <a:gd name="T17" fmla="*/ 7 h 83"/>
                <a:gd name="T18" fmla="*/ 47 w 87"/>
                <a:gd name="T19" fmla="*/ 2 h 83"/>
                <a:gd name="T20" fmla="*/ 44 w 87"/>
                <a:gd name="T21" fmla="*/ 6 h 83"/>
                <a:gd name="T22" fmla="*/ 48 w 87"/>
                <a:gd name="T23" fmla="*/ 12 h 83"/>
                <a:gd name="T24" fmla="*/ 56 w 87"/>
                <a:gd name="T25" fmla="*/ 16 h 83"/>
                <a:gd name="T26" fmla="*/ 70 w 87"/>
                <a:gd name="T27" fmla="*/ 20 h 83"/>
                <a:gd name="T28" fmla="*/ 63 w 87"/>
                <a:gd name="T29" fmla="*/ 27 h 83"/>
                <a:gd name="T30" fmla="*/ 58 w 87"/>
                <a:gd name="T31" fmla="*/ 33 h 83"/>
                <a:gd name="T32" fmla="*/ 55 w 87"/>
                <a:gd name="T33" fmla="*/ 35 h 83"/>
                <a:gd name="T34" fmla="*/ 48 w 87"/>
                <a:gd name="T35" fmla="*/ 35 h 83"/>
                <a:gd name="T36" fmla="*/ 42 w 87"/>
                <a:gd name="T37" fmla="*/ 38 h 83"/>
                <a:gd name="T38" fmla="*/ 36 w 87"/>
                <a:gd name="T39" fmla="*/ 39 h 83"/>
                <a:gd name="T40" fmla="*/ 32 w 87"/>
                <a:gd name="T41" fmla="*/ 39 h 83"/>
                <a:gd name="T42" fmla="*/ 26 w 87"/>
                <a:gd name="T43" fmla="*/ 42 h 83"/>
                <a:gd name="T44" fmla="*/ 21 w 87"/>
                <a:gd name="T45" fmla="*/ 41 h 83"/>
                <a:gd name="T46" fmla="*/ 16 w 87"/>
                <a:gd name="T47" fmla="*/ 37 h 83"/>
                <a:gd name="T48" fmla="*/ 11 w 87"/>
                <a:gd name="T49" fmla="*/ 37 h 83"/>
                <a:gd name="T50" fmla="*/ 7 w 87"/>
                <a:gd name="T51" fmla="*/ 34 h 83"/>
                <a:gd name="T52" fmla="*/ 0 w 87"/>
                <a:gd name="T53" fmla="*/ 39 h 83"/>
                <a:gd name="T54" fmla="*/ 3 w 87"/>
                <a:gd name="T55" fmla="*/ 41 h 83"/>
                <a:gd name="T56" fmla="*/ 4 w 87"/>
                <a:gd name="T57" fmla="*/ 45 h 83"/>
                <a:gd name="T58" fmla="*/ 3 w 87"/>
                <a:gd name="T59" fmla="*/ 54 h 83"/>
                <a:gd name="T60" fmla="*/ 0 w 87"/>
                <a:gd name="T61" fmla="*/ 58 h 83"/>
                <a:gd name="T62" fmla="*/ 3 w 87"/>
                <a:gd name="T63" fmla="*/ 60 h 83"/>
                <a:gd name="T64" fmla="*/ 1 w 87"/>
                <a:gd name="T65" fmla="*/ 65 h 83"/>
                <a:gd name="T66" fmla="*/ 4 w 87"/>
                <a:gd name="T67" fmla="*/ 66 h 83"/>
                <a:gd name="T68" fmla="*/ 15 w 87"/>
                <a:gd name="T69" fmla="*/ 73 h 83"/>
                <a:gd name="T70" fmla="*/ 19 w 87"/>
                <a:gd name="T71" fmla="*/ 77 h 83"/>
                <a:gd name="T72" fmla="*/ 26 w 87"/>
                <a:gd name="T73" fmla="*/ 83 h 83"/>
                <a:gd name="T74" fmla="*/ 30 w 87"/>
                <a:gd name="T75" fmla="*/ 76 h 83"/>
                <a:gd name="T76" fmla="*/ 33 w 87"/>
                <a:gd name="T77" fmla="*/ 72 h 83"/>
                <a:gd name="T78" fmla="*/ 35 w 87"/>
                <a:gd name="T79" fmla="*/ 69 h 83"/>
                <a:gd name="T80" fmla="*/ 40 w 87"/>
                <a:gd name="T81" fmla="*/ 65 h 83"/>
                <a:gd name="T82" fmla="*/ 59 w 87"/>
                <a:gd name="T83" fmla="*/ 48 h 83"/>
                <a:gd name="T84" fmla="*/ 77 w 87"/>
                <a:gd name="T85" fmla="*/ 24 h 83"/>
                <a:gd name="T86" fmla="*/ 84 w 87"/>
                <a:gd name="T87" fmla="*/ 14 h 83"/>
                <a:gd name="T88" fmla="*/ 86 w 87"/>
                <a:gd name="T89" fmla="*/ 7 h 83"/>
                <a:gd name="T90" fmla="*/ 86 w 87"/>
                <a:gd name="T91" fmla="*/ 1 h 83"/>
                <a:gd name="T92" fmla="*/ 86 w 87"/>
                <a:gd name="T93" fmla="*/ 1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87" h="83">
                  <a:moveTo>
                    <a:pt x="86" y="1"/>
                  </a:moveTo>
                  <a:cubicBezTo>
                    <a:pt x="87" y="0"/>
                    <a:pt x="84" y="0"/>
                    <a:pt x="83" y="0"/>
                  </a:cubicBezTo>
                  <a:cubicBezTo>
                    <a:pt x="82" y="1"/>
                    <a:pt x="81" y="2"/>
                    <a:pt x="79" y="3"/>
                  </a:cubicBezTo>
                  <a:cubicBezTo>
                    <a:pt x="77" y="3"/>
                    <a:pt x="74" y="3"/>
                    <a:pt x="71" y="3"/>
                  </a:cubicBezTo>
                  <a:cubicBezTo>
                    <a:pt x="71" y="4"/>
                    <a:pt x="70" y="4"/>
                    <a:pt x="69" y="4"/>
                  </a:cubicBezTo>
                  <a:cubicBezTo>
                    <a:pt x="68" y="4"/>
                    <a:pt x="68" y="3"/>
                    <a:pt x="68" y="3"/>
                  </a:cubicBezTo>
                  <a:cubicBezTo>
                    <a:pt x="66" y="4"/>
                    <a:pt x="65" y="6"/>
                    <a:pt x="63" y="6"/>
                  </a:cubicBezTo>
                  <a:cubicBezTo>
                    <a:pt x="61" y="6"/>
                    <a:pt x="61" y="5"/>
                    <a:pt x="58" y="5"/>
                  </a:cubicBezTo>
                  <a:cubicBezTo>
                    <a:pt x="57" y="6"/>
                    <a:pt x="55" y="8"/>
                    <a:pt x="53" y="7"/>
                  </a:cubicBezTo>
                  <a:cubicBezTo>
                    <a:pt x="50" y="6"/>
                    <a:pt x="49" y="5"/>
                    <a:pt x="47" y="2"/>
                  </a:cubicBezTo>
                  <a:cubicBezTo>
                    <a:pt x="47" y="3"/>
                    <a:pt x="44" y="5"/>
                    <a:pt x="44" y="6"/>
                  </a:cubicBezTo>
                  <a:cubicBezTo>
                    <a:pt x="45" y="8"/>
                    <a:pt x="46" y="10"/>
                    <a:pt x="48" y="12"/>
                  </a:cubicBezTo>
                  <a:cubicBezTo>
                    <a:pt x="50" y="14"/>
                    <a:pt x="53" y="15"/>
                    <a:pt x="56" y="16"/>
                  </a:cubicBezTo>
                  <a:cubicBezTo>
                    <a:pt x="61" y="18"/>
                    <a:pt x="65" y="20"/>
                    <a:pt x="70" y="20"/>
                  </a:cubicBezTo>
                  <a:cubicBezTo>
                    <a:pt x="68" y="22"/>
                    <a:pt x="65" y="25"/>
                    <a:pt x="63" y="27"/>
                  </a:cubicBezTo>
                  <a:cubicBezTo>
                    <a:pt x="61" y="29"/>
                    <a:pt x="59" y="31"/>
                    <a:pt x="58" y="33"/>
                  </a:cubicBezTo>
                  <a:cubicBezTo>
                    <a:pt x="57" y="33"/>
                    <a:pt x="56" y="35"/>
                    <a:pt x="55" y="35"/>
                  </a:cubicBezTo>
                  <a:cubicBezTo>
                    <a:pt x="53" y="36"/>
                    <a:pt x="50" y="34"/>
                    <a:pt x="48" y="35"/>
                  </a:cubicBezTo>
                  <a:cubicBezTo>
                    <a:pt x="46" y="35"/>
                    <a:pt x="44" y="37"/>
                    <a:pt x="42" y="38"/>
                  </a:cubicBezTo>
                  <a:cubicBezTo>
                    <a:pt x="40" y="39"/>
                    <a:pt x="38" y="40"/>
                    <a:pt x="36" y="39"/>
                  </a:cubicBezTo>
                  <a:cubicBezTo>
                    <a:pt x="35" y="39"/>
                    <a:pt x="33" y="38"/>
                    <a:pt x="32" y="39"/>
                  </a:cubicBezTo>
                  <a:cubicBezTo>
                    <a:pt x="29" y="41"/>
                    <a:pt x="29" y="43"/>
                    <a:pt x="26" y="42"/>
                  </a:cubicBezTo>
                  <a:cubicBezTo>
                    <a:pt x="24" y="41"/>
                    <a:pt x="22" y="41"/>
                    <a:pt x="21" y="41"/>
                  </a:cubicBezTo>
                  <a:cubicBezTo>
                    <a:pt x="19" y="40"/>
                    <a:pt x="17" y="38"/>
                    <a:pt x="16" y="37"/>
                  </a:cubicBezTo>
                  <a:cubicBezTo>
                    <a:pt x="15" y="37"/>
                    <a:pt x="12" y="38"/>
                    <a:pt x="11" y="37"/>
                  </a:cubicBezTo>
                  <a:cubicBezTo>
                    <a:pt x="10" y="36"/>
                    <a:pt x="8" y="34"/>
                    <a:pt x="7" y="34"/>
                  </a:cubicBezTo>
                  <a:cubicBezTo>
                    <a:pt x="3" y="35"/>
                    <a:pt x="2" y="36"/>
                    <a:pt x="0" y="39"/>
                  </a:cubicBezTo>
                  <a:cubicBezTo>
                    <a:pt x="0" y="40"/>
                    <a:pt x="3" y="40"/>
                    <a:pt x="3" y="41"/>
                  </a:cubicBezTo>
                  <a:cubicBezTo>
                    <a:pt x="3" y="43"/>
                    <a:pt x="3" y="44"/>
                    <a:pt x="4" y="45"/>
                  </a:cubicBezTo>
                  <a:cubicBezTo>
                    <a:pt x="6" y="47"/>
                    <a:pt x="5" y="52"/>
                    <a:pt x="3" y="54"/>
                  </a:cubicBezTo>
                  <a:cubicBezTo>
                    <a:pt x="2" y="55"/>
                    <a:pt x="1" y="56"/>
                    <a:pt x="0" y="58"/>
                  </a:cubicBezTo>
                  <a:cubicBezTo>
                    <a:pt x="0" y="61"/>
                    <a:pt x="2" y="59"/>
                    <a:pt x="3" y="60"/>
                  </a:cubicBezTo>
                  <a:cubicBezTo>
                    <a:pt x="3" y="60"/>
                    <a:pt x="0" y="64"/>
                    <a:pt x="1" y="65"/>
                  </a:cubicBezTo>
                  <a:cubicBezTo>
                    <a:pt x="2" y="65"/>
                    <a:pt x="3" y="66"/>
                    <a:pt x="4" y="66"/>
                  </a:cubicBezTo>
                  <a:cubicBezTo>
                    <a:pt x="8" y="69"/>
                    <a:pt x="12" y="71"/>
                    <a:pt x="15" y="73"/>
                  </a:cubicBezTo>
                  <a:cubicBezTo>
                    <a:pt x="18" y="74"/>
                    <a:pt x="19" y="74"/>
                    <a:pt x="19" y="77"/>
                  </a:cubicBezTo>
                  <a:cubicBezTo>
                    <a:pt x="19" y="79"/>
                    <a:pt x="25" y="82"/>
                    <a:pt x="26" y="83"/>
                  </a:cubicBezTo>
                  <a:cubicBezTo>
                    <a:pt x="28" y="80"/>
                    <a:pt x="29" y="78"/>
                    <a:pt x="30" y="76"/>
                  </a:cubicBezTo>
                  <a:cubicBezTo>
                    <a:pt x="30" y="74"/>
                    <a:pt x="31" y="72"/>
                    <a:pt x="33" y="72"/>
                  </a:cubicBezTo>
                  <a:cubicBezTo>
                    <a:pt x="34" y="71"/>
                    <a:pt x="34" y="70"/>
                    <a:pt x="35" y="69"/>
                  </a:cubicBezTo>
                  <a:cubicBezTo>
                    <a:pt x="37" y="68"/>
                    <a:pt x="38" y="67"/>
                    <a:pt x="40" y="65"/>
                  </a:cubicBezTo>
                  <a:cubicBezTo>
                    <a:pt x="45" y="57"/>
                    <a:pt x="52" y="53"/>
                    <a:pt x="59" y="48"/>
                  </a:cubicBezTo>
                  <a:cubicBezTo>
                    <a:pt x="68" y="42"/>
                    <a:pt x="73" y="33"/>
                    <a:pt x="77" y="24"/>
                  </a:cubicBezTo>
                  <a:cubicBezTo>
                    <a:pt x="79" y="20"/>
                    <a:pt x="82" y="18"/>
                    <a:pt x="84" y="14"/>
                  </a:cubicBezTo>
                  <a:cubicBezTo>
                    <a:pt x="85" y="12"/>
                    <a:pt x="85" y="9"/>
                    <a:pt x="86" y="7"/>
                  </a:cubicBezTo>
                  <a:cubicBezTo>
                    <a:pt x="86" y="6"/>
                    <a:pt x="85" y="2"/>
                    <a:pt x="86" y="1"/>
                  </a:cubicBezTo>
                  <a:cubicBezTo>
                    <a:pt x="86" y="1"/>
                    <a:pt x="86" y="1"/>
                    <a:pt x="86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77" name="Freeform 748">
              <a:extLst>
                <a:ext uri="{FF2B5EF4-FFF2-40B4-BE49-F238E27FC236}">
                  <a16:creationId xmlns:a16="http://schemas.microsoft.com/office/drawing/2014/main" id="{B027AB28-C095-B1EE-0C33-574F623AE271}"/>
                </a:ext>
              </a:extLst>
            </p:cNvPr>
            <p:cNvSpPr>
              <a:spLocks/>
            </p:cNvSpPr>
            <p:nvPr/>
          </p:nvSpPr>
          <p:spPr bwMode="auto">
            <a:xfrm>
              <a:off x="6896245" y="3963053"/>
              <a:ext cx="46495" cy="60555"/>
            </a:xfrm>
            <a:custGeom>
              <a:avLst/>
              <a:gdLst>
                <a:gd name="T0" fmla="*/ 3 w 9"/>
                <a:gd name="T1" fmla="*/ 2 h 11"/>
                <a:gd name="T2" fmla="*/ 1 w 9"/>
                <a:gd name="T3" fmla="*/ 5 h 11"/>
                <a:gd name="T4" fmla="*/ 0 w 9"/>
                <a:gd name="T5" fmla="*/ 10 h 11"/>
                <a:gd name="T6" fmla="*/ 8 w 9"/>
                <a:gd name="T7" fmla="*/ 7 h 11"/>
                <a:gd name="T8" fmla="*/ 4 w 9"/>
                <a:gd name="T9" fmla="*/ 6 h 11"/>
                <a:gd name="T10" fmla="*/ 8 w 9"/>
                <a:gd name="T11" fmla="*/ 3 h 11"/>
                <a:gd name="T12" fmla="*/ 3 w 9"/>
                <a:gd name="T13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1">
                  <a:moveTo>
                    <a:pt x="3" y="2"/>
                  </a:moveTo>
                  <a:cubicBezTo>
                    <a:pt x="2" y="3"/>
                    <a:pt x="1" y="4"/>
                    <a:pt x="1" y="5"/>
                  </a:cubicBezTo>
                  <a:cubicBezTo>
                    <a:pt x="0" y="5"/>
                    <a:pt x="0" y="9"/>
                    <a:pt x="0" y="10"/>
                  </a:cubicBezTo>
                  <a:cubicBezTo>
                    <a:pt x="2" y="11"/>
                    <a:pt x="7" y="7"/>
                    <a:pt x="8" y="7"/>
                  </a:cubicBezTo>
                  <a:cubicBezTo>
                    <a:pt x="8" y="6"/>
                    <a:pt x="5" y="5"/>
                    <a:pt x="4" y="6"/>
                  </a:cubicBezTo>
                  <a:cubicBezTo>
                    <a:pt x="5" y="5"/>
                    <a:pt x="9" y="4"/>
                    <a:pt x="8" y="3"/>
                  </a:cubicBezTo>
                  <a:cubicBezTo>
                    <a:pt x="7" y="0"/>
                    <a:pt x="5" y="0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78" name="Freeform 749">
              <a:extLst>
                <a:ext uri="{FF2B5EF4-FFF2-40B4-BE49-F238E27FC236}">
                  <a16:creationId xmlns:a16="http://schemas.microsoft.com/office/drawing/2014/main" id="{D970FF57-1E41-2CF8-8647-69E785CD4913}"/>
                </a:ext>
              </a:extLst>
            </p:cNvPr>
            <p:cNvSpPr>
              <a:spLocks/>
            </p:cNvSpPr>
            <p:nvPr/>
          </p:nvSpPr>
          <p:spPr bwMode="auto">
            <a:xfrm>
              <a:off x="6581512" y="4207169"/>
              <a:ext cx="135906" cy="155174"/>
            </a:xfrm>
            <a:custGeom>
              <a:avLst/>
              <a:gdLst>
                <a:gd name="T0" fmla="*/ 22 w 26"/>
                <a:gd name="T1" fmla="*/ 18 h 28"/>
                <a:gd name="T2" fmla="*/ 25 w 26"/>
                <a:gd name="T3" fmla="*/ 14 h 28"/>
                <a:gd name="T4" fmla="*/ 26 w 26"/>
                <a:gd name="T5" fmla="*/ 8 h 28"/>
                <a:gd name="T6" fmla="*/ 24 w 26"/>
                <a:gd name="T7" fmla="*/ 3 h 28"/>
                <a:gd name="T8" fmla="*/ 21 w 26"/>
                <a:gd name="T9" fmla="*/ 0 h 28"/>
                <a:gd name="T10" fmla="*/ 16 w 26"/>
                <a:gd name="T11" fmla="*/ 1 h 28"/>
                <a:gd name="T12" fmla="*/ 12 w 26"/>
                <a:gd name="T13" fmla="*/ 3 h 28"/>
                <a:gd name="T14" fmla="*/ 6 w 26"/>
                <a:gd name="T15" fmla="*/ 2 h 28"/>
                <a:gd name="T16" fmla="*/ 7 w 26"/>
                <a:gd name="T17" fmla="*/ 8 h 28"/>
                <a:gd name="T18" fmla="*/ 6 w 26"/>
                <a:gd name="T19" fmla="*/ 12 h 28"/>
                <a:gd name="T20" fmla="*/ 2 w 26"/>
                <a:gd name="T21" fmla="*/ 16 h 28"/>
                <a:gd name="T22" fmla="*/ 0 w 26"/>
                <a:gd name="T23" fmla="*/ 22 h 28"/>
                <a:gd name="T24" fmla="*/ 0 w 26"/>
                <a:gd name="T25" fmla="*/ 27 h 28"/>
                <a:gd name="T26" fmla="*/ 4 w 26"/>
                <a:gd name="T27" fmla="*/ 26 h 28"/>
                <a:gd name="T28" fmla="*/ 11 w 26"/>
                <a:gd name="T29" fmla="*/ 25 h 28"/>
                <a:gd name="T30" fmla="*/ 14 w 26"/>
                <a:gd name="T31" fmla="*/ 20 h 28"/>
                <a:gd name="T32" fmla="*/ 21 w 26"/>
                <a:gd name="T33" fmla="*/ 20 h 28"/>
                <a:gd name="T34" fmla="*/ 22 w 26"/>
                <a:gd name="T35" fmla="*/ 18 h 28"/>
                <a:gd name="T36" fmla="*/ 22 w 26"/>
                <a:gd name="T37" fmla="*/ 1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2" y="18"/>
                  </a:moveTo>
                  <a:cubicBezTo>
                    <a:pt x="22" y="16"/>
                    <a:pt x="24" y="15"/>
                    <a:pt x="25" y="14"/>
                  </a:cubicBezTo>
                  <a:cubicBezTo>
                    <a:pt x="26" y="13"/>
                    <a:pt x="26" y="10"/>
                    <a:pt x="26" y="8"/>
                  </a:cubicBezTo>
                  <a:cubicBezTo>
                    <a:pt x="26" y="6"/>
                    <a:pt x="24" y="5"/>
                    <a:pt x="24" y="3"/>
                  </a:cubicBezTo>
                  <a:cubicBezTo>
                    <a:pt x="24" y="1"/>
                    <a:pt x="22" y="1"/>
                    <a:pt x="21" y="0"/>
                  </a:cubicBezTo>
                  <a:cubicBezTo>
                    <a:pt x="20" y="1"/>
                    <a:pt x="18" y="0"/>
                    <a:pt x="16" y="1"/>
                  </a:cubicBezTo>
                  <a:cubicBezTo>
                    <a:pt x="15" y="2"/>
                    <a:pt x="13" y="4"/>
                    <a:pt x="12" y="3"/>
                  </a:cubicBezTo>
                  <a:cubicBezTo>
                    <a:pt x="10" y="1"/>
                    <a:pt x="7" y="0"/>
                    <a:pt x="6" y="2"/>
                  </a:cubicBezTo>
                  <a:cubicBezTo>
                    <a:pt x="5" y="4"/>
                    <a:pt x="6" y="7"/>
                    <a:pt x="7" y="8"/>
                  </a:cubicBezTo>
                  <a:cubicBezTo>
                    <a:pt x="8" y="10"/>
                    <a:pt x="7" y="10"/>
                    <a:pt x="6" y="12"/>
                  </a:cubicBezTo>
                  <a:cubicBezTo>
                    <a:pt x="5" y="14"/>
                    <a:pt x="3" y="15"/>
                    <a:pt x="2" y="16"/>
                  </a:cubicBezTo>
                  <a:cubicBezTo>
                    <a:pt x="1" y="18"/>
                    <a:pt x="0" y="19"/>
                    <a:pt x="0" y="22"/>
                  </a:cubicBezTo>
                  <a:cubicBezTo>
                    <a:pt x="0" y="23"/>
                    <a:pt x="1" y="25"/>
                    <a:pt x="0" y="27"/>
                  </a:cubicBezTo>
                  <a:cubicBezTo>
                    <a:pt x="2" y="28"/>
                    <a:pt x="2" y="27"/>
                    <a:pt x="4" y="26"/>
                  </a:cubicBezTo>
                  <a:cubicBezTo>
                    <a:pt x="6" y="25"/>
                    <a:pt x="9" y="25"/>
                    <a:pt x="11" y="25"/>
                  </a:cubicBezTo>
                  <a:cubicBezTo>
                    <a:pt x="10" y="22"/>
                    <a:pt x="12" y="21"/>
                    <a:pt x="14" y="20"/>
                  </a:cubicBezTo>
                  <a:cubicBezTo>
                    <a:pt x="16" y="19"/>
                    <a:pt x="20" y="17"/>
                    <a:pt x="21" y="20"/>
                  </a:cubicBezTo>
                  <a:cubicBezTo>
                    <a:pt x="21" y="19"/>
                    <a:pt x="21" y="18"/>
                    <a:pt x="22" y="18"/>
                  </a:cubicBezTo>
                  <a:cubicBezTo>
                    <a:pt x="22" y="16"/>
                    <a:pt x="21" y="18"/>
                    <a:pt x="22" y="1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79" name="Freeform 750">
              <a:extLst>
                <a:ext uri="{FF2B5EF4-FFF2-40B4-BE49-F238E27FC236}">
                  <a16:creationId xmlns:a16="http://schemas.microsoft.com/office/drawing/2014/main" id="{74ECBC70-7DEB-4CEE-7145-5ECB8D22BCC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65417" y="4385050"/>
              <a:ext cx="51859" cy="54878"/>
            </a:xfrm>
            <a:custGeom>
              <a:avLst/>
              <a:gdLst>
                <a:gd name="T0" fmla="*/ 1 w 10"/>
                <a:gd name="T1" fmla="*/ 6 h 10"/>
                <a:gd name="T2" fmla="*/ 3 w 10"/>
                <a:gd name="T3" fmla="*/ 10 h 10"/>
                <a:gd name="T4" fmla="*/ 9 w 10"/>
                <a:gd name="T5" fmla="*/ 5 h 10"/>
                <a:gd name="T6" fmla="*/ 8 w 10"/>
                <a:gd name="T7" fmla="*/ 0 h 10"/>
                <a:gd name="T8" fmla="*/ 4 w 10"/>
                <a:gd name="T9" fmla="*/ 1 h 10"/>
                <a:gd name="T10" fmla="*/ 0 w 10"/>
                <a:gd name="T11" fmla="*/ 1 h 10"/>
                <a:gd name="T12" fmla="*/ 1 w 10"/>
                <a:gd name="T13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10">
                  <a:moveTo>
                    <a:pt x="1" y="6"/>
                  </a:moveTo>
                  <a:cubicBezTo>
                    <a:pt x="2" y="7"/>
                    <a:pt x="2" y="9"/>
                    <a:pt x="3" y="10"/>
                  </a:cubicBezTo>
                  <a:cubicBezTo>
                    <a:pt x="5" y="9"/>
                    <a:pt x="7" y="7"/>
                    <a:pt x="9" y="5"/>
                  </a:cubicBezTo>
                  <a:cubicBezTo>
                    <a:pt x="10" y="3"/>
                    <a:pt x="5" y="4"/>
                    <a:pt x="8" y="0"/>
                  </a:cubicBezTo>
                  <a:cubicBezTo>
                    <a:pt x="7" y="0"/>
                    <a:pt x="3" y="0"/>
                    <a:pt x="4" y="1"/>
                  </a:cubicBezTo>
                  <a:cubicBezTo>
                    <a:pt x="5" y="3"/>
                    <a:pt x="1" y="2"/>
                    <a:pt x="0" y="1"/>
                  </a:cubicBezTo>
                  <a:cubicBezTo>
                    <a:pt x="0" y="3"/>
                    <a:pt x="1" y="4"/>
                    <a:pt x="1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80" name="Freeform 751">
              <a:extLst>
                <a:ext uri="{FF2B5EF4-FFF2-40B4-BE49-F238E27FC236}">
                  <a16:creationId xmlns:a16="http://schemas.microsoft.com/office/drawing/2014/main" id="{9B77054C-C8CA-F4C0-97A8-C858C21ABBE8}"/>
                </a:ext>
              </a:extLst>
            </p:cNvPr>
            <p:cNvSpPr>
              <a:spLocks/>
            </p:cNvSpPr>
            <p:nvPr/>
          </p:nvSpPr>
          <p:spPr bwMode="auto">
            <a:xfrm>
              <a:off x="6565417" y="4350989"/>
              <a:ext cx="57223" cy="51094"/>
            </a:xfrm>
            <a:custGeom>
              <a:avLst/>
              <a:gdLst>
                <a:gd name="T0" fmla="*/ 3 w 11"/>
                <a:gd name="T1" fmla="*/ 1 h 9"/>
                <a:gd name="T2" fmla="*/ 0 w 11"/>
                <a:gd name="T3" fmla="*/ 7 h 9"/>
                <a:gd name="T4" fmla="*/ 4 w 11"/>
                <a:gd name="T5" fmla="*/ 7 h 9"/>
                <a:gd name="T6" fmla="*/ 8 w 11"/>
                <a:gd name="T7" fmla="*/ 6 h 9"/>
                <a:gd name="T8" fmla="*/ 7 w 11"/>
                <a:gd name="T9" fmla="*/ 0 h 9"/>
                <a:gd name="T10" fmla="*/ 3 w 11"/>
                <a:gd name="T11" fmla="*/ 1 h 9"/>
                <a:gd name="T12" fmla="*/ 3 w 11"/>
                <a:gd name="T13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9">
                  <a:moveTo>
                    <a:pt x="3" y="1"/>
                  </a:moveTo>
                  <a:cubicBezTo>
                    <a:pt x="1" y="2"/>
                    <a:pt x="0" y="5"/>
                    <a:pt x="0" y="7"/>
                  </a:cubicBezTo>
                  <a:cubicBezTo>
                    <a:pt x="1" y="8"/>
                    <a:pt x="5" y="9"/>
                    <a:pt x="4" y="7"/>
                  </a:cubicBezTo>
                  <a:cubicBezTo>
                    <a:pt x="3" y="6"/>
                    <a:pt x="7" y="6"/>
                    <a:pt x="8" y="6"/>
                  </a:cubicBezTo>
                  <a:cubicBezTo>
                    <a:pt x="11" y="5"/>
                    <a:pt x="8" y="1"/>
                    <a:pt x="7" y="0"/>
                  </a:cubicBezTo>
                  <a:cubicBezTo>
                    <a:pt x="5" y="1"/>
                    <a:pt x="5" y="2"/>
                    <a:pt x="3" y="1"/>
                  </a:cubicBezTo>
                  <a:cubicBezTo>
                    <a:pt x="2" y="1"/>
                    <a:pt x="4" y="1"/>
                    <a:pt x="3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81" name="Freeform 752">
              <a:extLst>
                <a:ext uri="{FF2B5EF4-FFF2-40B4-BE49-F238E27FC236}">
                  <a16:creationId xmlns:a16="http://schemas.microsoft.com/office/drawing/2014/main" id="{DD7EB2B6-0FC8-3F1E-1B3D-072BC21FAE54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6147" y="4333956"/>
              <a:ext cx="282545" cy="323595"/>
            </a:xfrm>
            <a:custGeom>
              <a:avLst/>
              <a:gdLst>
                <a:gd name="T0" fmla="*/ 41 w 54"/>
                <a:gd name="T1" fmla="*/ 13 h 58"/>
                <a:gd name="T2" fmla="*/ 23 w 54"/>
                <a:gd name="T3" fmla="*/ 3 h 58"/>
                <a:gd name="T4" fmla="*/ 17 w 54"/>
                <a:gd name="T5" fmla="*/ 7 h 58"/>
                <a:gd name="T6" fmla="*/ 21 w 54"/>
                <a:gd name="T7" fmla="*/ 9 h 58"/>
                <a:gd name="T8" fmla="*/ 17 w 54"/>
                <a:gd name="T9" fmla="*/ 9 h 58"/>
                <a:gd name="T10" fmla="*/ 13 w 54"/>
                <a:gd name="T11" fmla="*/ 10 h 58"/>
                <a:gd name="T12" fmla="*/ 11 w 54"/>
                <a:gd name="T13" fmla="*/ 8 h 58"/>
                <a:gd name="T14" fmla="*/ 12 w 54"/>
                <a:gd name="T15" fmla="*/ 4 h 58"/>
                <a:gd name="T16" fmla="*/ 5 w 54"/>
                <a:gd name="T17" fmla="*/ 3 h 58"/>
                <a:gd name="T18" fmla="*/ 7 w 54"/>
                <a:gd name="T19" fmla="*/ 8 h 58"/>
                <a:gd name="T20" fmla="*/ 5 w 54"/>
                <a:gd name="T21" fmla="*/ 12 h 58"/>
                <a:gd name="T22" fmla="*/ 6 w 54"/>
                <a:gd name="T23" fmla="*/ 16 h 58"/>
                <a:gd name="T24" fmla="*/ 2 w 54"/>
                <a:gd name="T25" fmla="*/ 18 h 58"/>
                <a:gd name="T26" fmla="*/ 1 w 54"/>
                <a:gd name="T27" fmla="*/ 21 h 58"/>
                <a:gd name="T28" fmla="*/ 5 w 54"/>
                <a:gd name="T29" fmla="*/ 33 h 58"/>
                <a:gd name="T30" fmla="*/ 12 w 54"/>
                <a:gd name="T31" fmla="*/ 42 h 58"/>
                <a:gd name="T32" fmla="*/ 15 w 54"/>
                <a:gd name="T33" fmla="*/ 43 h 58"/>
                <a:gd name="T34" fmla="*/ 17 w 54"/>
                <a:gd name="T35" fmla="*/ 45 h 58"/>
                <a:gd name="T36" fmla="*/ 24 w 54"/>
                <a:gd name="T37" fmla="*/ 47 h 58"/>
                <a:gd name="T38" fmla="*/ 25 w 54"/>
                <a:gd name="T39" fmla="*/ 53 h 58"/>
                <a:gd name="T40" fmla="*/ 27 w 54"/>
                <a:gd name="T41" fmla="*/ 55 h 58"/>
                <a:gd name="T42" fmla="*/ 30 w 54"/>
                <a:gd name="T43" fmla="*/ 55 h 58"/>
                <a:gd name="T44" fmla="*/ 33 w 54"/>
                <a:gd name="T45" fmla="*/ 56 h 58"/>
                <a:gd name="T46" fmla="*/ 36 w 54"/>
                <a:gd name="T47" fmla="*/ 55 h 58"/>
                <a:gd name="T48" fmla="*/ 42 w 54"/>
                <a:gd name="T49" fmla="*/ 55 h 58"/>
                <a:gd name="T50" fmla="*/ 46 w 54"/>
                <a:gd name="T51" fmla="*/ 54 h 58"/>
                <a:gd name="T52" fmla="*/ 54 w 54"/>
                <a:gd name="T53" fmla="*/ 49 h 58"/>
                <a:gd name="T54" fmla="*/ 49 w 54"/>
                <a:gd name="T55" fmla="*/ 36 h 58"/>
                <a:gd name="T56" fmla="*/ 49 w 54"/>
                <a:gd name="T57" fmla="*/ 32 h 58"/>
                <a:gd name="T58" fmla="*/ 46 w 54"/>
                <a:gd name="T59" fmla="*/ 28 h 58"/>
                <a:gd name="T60" fmla="*/ 48 w 54"/>
                <a:gd name="T61" fmla="*/ 20 h 58"/>
                <a:gd name="T62" fmla="*/ 45 w 54"/>
                <a:gd name="T63" fmla="*/ 18 h 58"/>
                <a:gd name="T64" fmla="*/ 41 w 54"/>
                <a:gd name="T65" fmla="*/ 16 h 58"/>
                <a:gd name="T66" fmla="*/ 41 w 54"/>
                <a:gd name="T67" fmla="*/ 13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4" h="58">
                  <a:moveTo>
                    <a:pt x="41" y="13"/>
                  </a:moveTo>
                  <a:cubicBezTo>
                    <a:pt x="35" y="9"/>
                    <a:pt x="29" y="6"/>
                    <a:pt x="23" y="3"/>
                  </a:cubicBezTo>
                  <a:cubicBezTo>
                    <a:pt x="22" y="5"/>
                    <a:pt x="19" y="7"/>
                    <a:pt x="17" y="7"/>
                  </a:cubicBezTo>
                  <a:cubicBezTo>
                    <a:pt x="17" y="7"/>
                    <a:pt x="21" y="8"/>
                    <a:pt x="21" y="9"/>
                  </a:cubicBezTo>
                  <a:cubicBezTo>
                    <a:pt x="20" y="10"/>
                    <a:pt x="18" y="9"/>
                    <a:pt x="17" y="9"/>
                  </a:cubicBezTo>
                  <a:cubicBezTo>
                    <a:pt x="15" y="8"/>
                    <a:pt x="15" y="9"/>
                    <a:pt x="13" y="10"/>
                  </a:cubicBezTo>
                  <a:cubicBezTo>
                    <a:pt x="13" y="10"/>
                    <a:pt x="11" y="9"/>
                    <a:pt x="11" y="8"/>
                  </a:cubicBezTo>
                  <a:cubicBezTo>
                    <a:pt x="10" y="7"/>
                    <a:pt x="11" y="5"/>
                    <a:pt x="12" y="4"/>
                  </a:cubicBezTo>
                  <a:cubicBezTo>
                    <a:pt x="13" y="0"/>
                    <a:pt x="7" y="2"/>
                    <a:pt x="5" y="3"/>
                  </a:cubicBezTo>
                  <a:cubicBezTo>
                    <a:pt x="6" y="4"/>
                    <a:pt x="8" y="7"/>
                    <a:pt x="7" y="8"/>
                  </a:cubicBezTo>
                  <a:cubicBezTo>
                    <a:pt x="7" y="9"/>
                    <a:pt x="3" y="12"/>
                    <a:pt x="5" y="12"/>
                  </a:cubicBezTo>
                  <a:cubicBezTo>
                    <a:pt x="8" y="13"/>
                    <a:pt x="7" y="14"/>
                    <a:pt x="6" y="16"/>
                  </a:cubicBezTo>
                  <a:cubicBezTo>
                    <a:pt x="5" y="16"/>
                    <a:pt x="3" y="17"/>
                    <a:pt x="2" y="18"/>
                  </a:cubicBezTo>
                  <a:cubicBezTo>
                    <a:pt x="0" y="19"/>
                    <a:pt x="1" y="19"/>
                    <a:pt x="1" y="21"/>
                  </a:cubicBezTo>
                  <a:cubicBezTo>
                    <a:pt x="2" y="26"/>
                    <a:pt x="4" y="29"/>
                    <a:pt x="5" y="33"/>
                  </a:cubicBezTo>
                  <a:cubicBezTo>
                    <a:pt x="5" y="38"/>
                    <a:pt x="9" y="40"/>
                    <a:pt x="12" y="42"/>
                  </a:cubicBezTo>
                  <a:cubicBezTo>
                    <a:pt x="13" y="43"/>
                    <a:pt x="14" y="43"/>
                    <a:pt x="15" y="43"/>
                  </a:cubicBezTo>
                  <a:cubicBezTo>
                    <a:pt x="16" y="43"/>
                    <a:pt x="16" y="44"/>
                    <a:pt x="17" y="45"/>
                  </a:cubicBezTo>
                  <a:cubicBezTo>
                    <a:pt x="19" y="45"/>
                    <a:pt x="22" y="45"/>
                    <a:pt x="24" y="47"/>
                  </a:cubicBezTo>
                  <a:cubicBezTo>
                    <a:pt x="25" y="48"/>
                    <a:pt x="25" y="51"/>
                    <a:pt x="25" y="53"/>
                  </a:cubicBezTo>
                  <a:cubicBezTo>
                    <a:pt x="26" y="54"/>
                    <a:pt x="25" y="55"/>
                    <a:pt x="27" y="55"/>
                  </a:cubicBezTo>
                  <a:cubicBezTo>
                    <a:pt x="28" y="55"/>
                    <a:pt x="29" y="55"/>
                    <a:pt x="30" y="55"/>
                  </a:cubicBezTo>
                  <a:cubicBezTo>
                    <a:pt x="31" y="55"/>
                    <a:pt x="32" y="55"/>
                    <a:pt x="33" y="56"/>
                  </a:cubicBezTo>
                  <a:cubicBezTo>
                    <a:pt x="34" y="57"/>
                    <a:pt x="35" y="56"/>
                    <a:pt x="36" y="55"/>
                  </a:cubicBezTo>
                  <a:cubicBezTo>
                    <a:pt x="38" y="54"/>
                    <a:pt x="40" y="58"/>
                    <a:pt x="42" y="55"/>
                  </a:cubicBezTo>
                  <a:cubicBezTo>
                    <a:pt x="42" y="53"/>
                    <a:pt x="45" y="54"/>
                    <a:pt x="46" y="54"/>
                  </a:cubicBezTo>
                  <a:cubicBezTo>
                    <a:pt x="49" y="53"/>
                    <a:pt x="51" y="51"/>
                    <a:pt x="54" y="49"/>
                  </a:cubicBezTo>
                  <a:cubicBezTo>
                    <a:pt x="49" y="46"/>
                    <a:pt x="49" y="42"/>
                    <a:pt x="49" y="36"/>
                  </a:cubicBezTo>
                  <a:cubicBezTo>
                    <a:pt x="48" y="35"/>
                    <a:pt x="50" y="33"/>
                    <a:pt x="49" y="32"/>
                  </a:cubicBezTo>
                  <a:cubicBezTo>
                    <a:pt x="48" y="31"/>
                    <a:pt x="46" y="30"/>
                    <a:pt x="46" y="28"/>
                  </a:cubicBezTo>
                  <a:cubicBezTo>
                    <a:pt x="46" y="27"/>
                    <a:pt x="48" y="20"/>
                    <a:pt x="48" y="20"/>
                  </a:cubicBezTo>
                  <a:cubicBezTo>
                    <a:pt x="47" y="20"/>
                    <a:pt x="46" y="19"/>
                    <a:pt x="45" y="18"/>
                  </a:cubicBezTo>
                  <a:cubicBezTo>
                    <a:pt x="44" y="17"/>
                    <a:pt x="43" y="17"/>
                    <a:pt x="41" y="16"/>
                  </a:cubicBezTo>
                  <a:cubicBezTo>
                    <a:pt x="41" y="15"/>
                    <a:pt x="41" y="14"/>
                    <a:pt x="41" y="1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82" name="Freeform 753">
              <a:extLst>
                <a:ext uri="{FF2B5EF4-FFF2-40B4-BE49-F238E27FC236}">
                  <a16:creationId xmlns:a16="http://schemas.microsoft.com/office/drawing/2014/main" id="{1B1BEF2D-9AA4-5172-71C6-68960E02E735}"/>
                </a:ext>
              </a:extLst>
            </p:cNvPr>
            <p:cNvSpPr>
              <a:spLocks/>
            </p:cNvSpPr>
            <p:nvPr/>
          </p:nvSpPr>
          <p:spPr bwMode="auto">
            <a:xfrm>
              <a:off x="6062918" y="4256369"/>
              <a:ext cx="141272" cy="172206"/>
            </a:xfrm>
            <a:custGeom>
              <a:avLst/>
              <a:gdLst>
                <a:gd name="T0" fmla="*/ 15 w 27"/>
                <a:gd name="T1" fmla="*/ 29 h 31"/>
                <a:gd name="T2" fmla="*/ 15 w 27"/>
                <a:gd name="T3" fmla="*/ 24 h 31"/>
                <a:gd name="T4" fmla="*/ 17 w 27"/>
                <a:gd name="T5" fmla="*/ 24 h 31"/>
                <a:gd name="T6" fmla="*/ 19 w 27"/>
                <a:gd name="T7" fmla="*/ 21 h 31"/>
                <a:gd name="T8" fmla="*/ 21 w 27"/>
                <a:gd name="T9" fmla="*/ 24 h 31"/>
                <a:gd name="T10" fmla="*/ 24 w 27"/>
                <a:gd name="T11" fmla="*/ 23 h 31"/>
                <a:gd name="T12" fmla="*/ 26 w 27"/>
                <a:gd name="T13" fmla="*/ 24 h 31"/>
                <a:gd name="T14" fmla="*/ 26 w 27"/>
                <a:gd name="T15" fmla="*/ 21 h 31"/>
                <a:gd name="T16" fmla="*/ 26 w 27"/>
                <a:gd name="T17" fmla="*/ 14 h 31"/>
                <a:gd name="T18" fmla="*/ 25 w 27"/>
                <a:gd name="T19" fmla="*/ 11 h 31"/>
                <a:gd name="T20" fmla="*/ 26 w 27"/>
                <a:gd name="T21" fmla="*/ 6 h 31"/>
                <a:gd name="T22" fmla="*/ 21 w 27"/>
                <a:gd name="T23" fmla="*/ 4 h 31"/>
                <a:gd name="T24" fmla="*/ 19 w 27"/>
                <a:gd name="T25" fmla="*/ 0 h 31"/>
                <a:gd name="T26" fmla="*/ 14 w 27"/>
                <a:gd name="T27" fmla="*/ 0 h 31"/>
                <a:gd name="T28" fmla="*/ 11 w 27"/>
                <a:gd name="T29" fmla="*/ 7 h 31"/>
                <a:gd name="T30" fmla="*/ 5 w 27"/>
                <a:gd name="T31" fmla="*/ 7 h 31"/>
                <a:gd name="T32" fmla="*/ 4 w 27"/>
                <a:gd name="T33" fmla="*/ 7 h 31"/>
                <a:gd name="T34" fmla="*/ 4 w 27"/>
                <a:gd name="T35" fmla="*/ 10 h 31"/>
                <a:gd name="T36" fmla="*/ 0 w 27"/>
                <a:gd name="T37" fmla="*/ 16 h 31"/>
                <a:gd name="T38" fmla="*/ 4 w 27"/>
                <a:gd name="T39" fmla="*/ 23 h 31"/>
                <a:gd name="T40" fmla="*/ 9 w 27"/>
                <a:gd name="T41" fmla="*/ 28 h 31"/>
                <a:gd name="T42" fmla="*/ 11 w 27"/>
                <a:gd name="T43" fmla="*/ 31 h 31"/>
                <a:gd name="T44" fmla="*/ 15 w 27"/>
                <a:gd name="T45" fmla="*/ 29 h 31"/>
                <a:gd name="T46" fmla="*/ 15 w 27"/>
                <a:gd name="T47" fmla="*/ 2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7" h="31">
                  <a:moveTo>
                    <a:pt x="15" y="29"/>
                  </a:moveTo>
                  <a:cubicBezTo>
                    <a:pt x="15" y="28"/>
                    <a:pt x="13" y="24"/>
                    <a:pt x="15" y="24"/>
                  </a:cubicBezTo>
                  <a:cubicBezTo>
                    <a:pt x="15" y="24"/>
                    <a:pt x="17" y="24"/>
                    <a:pt x="17" y="24"/>
                  </a:cubicBezTo>
                  <a:cubicBezTo>
                    <a:pt x="18" y="23"/>
                    <a:pt x="18" y="21"/>
                    <a:pt x="19" y="21"/>
                  </a:cubicBezTo>
                  <a:cubicBezTo>
                    <a:pt x="20" y="22"/>
                    <a:pt x="21" y="23"/>
                    <a:pt x="21" y="24"/>
                  </a:cubicBezTo>
                  <a:cubicBezTo>
                    <a:pt x="22" y="25"/>
                    <a:pt x="22" y="23"/>
                    <a:pt x="24" y="23"/>
                  </a:cubicBezTo>
                  <a:cubicBezTo>
                    <a:pt x="24" y="23"/>
                    <a:pt x="26" y="25"/>
                    <a:pt x="26" y="24"/>
                  </a:cubicBezTo>
                  <a:cubicBezTo>
                    <a:pt x="26" y="23"/>
                    <a:pt x="26" y="22"/>
                    <a:pt x="26" y="21"/>
                  </a:cubicBezTo>
                  <a:cubicBezTo>
                    <a:pt x="27" y="19"/>
                    <a:pt x="27" y="16"/>
                    <a:pt x="26" y="14"/>
                  </a:cubicBezTo>
                  <a:cubicBezTo>
                    <a:pt x="25" y="13"/>
                    <a:pt x="25" y="12"/>
                    <a:pt x="25" y="11"/>
                  </a:cubicBezTo>
                  <a:cubicBezTo>
                    <a:pt x="25" y="9"/>
                    <a:pt x="27" y="8"/>
                    <a:pt x="26" y="6"/>
                  </a:cubicBezTo>
                  <a:cubicBezTo>
                    <a:pt x="25" y="3"/>
                    <a:pt x="21" y="7"/>
                    <a:pt x="21" y="4"/>
                  </a:cubicBezTo>
                  <a:cubicBezTo>
                    <a:pt x="21" y="2"/>
                    <a:pt x="22" y="0"/>
                    <a:pt x="19" y="0"/>
                  </a:cubicBezTo>
                  <a:cubicBezTo>
                    <a:pt x="18" y="0"/>
                    <a:pt x="16" y="0"/>
                    <a:pt x="14" y="0"/>
                  </a:cubicBezTo>
                  <a:cubicBezTo>
                    <a:pt x="10" y="0"/>
                    <a:pt x="15" y="7"/>
                    <a:pt x="11" y="7"/>
                  </a:cubicBezTo>
                  <a:cubicBezTo>
                    <a:pt x="9" y="7"/>
                    <a:pt x="7" y="7"/>
                    <a:pt x="5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2" y="9"/>
                    <a:pt x="4" y="9"/>
                    <a:pt x="4" y="10"/>
                  </a:cubicBezTo>
                  <a:cubicBezTo>
                    <a:pt x="4" y="12"/>
                    <a:pt x="0" y="14"/>
                    <a:pt x="0" y="16"/>
                  </a:cubicBezTo>
                  <a:cubicBezTo>
                    <a:pt x="1" y="18"/>
                    <a:pt x="3" y="21"/>
                    <a:pt x="4" y="23"/>
                  </a:cubicBezTo>
                  <a:cubicBezTo>
                    <a:pt x="6" y="24"/>
                    <a:pt x="7" y="26"/>
                    <a:pt x="9" y="28"/>
                  </a:cubicBezTo>
                  <a:cubicBezTo>
                    <a:pt x="10" y="29"/>
                    <a:pt x="11" y="30"/>
                    <a:pt x="11" y="31"/>
                  </a:cubicBezTo>
                  <a:cubicBezTo>
                    <a:pt x="12" y="30"/>
                    <a:pt x="14" y="30"/>
                    <a:pt x="15" y="29"/>
                  </a:cubicBezTo>
                  <a:cubicBezTo>
                    <a:pt x="15" y="29"/>
                    <a:pt x="14" y="30"/>
                    <a:pt x="15" y="2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83" name="Freeform 754">
              <a:extLst>
                <a:ext uri="{FF2B5EF4-FFF2-40B4-BE49-F238E27FC236}">
                  <a16:creationId xmlns:a16="http://schemas.microsoft.com/office/drawing/2014/main" id="{CA770BAB-A11C-CEF3-3FC4-162BAB51092F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1859" y="4256369"/>
              <a:ext cx="59013" cy="39739"/>
            </a:xfrm>
            <a:custGeom>
              <a:avLst/>
              <a:gdLst>
                <a:gd name="T0" fmla="*/ 11 w 11"/>
                <a:gd name="T1" fmla="*/ 7 h 7"/>
                <a:gd name="T2" fmla="*/ 11 w 11"/>
                <a:gd name="T3" fmla="*/ 0 h 7"/>
                <a:gd name="T4" fmla="*/ 3 w 11"/>
                <a:gd name="T5" fmla="*/ 1 h 7"/>
                <a:gd name="T6" fmla="*/ 0 w 11"/>
                <a:gd name="T7" fmla="*/ 4 h 7"/>
                <a:gd name="T8" fmla="*/ 2 w 11"/>
                <a:gd name="T9" fmla="*/ 7 h 7"/>
                <a:gd name="T10" fmla="*/ 11 w 11"/>
                <a:gd name="T11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7">
                  <a:moveTo>
                    <a:pt x="11" y="7"/>
                  </a:moveTo>
                  <a:cubicBezTo>
                    <a:pt x="11" y="5"/>
                    <a:pt x="11" y="2"/>
                    <a:pt x="11" y="0"/>
                  </a:cubicBezTo>
                  <a:cubicBezTo>
                    <a:pt x="8" y="0"/>
                    <a:pt x="6" y="1"/>
                    <a:pt x="3" y="1"/>
                  </a:cubicBezTo>
                  <a:cubicBezTo>
                    <a:pt x="4" y="2"/>
                    <a:pt x="1" y="3"/>
                    <a:pt x="0" y="4"/>
                  </a:cubicBezTo>
                  <a:cubicBezTo>
                    <a:pt x="0" y="5"/>
                    <a:pt x="2" y="6"/>
                    <a:pt x="2" y="7"/>
                  </a:cubicBezTo>
                  <a:lnTo>
                    <a:pt x="11" y="7"/>
                  </a:ln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84" name="Freeform 755">
              <a:extLst>
                <a:ext uri="{FF2B5EF4-FFF2-40B4-BE49-F238E27FC236}">
                  <a16:creationId xmlns:a16="http://schemas.microsoft.com/office/drawing/2014/main" id="{3ACF5B44-6B70-3435-FBDA-B4A258565EAA}"/>
                </a:ext>
              </a:extLst>
            </p:cNvPr>
            <p:cNvSpPr>
              <a:spLocks/>
            </p:cNvSpPr>
            <p:nvPr/>
          </p:nvSpPr>
          <p:spPr bwMode="auto">
            <a:xfrm>
              <a:off x="6052187" y="3957377"/>
              <a:ext cx="193132" cy="316025"/>
            </a:xfrm>
            <a:custGeom>
              <a:avLst/>
              <a:gdLst>
                <a:gd name="T0" fmla="*/ 29 w 37"/>
                <a:gd name="T1" fmla="*/ 55 h 57"/>
                <a:gd name="T2" fmla="*/ 37 w 37"/>
                <a:gd name="T3" fmla="*/ 55 h 57"/>
                <a:gd name="T4" fmla="*/ 33 w 37"/>
                <a:gd name="T5" fmla="*/ 48 h 57"/>
                <a:gd name="T6" fmla="*/ 32 w 37"/>
                <a:gd name="T7" fmla="*/ 44 h 57"/>
                <a:gd name="T8" fmla="*/ 30 w 37"/>
                <a:gd name="T9" fmla="*/ 40 h 57"/>
                <a:gd name="T10" fmla="*/ 32 w 37"/>
                <a:gd name="T11" fmla="*/ 32 h 57"/>
                <a:gd name="T12" fmla="*/ 34 w 37"/>
                <a:gd name="T13" fmla="*/ 27 h 57"/>
                <a:gd name="T14" fmla="*/ 31 w 37"/>
                <a:gd name="T15" fmla="*/ 21 h 57"/>
                <a:gd name="T16" fmla="*/ 28 w 37"/>
                <a:gd name="T17" fmla="*/ 16 h 57"/>
                <a:gd name="T18" fmla="*/ 34 w 37"/>
                <a:gd name="T19" fmla="*/ 16 h 57"/>
                <a:gd name="T20" fmla="*/ 32 w 37"/>
                <a:gd name="T21" fmla="*/ 6 h 57"/>
                <a:gd name="T22" fmla="*/ 30 w 37"/>
                <a:gd name="T23" fmla="*/ 2 h 57"/>
                <a:gd name="T24" fmla="*/ 27 w 37"/>
                <a:gd name="T25" fmla="*/ 0 h 57"/>
                <a:gd name="T26" fmla="*/ 28 w 37"/>
                <a:gd name="T27" fmla="*/ 9 h 57"/>
                <a:gd name="T28" fmla="*/ 23 w 37"/>
                <a:gd name="T29" fmla="*/ 18 h 57"/>
                <a:gd name="T30" fmla="*/ 21 w 37"/>
                <a:gd name="T31" fmla="*/ 22 h 57"/>
                <a:gd name="T32" fmla="*/ 18 w 37"/>
                <a:gd name="T33" fmla="*/ 27 h 57"/>
                <a:gd name="T34" fmla="*/ 15 w 37"/>
                <a:gd name="T35" fmla="*/ 33 h 57"/>
                <a:gd name="T36" fmla="*/ 11 w 37"/>
                <a:gd name="T37" fmla="*/ 31 h 57"/>
                <a:gd name="T38" fmla="*/ 2 w 37"/>
                <a:gd name="T39" fmla="*/ 39 h 57"/>
                <a:gd name="T40" fmla="*/ 1 w 37"/>
                <a:gd name="T41" fmla="*/ 42 h 57"/>
                <a:gd name="T42" fmla="*/ 4 w 37"/>
                <a:gd name="T43" fmla="*/ 45 h 57"/>
                <a:gd name="T44" fmla="*/ 5 w 37"/>
                <a:gd name="T45" fmla="*/ 45 h 57"/>
                <a:gd name="T46" fmla="*/ 7 w 37"/>
                <a:gd name="T47" fmla="*/ 48 h 57"/>
                <a:gd name="T48" fmla="*/ 7 w 37"/>
                <a:gd name="T49" fmla="*/ 55 h 57"/>
                <a:gd name="T50" fmla="*/ 16 w 37"/>
                <a:gd name="T51" fmla="*/ 54 h 57"/>
                <a:gd name="T52" fmla="*/ 29 w 37"/>
                <a:gd name="T53" fmla="*/ 55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7" h="57">
                  <a:moveTo>
                    <a:pt x="29" y="55"/>
                  </a:moveTo>
                  <a:cubicBezTo>
                    <a:pt x="32" y="55"/>
                    <a:pt x="35" y="57"/>
                    <a:pt x="37" y="55"/>
                  </a:cubicBezTo>
                  <a:cubicBezTo>
                    <a:pt x="37" y="51"/>
                    <a:pt x="35" y="50"/>
                    <a:pt x="33" y="48"/>
                  </a:cubicBezTo>
                  <a:cubicBezTo>
                    <a:pt x="32" y="47"/>
                    <a:pt x="32" y="46"/>
                    <a:pt x="32" y="44"/>
                  </a:cubicBezTo>
                  <a:cubicBezTo>
                    <a:pt x="31" y="43"/>
                    <a:pt x="30" y="42"/>
                    <a:pt x="30" y="40"/>
                  </a:cubicBezTo>
                  <a:cubicBezTo>
                    <a:pt x="29" y="36"/>
                    <a:pt x="31" y="35"/>
                    <a:pt x="32" y="32"/>
                  </a:cubicBezTo>
                  <a:cubicBezTo>
                    <a:pt x="33" y="30"/>
                    <a:pt x="34" y="29"/>
                    <a:pt x="34" y="27"/>
                  </a:cubicBezTo>
                  <a:cubicBezTo>
                    <a:pt x="33" y="25"/>
                    <a:pt x="33" y="23"/>
                    <a:pt x="31" y="21"/>
                  </a:cubicBezTo>
                  <a:cubicBezTo>
                    <a:pt x="31" y="21"/>
                    <a:pt x="26" y="18"/>
                    <a:pt x="28" y="16"/>
                  </a:cubicBezTo>
                  <a:cubicBezTo>
                    <a:pt x="29" y="15"/>
                    <a:pt x="32" y="16"/>
                    <a:pt x="34" y="16"/>
                  </a:cubicBezTo>
                  <a:cubicBezTo>
                    <a:pt x="32" y="12"/>
                    <a:pt x="32" y="10"/>
                    <a:pt x="32" y="6"/>
                  </a:cubicBezTo>
                  <a:cubicBezTo>
                    <a:pt x="32" y="5"/>
                    <a:pt x="32" y="3"/>
                    <a:pt x="30" y="2"/>
                  </a:cubicBezTo>
                  <a:cubicBezTo>
                    <a:pt x="30" y="1"/>
                    <a:pt x="27" y="0"/>
                    <a:pt x="27" y="0"/>
                  </a:cubicBezTo>
                  <a:cubicBezTo>
                    <a:pt x="27" y="2"/>
                    <a:pt x="33" y="7"/>
                    <a:pt x="28" y="9"/>
                  </a:cubicBezTo>
                  <a:cubicBezTo>
                    <a:pt x="25" y="11"/>
                    <a:pt x="24" y="14"/>
                    <a:pt x="23" y="18"/>
                  </a:cubicBezTo>
                  <a:cubicBezTo>
                    <a:pt x="22" y="19"/>
                    <a:pt x="22" y="22"/>
                    <a:pt x="21" y="22"/>
                  </a:cubicBezTo>
                  <a:cubicBezTo>
                    <a:pt x="19" y="23"/>
                    <a:pt x="19" y="25"/>
                    <a:pt x="18" y="27"/>
                  </a:cubicBezTo>
                  <a:cubicBezTo>
                    <a:pt x="17" y="29"/>
                    <a:pt x="16" y="31"/>
                    <a:pt x="15" y="33"/>
                  </a:cubicBezTo>
                  <a:cubicBezTo>
                    <a:pt x="13" y="35"/>
                    <a:pt x="12" y="31"/>
                    <a:pt x="11" y="31"/>
                  </a:cubicBezTo>
                  <a:cubicBezTo>
                    <a:pt x="6" y="31"/>
                    <a:pt x="3" y="35"/>
                    <a:pt x="2" y="39"/>
                  </a:cubicBezTo>
                  <a:cubicBezTo>
                    <a:pt x="2" y="40"/>
                    <a:pt x="0" y="41"/>
                    <a:pt x="1" y="42"/>
                  </a:cubicBezTo>
                  <a:cubicBezTo>
                    <a:pt x="2" y="43"/>
                    <a:pt x="3" y="44"/>
                    <a:pt x="4" y="45"/>
                  </a:cubicBezTo>
                  <a:cubicBezTo>
                    <a:pt x="4" y="46"/>
                    <a:pt x="5" y="44"/>
                    <a:pt x="5" y="45"/>
                  </a:cubicBezTo>
                  <a:cubicBezTo>
                    <a:pt x="6" y="46"/>
                    <a:pt x="7" y="47"/>
                    <a:pt x="7" y="48"/>
                  </a:cubicBezTo>
                  <a:cubicBezTo>
                    <a:pt x="8" y="50"/>
                    <a:pt x="7" y="53"/>
                    <a:pt x="7" y="55"/>
                  </a:cubicBezTo>
                  <a:cubicBezTo>
                    <a:pt x="10" y="54"/>
                    <a:pt x="13" y="54"/>
                    <a:pt x="16" y="54"/>
                  </a:cubicBezTo>
                  <a:cubicBezTo>
                    <a:pt x="20" y="54"/>
                    <a:pt x="25" y="55"/>
                    <a:pt x="29" y="5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85" name="Freeform 756">
              <a:extLst>
                <a:ext uri="{FF2B5EF4-FFF2-40B4-BE49-F238E27FC236}">
                  <a16:creationId xmlns:a16="http://schemas.microsoft.com/office/drawing/2014/main" id="{45DF4FC8-08AB-D002-4E4D-770D02F60532}"/>
                </a:ext>
              </a:extLst>
            </p:cNvPr>
            <p:cNvSpPr>
              <a:spLocks/>
            </p:cNvSpPr>
            <p:nvPr/>
          </p:nvSpPr>
          <p:spPr bwMode="auto">
            <a:xfrm>
              <a:off x="5846540" y="3972515"/>
              <a:ext cx="78683" cy="172206"/>
            </a:xfrm>
            <a:custGeom>
              <a:avLst/>
              <a:gdLst>
                <a:gd name="T0" fmla="*/ 11 w 15"/>
                <a:gd name="T1" fmla="*/ 0 h 31"/>
                <a:gd name="T2" fmla="*/ 9 w 15"/>
                <a:gd name="T3" fmla="*/ 4 h 31"/>
                <a:gd name="T4" fmla="*/ 4 w 15"/>
                <a:gd name="T5" fmla="*/ 5 h 31"/>
                <a:gd name="T6" fmla="*/ 1 w 15"/>
                <a:gd name="T7" fmla="*/ 8 h 31"/>
                <a:gd name="T8" fmla="*/ 3 w 15"/>
                <a:gd name="T9" fmla="*/ 13 h 31"/>
                <a:gd name="T10" fmla="*/ 6 w 15"/>
                <a:gd name="T11" fmla="*/ 31 h 31"/>
                <a:gd name="T12" fmla="*/ 11 w 15"/>
                <a:gd name="T13" fmla="*/ 30 h 31"/>
                <a:gd name="T14" fmla="*/ 11 w 15"/>
                <a:gd name="T15" fmla="*/ 27 h 31"/>
                <a:gd name="T16" fmla="*/ 11 w 15"/>
                <a:gd name="T17" fmla="*/ 18 h 31"/>
                <a:gd name="T18" fmla="*/ 15 w 15"/>
                <a:gd name="T19" fmla="*/ 9 h 31"/>
                <a:gd name="T20" fmla="*/ 14 w 15"/>
                <a:gd name="T21" fmla="*/ 3 h 31"/>
                <a:gd name="T22" fmla="*/ 11 w 15"/>
                <a:gd name="T23" fmla="*/ 0 h 31"/>
                <a:gd name="T24" fmla="*/ 11 w 15"/>
                <a:gd name="T2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" h="31">
                  <a:moveTo>
                    <a:pt x="11" y="0"/>
                  </a:moveTo>
                  <a:cubicBezTo>
                    <a:pt x="9" y="2"/>
                    <a:pt x="10" y="2"/>
                    <a:pt x="9" y="4"/>
                  </a:cubicBezTo>
                  <a:cubicBezTo>
                    <a:pt x="8" y="6"/>
                    <a:pt x="6" y="5"/>
                    <a:pt x="4" y="5"/>
                  </a:cubicBezTo>
                  <a:cubicBezTo>
                    <a:pt x="4" y="5"/>
                    <a:pt x="2" y="7"/>
                    <a:pt x="1" y="8"/>
                  </a:cubicBezTo>
                  <a:cubicBezTo>
                    <a:pt x="0" y="9"/>
                    <a:pt x="2" y="11"/>
                    <a:pt x="3" y="13"/>
                  </a:cubicBezTo>
                  <a:cubicBezTo>
                    <a:pt x="7" y="18"/>
                    <a:pt x="4" y="25"/>
                    <a:pt x="6" y="31"/>
                  </a:cubicBezTo>
                  <a:cubicBezTo>
                    <a:pt x="7" y="31"/>
                    <a:pt x="9" y="31"/>
                    <a:pt x="11" y="30"/>
                  </a:cubicBezTo>
                  <a:cubicBezTo>
                    <a:pt x="12" y="30"/>
                    <a:pt x="12" y="29"/>
                    <a:pt x="11" y="27"/>
                  </a:cubicBezTo>
                  <a:cubicBezTo>
                    <a:pt x="11" y="24"/>
                    <a:pt x="11" y="21"/>
                    <a:pt x="11" y="18"/>
                  </a:cubicBezTo>
                  <a:cubicBezTo>
                    <a:pt x="11" y="14"/>
                    <a:pt x="14" y="12"/>
                    <a:pt x="15" y="9"/>
                  </a:cubicBezTo>
                  <a:cubicBezTo>
                    <a:pt x="15" y="6"/>
                    <a:pt x="15" y="5"/>
                    <a:pt x="14" y="3"/>
                  </a:cubicBezTo>
                  <a:cubicBezTo>
                    <a:pt x="14" y="3"/>
                    <a:pt x="11" y="0"/>
                    <a:pt x="11" y="0"/>
                  </a:cubicBezTo>
                  <a:cubicBezTo>
                    <a:pt x="10" y="1"/>
                    <a:pt x="11" y="0"/>
                    <a:pt x="1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86" name="Freeform 757">
              <a:extLst>
                <a:ext uri="{FF2B5EF4-FFF2-40B4-BE49-F238E27FC236}">
                  <a16:creationId xmlns:a16="http://schemas.microsoft.com/office/drawing/2014/main" id="{B7713BAE-BD6E-A00D-BB46-38B6350AE1C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0187" y="3928989"/>
              <a:ext cx="309368" cy="283855"/>
            </a:xfrm>
            <a:custGeom>
              <a:avLst/>
              <a:gdLst>
                <a:gd name="T0" fmla="*/ 31 w 59"/>
                <a:gd name="T1" fmla="*/ 42 h 51"/>
                <a:gd name="T2" fmla="*/ 37 w 59"/>
                <a:gd name="T3" fmla="*/ 37 h 51"/>
                <a:gd name="T4" fmla="*/ 40 w 59"/>
                <a:gd name="T5" fmla="*/ 36 h 51"/>
                <a:gd name="T6" fmla="*/ 43 w 59"/>
                <a:gd name="T7" fmla="*/ 38 h 51"/>
                <a:gd name="T8" fmla="*/ 47 w 59"/>
                <a:gd name="T9" fmla="*/ 32 h 51"/>
                <a:gd name="T10" fmla="*/ 48 w 59"/>
                <a:gd name="T11" fmla="*/ 28 h 51"/>
                <a:gd name="T12" fmla="*/ 51 w 59"/>
                <a:gd name="T13" fmla="*/ 27 h 51"/>
                <a:gd name="T14" fmla="*/ 56 w 59"/>
                <a:gd name="T15" fmla="*/ 14 h 51"/>
                <a:gd name="T16" fmla="*/ 59 w 59"/>
                <a:gd name="T17" fmla="*/ 11 h 51"/>
                <a:gd name="T18" fmla="*/ 57 w 59"/>
                <a:gd name="T19" fmla="*/ 8 h 51"/>
                <a:gd name="T20" fmla="*/ 56 w 59"/>
                <a:gd name="T21" fmla="*/ 6 h 51"/>
                <a:gd name="T22" fmla="*/ 54 w 59"/>
                <a:gd name="T23" fmla="*/ 1 h 51"/>
                <a:gd name="T24" fmla="*/ 48 w 59"/>
                <a:gd name="T25" fmla="*/ 5 h 51"/>
                <a:gd name="T26" fmla="*/ 40 w 59"/>
                <a:gd name="T27" fmla="*/ 4 h 51"/>
                <a:gd name="T28" fmla="*/ 32 w 59"/>
                <a:gd name="T29" fmla="*/ 6 h 51"/>
                <a:gd name="T30" fmla="*/ 26 w 59"/>
                <a:gd name="T31" fmla="*/ 4 h 51"/>
                <a:gd name="T32" fmla="*/ 19 w 59"/>
                <a:gd name="T33" fmla="*/ 3 h 51"/>
                <a:gd name="T34" fmla="*/ 13 w 59"/>
                <a:gd name="T35" fmla="*/ 1 h 51"/>
                <a:gd name="T36" fmla="*/ 8 w 59"/>
                <a:gd name="T37" fmla="*/ 3 h 51"/>
                <a:gd name="T38" fmla="*/ 7 w 59"/>
                <a:gd name="T39" fmla="*/ 6 h 51"/>
                <a:gd name="T40" fmla="*/ 6 w 59"/>
                <a:gd name="T41" fmla="*/ 10 h 51"/>
                <a:gd name="T42" fmla="*/ 5 w 59"/>
                <a:gd name="T43" fmla="*/ 16 h 51"/>
                <a:gd name="T44" fmla="*/ 1 w 59"/>
                <a:gd name="T45" fmla="*/ 24 h 51"/>
                <a:gd name="T46" fmla="*/ 2 w 59"/>
                <a:gd name="T47" fmla="*/ 38 h 51"/>
                <a:gd name="T48" fmla="*/ 5 w 59"/>
                <a:gd name="T49" fmla="*/ 38 h 51"/>
                <a:gd name="T50" fmla="*/ 9 w 59"/>
                <a:gd name="T51" fmla="*/ 39 h 51"/>
                <a:gd name="T52" fmla="*/ 14 w 59"/>
                <a:gd name="T53" fmla="*/ 43 h 51"/>
                <a:gd name="T54" fmla="*/ 14 w 59"/>
                <a:gd name="T55" fmla="*/ 45 h 51"/>
                <a:gd name="T56" fmla="*/ 16 w 59"/>
                <a:gd name="T57" fmla="*/ 48 h 51"/>
                <a:gd name="T58" fmla="*/ 23 w 59"/>
                <a:gd name="T59" fmla="*/ 47 h 51"/>
                <a:gd name="T60" fmla="*/ 22 w 59"/>
                <a:gd name="T61" fmla="*/ 48 h 51"/>
                <a:gd name="T62" fmla="*/ 27 w 59"/>
                <a:gd name="T63" fmla="*/ 47 h 51"/>
                <a:gd name="T64" fmla="*/ 30 w 59"/>
                <a:gd name="T65" fmla="*/ 47 h 51"/>
                <a:gd name="T66" fmla="*/ 31 w 59"/>
                <a:gd name="T67" fmla="*/ 42 h 51"/>
                <a:gd name="T68" fmla="*/ 31 w 59"/>
                <a:gd name="T69" fmla="*/ 42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51">
                  <a:moveTo>
                    <a:pt x="31" y="42"/>
                  </a:moveTo>
                  <a:cubicBezTo>
                    <a:pt x="32" y="40"/>
                    <a:pt x="35" y="37"/>
                    <a:pt x="37" y="37"/>
                  </a:cubicBezTo>
                  <a:cubicBezTo>
                    <a:pt x="38" y="36"/>
                    <a:pt x="40" y="36"/>
                    <a:pt x="40" y="36"/>
                  </a:cubicBezTo>
                  <a:cubicBezTo>
                    <a:pt x="41" y="37"/>
                    <a:pt x="42" y="39"/>
                    <a:pt x="43" y="38"/>
                  </a:cubicBezTo>
                  <a:cubicBezTo>
                    <a:pt x="45" y="37"/>
                    <a:pt x="46" y="34"/>
                    <a:pt x="47" y="32"/>
                  </a:cubicBezTo>
                  <a:cubicBezTo>
                    <a:pt x="47" y="31"/>
                    <a:pt x="48" y="29"/>
                    <a:pt x="48" y="28"/>
                  </a:cubicBezTo>
                  <a:cubicBezTo>
                    <a:pt x="49" y="27"/>
                    <a:pt x="50" y="28"/>
                    <a:pt x="51" y="27"/>
                  </a:cubicBezTo>
                  <a:cubicBezTo>
                    <a:pt x="51" y="25"/>
                    <a:pt x="53" y="14"/>
                    <a:pt x="56" y="14"/>
                  </a:cubicBezTo>
                  <a:cubicBezTo>
                    <a:pt x="58" y="14"/>
                    <a:pt x="59" y="12"/>
                    <a:pt x="59" y="11"/>
                  </a:cubicBezTo>
                  <a:cubicBezTo>
                    <a:pt x="59" y="9"/>
                    <a:pt x="57" y="9"/>
                    <a:pt x="57" y="8"/>
                  </a:cubicBezTo>
                  <a:cubicBezTo>
                    <a:pt x="57" y="7"/>
                    <a:pt x="56" y="7"/>
                    <a:pt x="56" y="6"/>
                  </a:cubicBezTo>
                  <a:cubicBezTo>
                    <a:pt x="55" y="4"/>
                    <a:pt x="55" y="3"/>
                    <a:pt x="54" y="1"/>
                  </a:cubicBezTo>
                  <a:cubicBezTo>
                    <a:pt x="53" y="2"/>
                    <a:pt x="50" y="5"/>
                    <a:pt x="48" y="5"/>
                  </a:cubicBezTo>
                  <a:cubicBezTo>
                    <a:pt x="45" y="4"/>
                    <a:pt x="43" y="4"/>
                    <a:pt x="40" y="4"/>
                  </a:cubicBezTo>
                  <a:cubicBezTo>
                    <a:pt x="37" y="4"/>
                    <a:pt x="35" y="6"/>
                    <a:pt x="32" y="6"/>
                  </a:cubicBezTo>
                  <a:cubicBezTo>
                    <a:pt x="30" y="6"/>
                    <a:pt x="28" y="3"/>
                    <a:pt x="26" y="4"/>
                  </a:cubicBezTo>
                  <a:cubicBezTo>
                    <a:pt x="22" y="6"/>
                    <a:pt x="21" y="5"/>
                    <a:pt x="19" y="3"/>
                  </a:cubicBezTo>
                  <a:cubicBezTo>
                    <a:pt x="18" y="2"/>
                    <a:pt x="15" y="0"/>
                    <a:pt x="13" y="1"/>
                  </a:cubicBezTo>
                  <a:cubicBezTo>
                    <a:pt x="12" y="1"/>
                    <a:pt x="9" y="2"/>
                    <a:pt x="8" y="3"/>
                  </a:cubicBezTo>
                  <a:cubicBezTo>
                    <a:pt x="7" y="4"/>
                    <a:pt x="8" y="5"/>
                    <a:pt x="7" y="6"/>
                  </a:cubicBezTo>
                  <a:cubicBezTo>
                    <a:pt x="7" y="7"/>
                    <a:pt x="6" y="9"/>
                    <a:pt x="6" y="10"/>
                  </a:cubicBezTo>
                  <a:cubicBezTo>
                    <a:pt x="5" y="12"/>
                    <a:pt x="5" y="14"/>
                    <a:pt x="5" y="16"/>
                  </a:cubicBezTo>
                  <a:cubicBezTo>
                    <a:pt x="5" y="19"/>
                    <a:pt x="2" y="21"/>
                    <a:pt x="1" y="24"/>
                  </a:cubicBezTo>
                  <a:cubicBezTo>
                    <a:pt x="0" y="27"/>
                    <a:pt x="1" y="34"/>
                    <a:pt x="2" y="38"/>
                  </a:cubicBezTo>
                  <a:cubicBezTo>
                    <a:pt x="2" y="39"/>
                    <a:pt x="4" y="38"/>
                    <a:pt x="5" y="38"/>
                  </a:cubicBezTo>
                  <a:cubicBezTo>
                    <a:pt x="6" y="38"/>
                    <a:pt x="8" y="39"/>
                    <a:pt x="9" y="39"/>
                  </a:cubicBezTo>
                  <a:cubicBezTo>
                    <a:pt x="10" y="40"/>
                    <a:pt x="14" y="42"/>
                    <a:pt x="14" y="43"/>
                  </a:cubicBezTo>
                  <a:cubicBezTo>
                    <a:pt x="14" y="44"/>
                    <a:pt x="14" y="44"/>
                    <a:pt x="14" y="45"/>
                  </a:cubicBezTo>
                  <a:cubicBezTo>
                    <a:pt x="14" y="46"/>
                    <a:pt x="15" y="47"/>
                    <a:pt x="16" y="48"/>
                  </a:cubicBezTo>
                  <a:cubicBezTo>
                    <a:pt x="18" y="51"/>
                    <a:pt x="21" y="46"/>
                    <a:pt x="23" y="47"/>
                  </a:cubicBezTo>
                  <a:cubicBezTo>
                    <a:pt x="23" y="47"/>
                    <a:pt x="22" y="48"/>
                    <a:pt x="22" y="48"/>
                  </a:cubicBezTo>
                  <a:cubicBezTo>
                    <a:pt x="22" y="47"/>
                    <a:pt x="27" y="47"/>
                    <a:pt x="27" y="47"/>
                  </a:cubicBezTo>
                  <a:cubicBezTo>
                    <a:pt x="29" y="47"/>
                    <a:pt x="29" y="45"/>
                    <a:pt x="30" y="47"/>
                  </a:cubicBezTo>
                  <a:cubicBezTo>
                    <a:pt x="31" y="45"/>
                    <a:pt x="31" y="44"/>
                    <a:pt x="31" y="42"/>
                  </a:cubicBezTo>
                  <a:cubicBezTo>
                    <a:pt x="32" y="41"/>
                    <a:pt x="31" y="43"/>
                    <a:pt x="31" y="4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87" name="Freeform 758">
              <a:extLst>
                <a:ext uri="{FF2B5EF4-FFF2-40B4-BE49-F238E27FC236}">
                  <a16:creationId xmlns:a16="http://schemas.microsoft.com/office/drawing/2014/main" id="{3F32A74F-1A68-0FA3-95EC-BBCE54AFABA3}"/>
                </a:ext>
              </a:extLst>
            </p:cNvPr>
            <p:cNvSpPr>
              <a:spLocks/>
            </p:cNvSpPr>
            <p:nvPr/>
          </p:nvSpPr>
          <p:spPr bwMode="auto">
            <a:xfrm>
              <a:off x="5678444" y="3894926"/>
              <a:ext cx="221744" cy="166529"/>
            </a:xfrm>
            <a:custGeom>
              <a:avLst/>
              <a:gdLst>
                <a:gd name="T0" fmla="*/ 35 w 42"/>
                <a:gd name="T1" fmla="*/ 20 h 30"/>
                <a:gd name="T2" fmla="*/ 41 w 42"/>
                <a:gd name="T3" fmla="*/ 17 h 30"/>
                <a:gd name="T4" fmla="*/ 38 w 42"/>
                <a:gd name="T5" fmla="*/ 13 h 30"/>
                <a:gd name="T6" fmla="*/ 33 w 42"/>
                <a:gd name="T7" fmla="*/ 10 h 30"/>
                <a:gd name="T8" fmla="*/ 32 w 42"/>
                <a:gd name="T9" fmla="*/ 7 h 30"/>
                <a:gd name="T10" fmla="*/ 30 w 42"/>
                <a:gd name="T11" fmla="*/ 1 h 30"/>
                <a:gd name="T12" fmla="*/ 26 w 42"/>
                <a:gd name="T13" fmla="*/ 0 h 30"/>
                <a:gd name="T14" fmla="*/ 22 w 42"/>
                <a:gd name="T15" fmla="*/ 2 h 30"/>
                <a:gd name="T16" fmla="*/ 19 w 42"/>
                <a:gd name="T17" fmla="*/ 4 h 30"/>
                <a:gd name="T18" fmla="*/ 17 w 42"/>
                <a:gd name="T19" fmla="*/ 5 h 30"/>
                <a:gd name="T20" fmla="*/ 11 w 42"/>
                <a:gd name="T21" fmla="*/ 10 h 30"/>
                <a:gd name="T22" fmla="*/ 9 w 42"/>
                <a:gd name="T23" fmla="*/ 10 h 30"/>
                <a:gd name="T24" fmla="*/ 7 w 42"/>
                <a:gd name="T25" fmla="*/ 14 h 30"/>
                <a:gd name="T26" fmla="*/ 5 w 42"/>
                <a:gd name="T27" fmla="*/ 16 h 30"/>
                <a:gd name="T28" fmla="*/ 2 w 42"/>
                <a:gd name="T29" fmla="*/ 18 h 30"/>
                <a:gd name="T30" fmla="*/ 1 w 42"/>
                <a:gd name="T31" fmla="*/ 24 h 30"/>
                <a:gd name="T32" fmla="*/ 8 w 42"/>
                <a:gd name="T33" fmla="*/ 28 h 30"/>
                <a:gd name="T34" fmla="*/ 16 w 42"/>
                <a:gd name="T35" fmla="*/ 30 h 30"/>
                <a:gd name="T36" fmla="*/ 15 w 42"/>
                <a:gd name="T37" fmla="*/ 22 h 30"/>
                <a:gd name="T38" fmla="*/ 26 w 42"/>
                <a:gd name="T39" fmla="*/ 22 h 30"/>
                <a:gd name="T40" fmla="*/ 35 w 42"/>
                <a:gd name="T41" fmla="*/ 20 h 30"/>
                <a:gd name="T42" fmla="*/ 35 w 42"/>
                <a:gd name="T43" fmla="*/ 2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2" h="30">
                  <a:moveTo>
                    <a:pt x="35" y="20"/>
                  </a:moveTo>
                  <a:cubicBezTo>
                    <a:pt x="37" y="17"/>
                    <a:pt x="40" y="20"/>
                    <a:pt x="41" y="17"/>
                  </a:cubicBezTo>
                  <a:cubicBezTo>
                    <a:pt x="42" y="16"/>
                    <a:pt x="39" y="13"/>
                    <a:pt x="38" y="13"/>
                  </a:cubicBezTo>
                  <a:cubicBezTo>
                    <a:pt x="37" y="15"/>
                    <a:pt x="34" y="11"/>
                    <a:pt x="33" y="10"/>
                  </a:cubicBezTo>
                  <a:cubicBezTo>
                    <a:pt x="33" y="9"/>
                    <a:pt x="33" y="8"/>
                    <a:pt x="32" y="7"/>
                  </a:cubicBezTo>
                  <a:cubicBezTo>
                    <a:pt x="30" y="5"/>
                    <a:pt x="30" y="4"/>
                    <a:pt x="30" y="1"/>
                  </a:cubicBezTo>
                  <a:cubicBezTo>
                    <a:pt x="29" y="1"/>
                    <a:pt x="27" y="0"/>
                    <a:pt x="26" y="0"/>
                  </a:cubicBezTo>
                  <a:cubicBezTo>
                    <a:pt x="24" y="1"/>
                    <a:pt x="23" y="2"/>
                    <a:pt x="22" y="2"/>
                  </a:cubicBezTo>
                  <a:cubicBezTo>
                    <a:pt x="21" y="3"/>
                    <a:pt x="20" y="4"/>
                    <a:pt x="19" y="4"/>
                  </a:cubicBezTo>
                  <a:cubicBezTo>
                    <a:pt x="18" y="6"/>
                    <a:pt x="18" y="4"/>
                    <a:pt x="17" y="5"/>
                  </a:cubicBezTo>
                  <a:cubicBezTo>
                    <a:pt x="15" y="6"/>
                    <a:pt x="13" y="11"/>
                    <a:pt x="11" y="10"/>
                  </a:cubicBezTo>
                  <a:cubicBezTo>
                    <a:pt x="10" y="10"/>
                    <a:pt x="9" y="8"/>
                    <a:pt x="9" y="10"/>
                  </a:cubicBezTo>
                  <a:cubicBezTo>
                    <a:pt x="8" y="11"/>
                    <a:pt x="8" y="13"/>
                    <a:pt x="7" y="14"/>
                  </a:cubicBezTo>
                  <a:cubicBezTo>
                    <a:pt x="7" y="15"/>
                    <a:pt x="7" y="16"/>
                    <a:pt x="5" y="16"/>
                  </a:cubicBezTo>
                  <a:cubicBezTo>
                    <a:pt x="5" y="16"/>
                    <a:pt x="1" y="17"/>
                    <a:pt x="2" y="18"/>
                  </a:cubicBezTo>
                  <a:cubicBezTo>
                    <a:pt x="5" y="20"/>
                    <a:pt x="0" y="23"/>
                    <a:pt x="1" y="24"/>
                  </a:cubicBezTo>
                  <a:cubicBezTo>
                    <a:pt x="3" y="25"/>
                    <a:pt x="5" y="30"/>
                    <a:pt x="8" y="28"/>
                  </a:cubicBezTo>
                  <a:cubicBezTo>
                    <a:pt x="11" y="26"/>
                    <a:pt x="13" y="27"/>
                    <a:pt x="16" y="30"/>
                  </a:cubicBezTo>
                  <a:cubicBezTo>
                    <a:pt x="15" y="27"/>
                    <a:pt x="15" y="24"/>
                    <a:pt x="15" y="22"/>
                  </a:cubicBezTo>
                  <a:cubicBezTo>
                    <a:pt x="19" y="22"/>
                    <a:pt x="22" y="22"/>
                    <a:pt x="26" y="22"/>
                  </a:cubicBezTo>
                  <a:cubicBezTo>
                    <a:pt x="29" y="22"/>
                    <a:pt x="34" y="23"/>
                    <a:pt x="35" y="20"/>
                  </a:cubicBezTo>
                  <a:cubicBezTo>
                    <a:pt x="36" y="18"/>
                    <a:pt x="35" y="20"/>
                    <a:pt x="35" y="2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88" name="Freeform 759">
              <a:extLst>
                <a:ext uri="{FF2B5EF4-FFF2-40B4-BE49-F238E27FC236}">
                  <a16:creationId xmlns:a16="http://schemas.microsoft.com/office/drawing/2014/main" id="{7A0E4938-C1E1-A0C2-C691-D3BDE233CA7F}"/>
                </a:ext>
              </a:extLst>
            </p:cNvPr>
            <p:cNvSpPr>
              <a:spLocks/>
            </p:cNvSpPr>
            <p:nvPr/>
          </p:nvSpPr>
          <p:spPr bwMode="auto">
            <a:xfrm>
              <a:off x="5826869" y="4017930"/>
              <a:ext cx="51859" cy="132467"/>
            </a:xfrm>
            <a:custGeom>
              <a:avLst/>
              <a:gdLst>
                <a:gd name="T0" fmla="*/ 9 w 10"/>
                <a:gd name="T1" fmla="*/ 10 h 24"/>
                <a:gd name="T2" fmla="*/ 8 w 10"/>
                <a:gd name="T3" fmla="*/ 6 h 24"/>
                <a:gd name="T4" fmla="*/ 5 w 10"/>
                <a:gd name="T5" fmla="*/ 0 h 24"/>
                <a:gd name="T6" fmla="*/ 2 w 10"/>
                <a:gd name="T7" fmla="*/ 0 h 24"/>
                <a:gd name="T8" fmla="*/ 2 w 10"/>
                <a:gd name="T9" fmla="*/ 3 h 24"/>
                <a:gd name="T10" fmla="*/ 2 w 10"/>
                <a:gd name="T11" fmla="*/ 9 h 24"/>
                <a:gd name="T12" fmla="*/ 4 w 10"/>
                <a:gd name="T13" fmla="*/ 15 h 24"/>
                <a:gd name="T14" fmla="*/ 4 w 10"/>
                <a:gd name="T15" fmla="*/ 21 h 24"/>
                <a:gd name="T16" fmla="*/ 6 w 10"/>
                <a:gd name="T17" fmla="*/ 23 h 24"/>
                <a:gd name="T18" fmla="*/ 9 w 10"/>
                <a:gd name="T19" fmla="*/ 23 h 24"/>
                <a:gd name="T20" fmla="*/ 9 w 10"/>
                <a:gd name="T21" fmla="*/ 10 h 24"/>
                <a:gd name="T22" fmla="*/ 9 w 10"/>
                <a:gd name="T23" fmla="*/ 1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" h="24">
                  <a:moveTo>
                    <a:pt x="9" y="10"/>
                  </a:moveTo>
                  <a:cubicBezTo>
                    <a:pt x="9" y="9"/>
                    <a:pt x="9" y="7"/>
                    <a:pt x="8" y="6"/>
                  </a:cubicBezTo>
                  <a:cubicBezTo>
                    <a:pt x="7" y="5"/>
                    <a:pt x="4" y="1"/>
                    <a:pt x="5" y="0"/>
                  </a:cubicBezTo>
                  <a:cubicBezTo>
                    <a:pt x="4" y="0"/>
                    <a:pt x="3" y="0"/>
                    <a:pt x="2" y="0"/>
                  </a:cubicBezTo>
                  <a:cubicBezTo>
                    <a:pt x="0" y="0"/>
                    <a:pt x="2" y="2"/>
                    <a:pt x="2" y="3"/>
                  </a:cubicBezTo>
                  <a:cubicBezTo>
                    <a:pt x="3" y="5"/>
                    <a:pt x="2" y="7"/>
                    <a:pt x="2" y="9"/>
                  </a:cubicBezTo>
                  <a:cubicBezTo>
                    <a:pt x="1" y="12"/>
                    <a:pt x="3" y="12"/>
                    <a:pt x="4" y="15"/>
                  </a:cubicBezTo>
                  <a:cubicBezTo>
                    <a:pt x="4" y="17"/>
                    <a:pt x="3" y="19"/>
                    <a:pt x="4" y="21"/>
                  </a:cubicBezTo>
                  <a:cubicBezTo>
                    <a:pt x="4" y="22"/>
                    <a:pt x="5" y="23"/>
                    <a:pt x="6" y="23"/>
                  </a:cubicBezTo>
                  <a:cubicBezTo>
                    <a:pt x="7" y="24"/>
                    <a:pt x="10" y="24"/>
                    <a:pt x="9" y="23"/>
                  </a:cubicBezTo>
                  <a:cubicBezTo>
                    <a:pt x="9" y="19"/>
                    <a:pt x="9" y="15"/>
                    <a:pt x="9" y="10"/>
                  </a:cubicBezTo>
                  <a:cubicBezTo>
                    <a:pt x="9" y="7"/>
                    <a:pt x="9" y="13"/>
                    <a:pt x="9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89" name="Freeform 760">
              <a:extLst>
                <a:ext uri="{FF2B5EF4-FFF2-40B4-BE49-F238E27FC236}">
                  <a16:creationId xmlns:a16="http://schemas.microsoft.com/office/drawing/2014/main" id="{044B1C65-E171-124F-CF3B-42B7D04D2D6C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1548" y="4023608"/>
              <a:ext cx="166307" cy="172206"/>
            </a:xfrm>
            <a:custGeom>
              <a:avLst/>
              <a:gdLst>
                <a:gd name="T0" fmla="*/ 26 w 32"/>
                <a:gd name="T1" fmla="*/ 4 h 31"/>
                <a:gd name="T2" fmla="*/ 21 w 32"/>
                <a:gd name="T3" fmla="*/ 5 h 31"/>
                <a:gd name="T4" fmla="*/ 15 w 32"/>
                <a:gd name="T5" fmla="*/ 1 h 31"/>
                <a:gd name="T6" fmla="*/ 13 w 32"/>
                <a:gd name="T7" fmla="*/ 1 h 31"/>
                <a:gd name="T8" fmla="*/ 10 w 32"/>
                <a:gd name="T9" fmla="*/ 2 h 31"/>
                <a:gd name="T10" fmla="*/ 6 w 32"/>
                <a:gd name="T11" fmla="*/ 2 h 31"/>
                <a:gd name="T12" fmla="*/ 4 w 32"/>
                <a:gd name="T13" fmla="*/ 3 h 31"/>
                <a:gd name="T14" fmla="*/ 3 w 32"/>
                <a:gd name="T15" fmla="*/ 6 h 31"/>
                <a:gd name="T16" fmla="*/ 5 w 32"/>
                <a:gd name="T17" fmla="*/ 7 h 31"/>
                <a:gd name="T18" fmla="*/ 3 w 32"/>
                <a:gd name="T19" fmla="*/ 9 h 31"/>
                <a:gd name="T20" fmla="*/ 5 w 32"/>
                <a:gd name="T21" fmla="*/ 12 h 31"/>
                <a:gd name="T22" fmla="*/ 3 w 32"/>
                <a:gd name="T23" fmla="*/ 13 h 31"/>
                <a:gd name="T24" fmla="*/ 2 w 32"/>
                <a:gd name="T25" fmla="*/ 16 h 31"/>
                <a:gd name="T26" fmla="*/ 2 w 32"/>
                <a:gd name="T27" fmla="*/ 19 h 31"/>
                <a:gd name="T28" fmla="*/ 3 w 32"/>
                <a:gd name="T29" fmla="*/ 23 h 31"/>
                <a:gd name="T30" fmla="*/ 7 w 32"/>
                <a:gd name="T31" fmla="*/ 26 h 31"/>
                <a:gd name="T32" fmla="*/ 7 w 32"/>
                <a:gd name="T33" fmla="*/ 31 h 31"/>
                <a:gd name="T34" fmla="*/ 19 w 32"/>
                <a:gd name="T35" fmla="*/ 28 h 31"/>
                <a:gd name="T36" fmla="*/ 26 w 32"/>
                <a:gd name="T37" fmla="*/ 28 h 31"/>
                <a:gd name="T38" fmla="*/ 30 w 32"/>
                <a:gd name="T39" fmla="*/ 26 h 31"/>
                <a:gd name="T40" fmla="*/ 28 w 32"/>
                <a:gd name="T41" fmla="*/ 21 h 31"/>
                <a:gd name="T42" fmla="*/ 30 w 32"/>
                <a:gd name="T43" fmla="*/ 15 h 31"/>
                <a:gd name="T44" fmla="*/ 26 w 32"/>
                <a:gd name="T45" fmla="*/ 4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2" h="31">
                  <a:moveTo>
                    <a:pt x="26" y="4"/>
                  </a:moveTo>
                  <a:cubicBezTo>
                    <a:pt x="24" y="4"/>
                    <a:pt x="23" y="6"/>
                    <a:pt x="21" y="5"/>
                  </a:cubicBezTo>
                  <a:cubicBezTo>
                    <a:pt x="19" y="5"/>
                    <a:pt x="17" y="0"/>
                    <a:pt x="15" y="1"/>
                  </a:cubicBezTo>
                  <a:cubicBezTo>
                    <a:pt x="14" y="2"/>
                    <a:pt x="13" y="2"/>
                    <a:pt x="13" y="1"/>
                  </a:cubicBezTo>
                  <a:cubicBezTo>
                    <a:pt x="12" y="0"/>
                    <a:pt x="11" y="2"/>
                    <a:pt x="10" y="2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5" y="1"/>
                    <a:pt x="5" y="3"/>
                    <a:pt x="4" y="3"/>
                  </a:cubicBezTo>
                  <a:cubicBezTo>
                    <a:pt x="3" y="3"/>
                    <a:pt x="2" y="5"/>
                    <a:pt x="3" y="6"/>
                  </a:cubicBezTo>
                  <a:cubicBezTo>
                    <a:pt x="3" y="7"/>
                    <a:pt x="5" y="7"/>
                    <a:pt x="5" y="7"/>
                  </a:cubicBezTo>
                  <a:cubicBezTo>
                    <a:pt x="5" y="8"/>
                    <a:pt x="3" y="9"/>
                    <a:pt x="3" y="9"/>
                  </a:cubicBezTo>
                  <a:cubicBezTo>
                    <a:pt x="3" y="10"/>
                    <a:pt x="5" y="11"/>
                    <a:pt x="5" y="12"/>
                  </a:cubicBezTo>
                  <a:cubicBezTo>
                    <a:pt x="5" y="12"/>
                    <a:pt x="3" y="11"/>
                    <a:pt x="3" y="13"/>
                  </a:cubicBezTo>
                  <a:cubicBezTo>
                    <a:pt x="3" y="14"/>
                    <a:pt x="4" y="16"/>
                    <a:pt x="2" y="16"/>
                  </a:cubicBezTo>
                  <a:cubicBezTo>
                    <a:pt x="3" y="17"/>
                    <a:pt x="3" y="18"/>
                    <a:pt x="2" y="19"/>
                  </a:cubicBezTo>
                  <a:cubicBezTo>
                    <a:pt x="2" y="21"/>
                    <a:pt x="0" y="21"/>
                    <a:pt x="3" y="23"/>
                  </a:cubicBezTo>
                  <a:cubicBezTo>
                    <a:pt x="4" y="23"/>
                    <a:pt x="6" y="24"/>
                    <a:pt x="7" y="26"/>
                  </a:cubicBezTo>
                  <a:cubicBezTo>
                    <a:pt x="8" y="27"/>
                    <a:pt x="7" y="29"/>
                    <a:pt x="7" y="31"/>
                  </a:cubicBezTo>
                  <a:cubicBezTo>
                    <a:pt x="11" y="30"/>
                    <a:pt x="14" y="28"/>
                    <a:pt x="19" y="28"/>
                  </a:cubicBezTo>
                  <a:cubicBezTo>
                    <a:pt x="21" y="27"/>
                    <a:pt x="24" y="28"/>
                    <a:pt x="26" y="28"/>
                  </a:cubicBezTo>
                  <a:cubicBezTo>
                    <a:pt x="28" y="28"/>
                    <a:pt x="31" y="29"/>
                    <a:pt x="30" y="26"/>
                  </a:cubicBezTo>
                  <a:cubicBezTo>
                    <a:pt x="30" y="24"/>
                    <a:pt x="29" y="23"/>
                    <a:pt x="28" y="21"/>
                  </a:cubicBezTo>
                  <a:cubicBezTo>
                    <a:pt x="28" y="19"/>
                    <a:pt x="29" y="17"/>
                    <a:pt x="30" y="15"/>
                  </a:cubicBezTo>
                  <a:cubicBezTo>
                    <a:pt x="31" y="11"/>
                    <a:pt x="32" y="4"/>
                    <a:pt x="26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90" name="Freeform 761">
              <a:extLst>
                <a:ext uri="{FF2B5EF4-FFF2-40B4-BE49-F238E27FC236}">
                  <a16:creationId xmlns:a16="http://schemas.microsoft.com/office/drawing/2014/main" id="{731B3084-B5C9-7E23-FD36-C4B305CA7F19}"/>
                </a:ext>
              </a:extLst>
            </p:cNvPr>
            <p:cNvSpPr>
              <a:spLocks/>
            </p:cNvSpPr>
            <p:nvPr/>
          </p:nvSpPr>
          <p:spPr bwMode="auto">
            <a:xfrm>
              <a:off x="5742820" y="4017930"/>
              <a:ext cx="119815" cy="166529"/>
            </a:xfrm>
            <a:custGeom>
              <a:avLst/>
              <a:gdLst>
                <a:gd name="T0" fmla="*/ 19 w 23"/>
                <a:gd name="T1" fmla="*/ 13 h 30"/>
                <a:gd name="T2" fmla="*/ 18 w 23"/>
                <a:gd name="T3" fmla="*/ 6 h 30"/>
                <a:gd name="T4" fmla="*/ 17 w 23"/>
                <a:gd name="T5" fmla="*/ 0 h 30"/>
                <a:gd name="T6" fmla="*/ 3 w 23"/>
                <a:gd name="T7" fmla="*/ 0 h 30"/>
                <a:gd name="T8" fmla="*/ 4 w 23"/>
                <a:gd name="T9" fmla="*/ 11 h 30"/>
                <a:gd name="T10" fmla="*/ 1 w 23"/>
                <a:gd name="T11" fmla="*/ 22 h 30"/>
                <a:gd name="T12" fmla="*/ 3 w 23"/>
                <a:gd name="T13" fmla="*/ 30 h 30"/>
                <a:gd name="T14" fmla="*/ 10 w 23"/>
                <a:gd name="T15" fmla="*/ 29 h 30"/>
                <a:gd name="T16" fmla="*/ 23 w 23"/>
                <a:gd name="T17" fmla="*/ 24 h 30"/>
                <a:gd name="T18" fmla="*/ 20 w 23"/>
                <a:gd name="T19" fmla="*/ 19 h 30"/>
                <a:gd name="T20" fmla="*/ 19 w 23"/>
                <a:gd name="T21" fmla="*/ 13 h 30"/>
                <a:gd name="T22" fmla="*/ 19 w 23"/>
                <a:gd name="T23" fmla="*/ 13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30">
                  <a:moveTo>
                    <a:pt x="19" y="13"/>
                  </a:moveTo>
                  <a:cubicBezTo>
                    <a:pt x="17" y="11"/>
                    <a:pt x="18" y="8"/>
                    <a:pt x="18" y="6"/>
                  </a:cubicBezTo>
                  <a:cubicBezTo>
                    <a:pt x="19" y="4"/>
                    <a:pt x="16" y="2"/>
                    <a:pt x="17" y="0"/>
                  </a:cubicBezTo>
                  <a:cubicBezTo>
                    <a:pt x="12" y="0"/>
                    <a:pt x="8" y="0"/>
                    <a:pt x="3" y="0"/>
                  </a:cubicBezTo>
                  <a:cubicBezTo>
                    <a:pt x="3" y="3"/>
                    <a:pt x="4" y="7"/>
                    <a:pt x="4" y="11"/>
                  </a:cubicBezTo>
                  <a:cubicBezTo>
                    <a:pt x="4" y="15"/>
                    <a:pt x="0" y="18"/>
                    <a:pt x="1" y="22"/>
                  </a:cubicBezTo>
                  <a:cubicBezTo>
                    <a:pt x="2" y="25"/>
                    <a:pt x="4" y="26"/>
                    <a:pt x="3" y="30"/>
                  </a:cubicBezTo>
                  <a:cubicBezTo>
                    <a:pt x="6" y="30"/>
                    <a:pt x="7" y="30"/>
                    <a:pt x="10" y="29"/>
                  </a:cubicBezTo>
                  <a:cubicBezTo>
                    <a:pt x="15" y="28"/>
                    <a:pt x="19" y="26"/>
                    <a:pt x="23" y="24"/>
                  </a:cubicBezTo>
                  <a:cubicBezTo>
                    <a:pt x="21" y="23"/>
                    <a:pt x="20" y="21"/>
                    <a:pt x="20" y="19"/>
                  </a:cubicBezTo>
                  <a:cubicBezTo>
                    <a:pt x="20" y="17"/>
                    <a:pt x="20" y="15"/>
                    <a:pt x="19" y="13"/>
                  </a:cubicBezTo>
                  <a:cubicBezTo>
                    <a:pt x="17" y="11"/>
                    <a:pt x="20" y="15"/>
                    <a:pt x="19" y="1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91" name="Freeform 762">
              <a:extLst>
                <a:ext uri="{FF2B5EF4-FFF2-40B4-BE49-F238E27FC236}">
                  <a16:creationId xmlns:a16="http://schemas.microsoft.com/office/drawing/2014/main" id="{E290FDF3-4D6D-CFFC-47D7-416ADFFB5D95}"/>
                </a:ext>
              </a:extLst>
            </p:cNvPr>
            <p:cNvSpPr>
              <a:spLocks/>
            </p:cNvSpPr>
            <p:nvPr/>
          </p:nvSpPr>
          <p:spPr bwMode="auto">
            <a:xfrm>
              <a:off x="5479947" y="4034961"/>
              <a:ext cx="78683" cy="100296"/>
            </a:xfrm>
            <a:custGeom>
              <a:avLst/>
              <a:gdLst>
                <a:gd name="T0" fmla="*/ 12 w 15"/>
                <a:gd name="T1" fmla="*/ 14 h 18"/>
                <a:gd name="T2" fmla="*/ 14 w 15"/>
                <a:gd name="T3" fmla="*/ 6 h 18"/>
                <a:gd name="T4" fmla="*/ 5 w 15"/>
                <a:gd name="T5" fmla="*/ 3 h 18"/>
                <a:gd name="T6" fmla="*/ 1 w 15"/>
                <a:gd name="T7" fmla="*/ 8 h 18"/>
                <a:gd name="T8" fmla="*/ 4 w 15"/>
                <a:gd name="T9" fmla="*/ 12 h 18"/>
                <a:gd name="T10" fmla="*/ 7 w 15"/>
                <a:gd name="T11" fmla="*/ 16 h 18"/>
                <a:gd name="T12" fmla="*/ 10 w 15"/>
                <a:gd name="T13" fmla="*/ 16 h 18"/>
                <a:gd name="T14" fmla="*/ 12 w 15"/>
                <a:gd name="T15" fmla="*/ 14 h 18"/>
                <a:gd name="T16" fmla="*/ 12 w 15"/>
                <a:gd name="T17" fmla="*/ 1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18">
                  <a:moveTo>
                    <a:pt x="12" y="14"/>
                  </a:moveTo>
                  <a:cubicBezTo>
                    <a:pt x="15" y="13"/>
                    <a:pt x="15" y="8"/>
                    <a:pt x="14" y="6"/>
                  </a:cubicBezTo>
                  <a:cubicBezTo>
                    <a:pt x="12" y="2"/>
                    <a:pt x="8" y="0"/>
                    <a:pt x="5" y="3"/>
                  </a:cubicBezTo>
                  <a:cubicBezTo>
                    <a:pt x="3" y="4"/>
                    <a:pt x="0" y="6"/>
                    <a:pt x="1" y="8"/>
                  </a:cubicBezTo>
                  <a:cubicBezTo>
                    <a:pt x="2" y="10"/>
                    <a:pt x="2" y="11"/>
                    <a:pt x="4" y="12"/>
                  </a:cubicBezTo>
                  <a:cubicBezTo>
                    <a:pt x="5" y="14"/>
                    <a:pt x="5" y="15"/>
                    <a:pt x="7" y="16"/>
                  </a:cubicBezTo>
                  <a:cubicBezTo>
                    <a:pt x="8" y="17"/>
                    <a:pt x="9" y="18"/>
                    <a:pt x="10" y="16"/>
                  </a:cubicBezTo>
                  <a:cubicBezTo>
                    <a:pt x="10" y="15"/>
                    <a:pt x="11" y="15"/>
                    <a:pt x="12" y="14"/>
                  </a:cubicBezTo>
                  <a:cubicBezTo>
                    <a:pt x="14" y="13"/>
                    <a:pt x="11" y="15"/>
                    <a:pt x="12" y="1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92" name="Freeform 763">
              <a:extLst>
                <a:ext uri="{FF2B5EF4-FFF2-40B4-BE49-F238E27FC236}">
                  <a16:creationId xmlns:a16="http://schemas.microsoft.com/office/drawing/2014/main" id="{E4885FBF-F536-679D-716A-AAD3F3E49473}"/>
                </a:ext>
              </a:extLst>
            </p:cNvPr>
            <p:cNvSpPr>
              <a:spLocks/>
            </p:cNvSpPr>
            <p:nvPr/>
          </p:nvSpPr>
          <p:spPr bwMode="auto">
            <a:xfrm>
              <a:off x="5526441" y="4078486"/>
              <a:ext cx="116236" cy="117328"/>
            </a:xfrm>
            <a:custGeom>
              <a:avLst/>
              <a:gdLst>
                <a:gd name="T0" fmla="*/ 21 w 22"/>
                <a:gd name="T1" fmla="*/ 17 h 21"/>
                <a:gd name="T2" fmla="*/ 19 w 22"/>
                <a:gd name="T3" fmla="*/ 13 h 21"/>
                <a:gd name="T4" fmla="*/ 16 w 22"/>
                <a:gd name="T5" fmla="*/ 11 h 21"/>
                <a:gd name="T6" fmla="*/ 16 w 22"/>
                <a:gd name="T7" fmla="*/ 6 h 21"/>
                <a:gd name="T8" fmla="*/ 13 w 22"/>
                <a:gd name="T9" fmla="*/ 8 h 21"/>
                <a:gd name="T10" fmla="*/ 9 w 22"/>
                <a:gd name="T11" fmla="*/ 1 h 21"/>
                <a:gd name="T12" fmla="*/ 5 w 22"/>
                <a:gd name="T13" fmla="*/ 4 h 21"/>
                <a:gd name="T14" fmla="*/ 0 w 22"/>
                <a:gd name="T15" fmla="*/ 9 h 21"/>
                <a:gd name="T16" fmla="*/ 12 w 22"/>
                <a:gd name="T17" fmla="*/ 18 h 21"/>
                <a:gd name="T18" fmla="*/ 19 w 22"/>
                <a:gd name="T19" fmla="*/ 21 h 21"/>
                <a:gd name="T20" fmla="*/ 21 w 22"/>
                <a:gd name="T21" fmla="*/ 17 h 21"/>
                <a:gd name="T22" fmla="*/ 21 w 22"/>
                <a:gd name="T23" fmla="*/ 1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" h="21">
                  <a:moveTo>
                    <a:pt x="21" y="17"/>
                  </a:moveTo>
                  <a:cubicBezTo>
                    <a:pt x="22" y="15"/>
                    <a:pt x="20" y="14"/>
                    <a:pt x="19" y="13"/>
                  </a:cubicBezTo>
                  <a:cubicBezTo>
                    <a:pt x="18" y="13"/>
                    <a:pt x="14" y="12"/>
                    <a:pt x="16" y="11"/>
                  </a:cubicBezTo>
                  <a:cubicBezTo>
                    <a:pt x="17" y="10"/>
                    <a:pt x="17" y="7"/>
                    <a:pt x="16" y="6"/>
                  </a:cubicBezTo>
                  <a:cubicBezTo>
                    <a:pt x="15" y="4"/>
                    <a:pt x="14" y="8"/>
                    <a:pt x="13" y="8"/>
                  </a:cubicBezTo>
                  <a:cubicBezTo>
                    <a:pt x="10" y="8"/>
                    <a:pt x="11" y="0"/>
                    <a:pt x="9" y="1"/>
                  </a:cubicBezTo>
                  <a:cubicBezTo>
                    <a:pt x="8" y="2"/>
                    <a:pt x="6" y="3"/>
                    <a:pt x="5" y="4"/>
                  </a:cubicBezTo>
                  <a:cubicBezTo>
                    <a:pt x="4" y="6"/>
                    <a:pt x="2" y="7"/>
                    <a:pt x="0" y="9"/>
                  </a:cubicBezTo>
                  <a:cubicBezTo>
                    <a:pt x="5" y="12"/>
                    <a:pt x="8" y="15"/>
                    <a:pt x="12" y="18"/>
                  </a:cubicBezTo>
                  <a:cubicBezTo>
                    <a:pt x="14" y="20"/>
                    <a:pt x="16" y="21"/>
                    <a:pt x="19" y="21"/>
                  </a:cubicBezTo>
                  <a:cubicBezTo>
                    <a:pt x="22" y="21"/>
                    <a:pt x="20" y="19"/>
                    <a:pt x="21" y="17"/>
                  </a:cubicBezTo>
                  <a:cubicBezTo>
                    <a:pt x="22" y="15"/>
                    <a:pt x="21" y="19"/>
                    <a:pt x="21" y="1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93" name="Freeform 764">
              <a:extLst>
                <a:ext uri="{FF2B5EF4-FFF2-40B4-BE49-F238E27FC236}">
                  <a16:creationId xmlns:a16="http://schemas.microsoft.com/office/drawing/2014/main" id="{DA820BBA-7A5D-222A-EF05-D87B7785421D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4181" y="3966838"/>
              <a:ext cx="182402" cy="162744"/>
            </a:xfrm>
            <a:custGeom>
              <a:avLst/>
              <a:gdLst>
                <a:gd name="T0" fmla="*/ 10 w 35"/>
                <a:gd name="T1" fmla="*/ 16 h 29"/>
                <a:gd name="T2" fmla="*/ 20 w 35"/>
                <a:gd name="T3" fmla="*/ 17 h 29"/>
                <a:gd name="T4" fmla="*/ 21 w 35"/>
                <a:gd name="T5" fmla="*/ 23 h 29"/>
                <a:gd name="T6" fmla="*/ 25 w 35"/>
                <a:gd name="T7" fmla="*/ 21 h 29"/>
                <a:gd name="T8" fmla="*/ 29 w 35"/>
                <a:gd name="T9" fmla="*/ 27 h 29"/>
                <a:gd name="T10" fmla="*/ 31 w 35"/>
                <a:gd name="T11" fmla="*/ 26 h 29"/>
                <a:gd name="T12" fmla="*/ 33 w 35"/>
                <a:gd name="T13" fmla="*/ 25 h 29"/>
                <a:gd name="T14" fmla="*/ 33 w 35"/>
                <a:gd name="T15" fmla="*/ 23 h 29"/>
                <a:gd name="T16" fmla="*/ 35 w 35"/>
                <a:gd name="T17" fmla="*/ 22 h 29"/>
                <a:gd name="T18" fmla="*/ 34 w 35"/>
                <a:gd name="T19" fmla="*/ 19 h 29"/>
                <a:gd name="T20" fmla="*/ 33 w 35"/>
                <a:gd name="T21" fmla="*/ 16 h 29"/>
                <a:gd name="T22" fmla="*/ 33 w 35"/>
                <a:gd name="T23" fmla="*/ 12 h 29"/>
                <a:gd name="T24" fmla="*/ 32 w 35"/>
                <a:gd name="T25" fmla="*/ 8 h 29"/>
                <a:gd name="T26" fmla="*/ 26 w 35"/>
                <a:gd name="T27" fmla="*/ 2 h 29"/>
                <a:gd name="T28" fmla="*/ 24 w 35"/>
                <a:gd name="T29" fmla="*/ 3 h 29"/>
                <a:gd name="T30" fmla="*/ 22 w 35"/>
                <a:gd name="T31" fmla="*/ 3 h 29"/>
                <a:gd name="T32" fmla="*/ 19 w 35"/>
                <a:gd name="T33" fmla="*/ 3 h 29"/>
                <a:gd name="T34" fmla="*/ 18 w 35"/>
                <a:gd name="T35" fmla="*/ 3 h 29"/>
                <a:gd name="T36" fmla="*/ 15 w 35"/>
                <a:gd name="T37" fmla="*/ 2 h 29"/>
                <a:gd name="T38" fmla="*/ 10 w 35"/>
                <a:gd name="T39" fmla="*/ 1 h 29"/>
                <a:gd name="T40" fmla="*/ 5 w 35"/>
                <a:gd name="T41" fmla="*/ 1 h 29"/>
                <a:gd name="T42" fmla="*/ 5 w 35"/>
                <a:gd name="T43" fmla="*/ 4 h 29"/>
                <a:gd name="T44" fmla="*/ 3 w 35"/>
                <a:gd name="T45" fmla="*/ 6 h 29"/>
                <a:gd name="T46" fmla="*/ 0 w 35"/>
                <a:gd name="T47" fmla="*/ 8 h 29"/>
                <a:gd name="T48" fmla="*/ 3 w 35"/>
                <a:gd name="T49" fmla="*/ 13 h 29"/>
                <a:gd name="T50" fmla="*/ 8 w 35"/>
                <a:gd name="T51" fmla="*/ 19 h 29"/>
                <a:gd name="T52" fmla="*/ 10 w 35"/>
                <a:gd name="T53" fmla="*/ 16 h 29"/>
                <a:gd name="T54" fmla="*/ 10 w 35"/>
                <a:gd name="T55" fmla="*/ 16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5" h="29">
                  <a:moveTo>
                    <a:pt x="10" y="16"/>
                  </a:moveTo>
                  <a:cubicBezTo>
                    <a:pt x="14" y="14"/>
                    <a:pt x="18" y="12"/>
                    <a:pt x="20" y="17"/>
                  </a:cubicBezTo>
                  <a:cubicBezTo>
                    <a:pt x="22" y="19"/>
                    <a:pt x="21" y="20"/>
                    <a:pt x="21" y="23"/>
                  </a:cubicBezTo>
                  <a:cubicBezTo>
                    <a:pt x="22" y="24"/>
                    <a:pt x="24" y="21"/>
                    <a:pt x="25" y="21"/>
                  </a:cubicBezTo>
                  <a:cubicBezTo>
                    <a:pt x="27" y="20"/>
                    <a:pt x="27" y="29"/>
                    <a:pt x="29" y="27"/>
                  </a:cubicBezTo>
                  <a:cubicBezTo>
                    <a:pt x="30" y="27"/>
                    <a:pt x="30" y="26"/>
                    <a:pt x="31" y="26"/>
                  </a:cubicBezTo>
                  <a:cubicBezTo>
                    <a:pt x="31" y="25"/>
                    <a:pt x="33" y="26"/>
                    <a:pt x="33" y="25"/>
                  </a:cubicBezTo>
                  <a:cubicBezTo>
                    <a:pt x="34" y="24"/>
                    <a:pt x="33" y="23"/>
                    <a:pt x="33" y="23"/>
                  </a:cubicBezTo>
                  <a:cubicBezTo>
                    <a:pt x="33" y="21"/>
                    <a:pt x="35" y="22"/>
                    <a:pt x="35" y="22"/>
                  </a:cubicBezTo>
                  <a:cubicBezTo>
                    <a:pt x="35" y="21"/>
                    <a:pt x="32" y="20"/>
                    <a:pt x="34" y="19"/>
                  </a:cubicBezTo>
                  <a:cubicBezTo>
                    <a:pt x="35" y="18"/>
                    <a:pt x="35" y="17"/>
                    <a:pt x="33" y="16"/>
                  </a:cubicBezTo>
                  <a:cubicBezTo>
                    <a:pt x="32" y="15"/>
                    <a:pt x="34" y="13"/>
                    <a:pt x="33" y="12"/>
                  </a:cubicBezTo>
                  <a:cubicBezTo>
                    <a:pt x="32" y="11"/>
                    <a:pt x="33" y="10"/>
                    <a:pt x="32" y="8"/>
                  </a:cubicBezTo>
                  <a:cubicBezTo>
                    <a:pt x="31" y="7"/>
                    <a:pt x="29" y="0"/>
                    <a:pt x="26" y="2"/>
                  </a:cubicBezTo>
                  <a:cubicBezTo>
                    <a:pt x="26" y="2"/>
                    <a:pt x="25" y="3"/>
                    <a:pt x="24" y="3"/>
                  </a:cubicBezTo>
                  <a:cubicBezTo>
                    <a:pt x="23" y="3"/>
                    <a:pt x="23" y="3"/>
                    <a:pt x="22" y="3"/>
                  </a:cubicBezTo>
                  <a:cubicBezTo>
                    <a:pt x="21" y="4"/>
                    <a:pt x="20" y="3"/>
                    <a:pt x="19" y="3"/>
                  </a:cubicBezTo>
                  <a:cubicBezTo>
                    <a:pt x="18" y="3"/>
                    <a:pt x="18" y="4"/>
                    <a:pt x="18" y="3"/>
                  </a:cubicBezTo>
                  <a:cubicBezTo>
                    <a:pt x="16" y="2"/>
                    <a:pt x="17" y="2"/>
                    <a:pt x="15" y="2"/>
                  </a:cubicBezTo>
                  <a:cubicBezTo>
                    <a:pt x="12" y="3"/>
                    <a:pt x="12" y="1"/>
                    <a:pt x="10" y="1"/>
                  </a:cubicBezTo>
                  <a:cubicBezTo>
                    <a:pt x="8" y="0"/>
                    <a:pt x="6" y="0"/>
                    <a:pt x="5" y="1"/>
                  </a:cubicBezTo>
                  <a:cubicBezTo>
                    <a:pt x="5" y="2"/>
                    <a:pt x="3" y="3"/>
                    <a:pt x="5" y="4"/>
                  </a:cubicBezTo>
                  <a:cubicBezTo>
                    <a:pt x="6" y="5"/>
                    <a:pt x="5" y="6"/>
                    <a:pt x="3" y="6"/>
                  </a:cubicBezTo>
                  <a:cubicBezTo>
                    <a:pt x="1" y="6"/>
                    <a:pt x="0" y="6"/>
                    <a:pt x="0" y="8"/>
                  </a:cubicBezTo>
                  <a:cubicBezTo>
                    <a:pt x="1" y="10"/>
                    <a:pt x="2" y="11"/>
                    <a:pt x="3" y="13"/>
                  </a:cubicBezTo>
                  <a:cubicBezTo>
                    <a:pt x="5" y="15"/>
                    <a:pt x="6" y="16"/>
                    <a:pt x="8" y="19"/>
                  </a:cubicBezTo>
                  <a:cubicBezTo>
                    <a:pt x="9" y="18"/>
                    <a:pt x="9" y="17"/>
                    <a:pt x="10" y="16"/>
                  </a:cubicBezTo>
                  <a:cubicBezTo>
                    <a:pt x="11" y="16"/>
                    <a:pt x="10" y="17"/>
                    <a:pt x="10" y="1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94" name="Freeform 765">
              <a:extLst>
                <a:ext uri="{FF2B5EF4-FFF2-40B4-BE49-F238E27FC236}">
                  <a16:creationId xmlns:a16="http://schemas.microsoft.com/office/drawing/2014/main" id="{B4DABBA1-EA14-D491-250E-0849F4C317A8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5899" y="3972515"/>
              <a:ext cx="84048" cy="39739"/>
            </a:xfrm>
            <a:custGeom>
              <a:avLst/>
              <a:gdLst>
                <a:gd name="T0" fmla="*/ 10 w 16"/>
                <a:gd name="T1" fmla="*/ 5 h 7"/>
                <a:gd name="T2" fmla="*/ 14 w 16"/>
                <a:gd name="T3" fmla="*/ 3 h 7"/>
                <a:gd name="T4" fmla="*/ 14 w 16"/>
                <a:gd name="T5" fmla="*/ 0 h 7"/>
                <a:gd name="T6" fmla="*/ 7 w 16"/>
                <a:gd name="T7" fmla="*/ 0 h 7"/>
                <a:gd name="T8" fmla="*/ 4 w 16"/>
                <a:gd name="T9" fmla="*/ 0 h 7"/>
                <a:gd name="T10" fmla="*/ 0 w 16"/>
                <a:gd name="T11" fmla="*/ 1 h 7"/>
                <a:gd name="T12" fmla="*/ 3 w 16"/>
                <a:gd name="T13" fmla="*/ 3 h 7"/>
                <a:gd name="T14" fmla="*/ 7 w 16"/>
                <a:gd name="T15" fmla="*/ 3 h 7"/>
                <a:gd name="T16" fmla="*/ 9 w 16"/>
                <a:gd name="T17" fmla="*/ 7 h 7"/>
                <a:gd name="T18" fmla="*/ 10 w 16"/>
                <a:gd name="T19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7">
                  <a:moveTo>
                    <a:pt x="10" y="5"/>
                  </a:moveTo>
                  <a:cubicBezTo>
                    <a:pt x="11" y="5"/>
                    <a:pt x="16" y="5"/>
                    <a:pt x="14" y="3"/>
                  </a:cubicBezTo>
                  <a:cubicBezTo>
                    <a:pt x="12" y="2"/>
                    <a:pt x="14" y="1"/>
                    <a:pt x="14" y="0"/>
                  </a:cubicBezTo>
                  <a:cubicBezTo>
                    <a:pt x="12" y="0"/>
                    <a:pt x="9" y="0"/>
                    <a:pt x="7" y="0"/>
                  </a:cubicBezTo>
                  <a:cubicBezTo>
                    <a:pt x="5" y="0"/>
                    <a:pt x="5" y="1"/>
                    <a:pt x="4" y="0"/>
                  </a:cubicBezTo>
                  <a:cubicBezTo>
                    <a:pt x="2" y="0"/>
                    <a:pt x="2" y="0"/>
                    <a:pt x="0" y="1"/>
                  </a:cubicBezTo>
                  <a:cubicBezTo>
                    <a:pt x="1" y="2"/>
                    <a:pt x="1" y="3"/>
                    <a:pt x="3" y="3"/>
                  </a:cubicBezTo>
                  <a:cubicBezTo>
                    <a:pt x="4" y="3"/>
                    <a:pt x="7" y="3"/>
                    <a:pt x="7" y="3"/>
                  </a:cubicBezTo>
                  <a:cubicBezTo>
                    <a:pt x="5" y="5"/>
                    <a:pt x="7" y="6"/>
                    <a:pt x="9" y="7"/>
                  </a:cubicBezTo>
                  <a:cubicBezTo>
                    <a:pt x="9" y="7"/>
                    <a:pt x="9" y="5"/>
                    <a:pt x="10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95" name="Freeform 766">
              <a:extLst>
                <a:ext uri="{FF2B5EF4-FFF2-40B4-BE49-F238E27FC236}">
                  <a16:creationId xmlns:a16="http://schemas.microsoft.com/office/drawing/2014/main" id="{1B9A2E26-9794-615B-651A-8E58F3F6412B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0533" y="3934667"/>
              <a:ext cx="78683" cy="22709"/>
            </a:xfrm>
            <a:custGeom>
              <a:avLst/>
              <a:gdLst>
                <a:gd name="T0" fmla="*/ 4 w 15"/>
                <a:gd name="T1" fmla="*/ 4 h 4"/>
                <a:gd name="T2" fmla="*/ 9 w 15"/>
                <a:gd name="T3" fmla="*/ 3 h 4"/>
                <a:gd name="T4" fmla="*/ 15 w 15"/>
                <a:gd name="T5" fmla="*/ 2 h 4"/>
                <a:gd name="T6" fmla="*/ 8 w 15"/>
                <a:gd name="T7" fmla="*/ 1 h 4"/>
                <a:gd name="T8" fmla="*/ 0 w 15"/>
                <a:gd name="T9" fmla="*/ 4 h 4"/>
                <a:gd name="T10" fmla="*/ 4 w 15"/>
                <a:gd name="T11" fmla="*/ 4 h 4"/>
                <a:gd name="T12" fmla="*/ 4 w 15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4">
                  <a:moveTo>
                    <a:pt x="4" y="4"/>
                  </a:moveTo>
                  <a:cubicBezTo>
                    <a:pt x="6" y="3"/>
                    <a:pt x="7" y="2"/>
                    <a:pt x="9" y="3"/>
                  </a:cubicBezTo>
                  <a:cubicBezTo>
                    <a:pt x="10" y="3"/>
                    <a:pt x="14" y="4"/>
                    <a:pt x="15" y="2"/>
                  </a:cubicBezTo>
                  <a:cubicBezTo>
                    <a:pt x="15" y="3"/>
                    <a:pt x="9" y="0"/>
                    <a:pt x="8" y="1"/>
                  </a:cubicBezTo>
                  <a:cubicBezTo>
                    <a:pt x="5" y="2"/>
                    <a:pt x="1" y="0"/>
                    <a:pt x="0" y="4"/>
                  </a:cubicBezTo>
                  <a:cubicBezTo>
                    <a:pt x="2" y="4"/>
                    <a:pt x="3" y="4"/>
                    <a:pt x="4" y="4"/>
                  </a:cubicBezTo>
                  <a:cubicBezTo>
                    <a:pt x="5" y="4"/>
                    <a:pt x="4" y="4"/>
                    <a:pt x="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96" name="Freeform 767">
              <a:extLst>
                <a:ext uri="{FF2B5EF4-FFF2-40B4-BE49-F238E27FC236}">
                  <a16:creationId xmlns:a16="http://schemas.microsoft.com/office/drawing/2014/main" id="{F8722758-19A7-47B3-767C-A87840EC96C4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9804" y="3544841"/>
              <a:ext cx="314732" cy="378471"/>
            </a:xfrm>
            <a:custGeom>
              <a:avLst/>
              <a:gdLst>
                <a:gd name="T0" fmla="*/ 5 w 60"/>
                <a:gd name="T1" fmla="*/ 57 h 68"/>
                <a:gd name="T2" fmla="*/ 15 w 60"/>
                <a:gd name="T3" fmla="*/ 57 h 68"/>
                <a:gd name="T4" fmla="*/ 18 w 60"/>
                <a:gd name="T5" fmla="*/ 59 h 68"/>
                <a:gd name="T6" fmla="*/ 21 w 60"/>
                <a:gd name="T7" fmla="*/ 63 h 68"/>
                <a:gd name="T8" fmla="*/ 27 w 60"/>
                <a:gd name="T9" fmla="*/ 64 h 68"/>
                <a:gd name="T10" fmla="*/ 32 w 60"/>
                <a:gd name="T11" fmla="*/ 64 h 68"/>
                <a:gd name="T12" fmla="*/ 35 w 60"/>
                <a:gd name="T13" fmla="*/ 62 h 68"/>
                <a:gd name="T14" fmla="*/ 39 w 60"/>
                <a:gd name="T15" fmla="*/ 62 h 68"/>
                <a:gd name="T16" fmla="*/ 44 w 60"/>
                <a:gd name="T17" fmla="*/ 61 h 68"/>
                <a:gd name="T18" fmla="*/ 53 w 60"/>
                <a:gd name="T19" fmla="*/ 61 h 68"/>
                <a:gd name="T20" fmla="*/ 58 w 60"/>
                <a:gd name="T21" fmla="*/ 61 h 68"/>
                <a:gd name="T22" fmla="*/ 58 w 60"/>
                <a:gd name="T23" fmla="*/ 54 h 68"/>
                <a:gd name="T24" fmla="*/ 56 w 60"/>
                <a:gd name="T25" fmla="*/ 38 h 68"/>
                <a:gd name="T26" fmla="*/ 52 w 60"/>
                <a:gd name="T27" fmla="*/ 12 h 68"/>
                <a:gd name="T28" fmla="*/ 60 w 60"/>
                <a:gd name="T29" fmla="*/ 12 h 68"/>
                <a:gd name="T30" fmla="*/ 43 w 60"/>
                <a:gd name="T31" fmla="*/ 0 h 68"/>
                <a:gd name="T32" fmla="*/ 42 w 60"/>
                <a:gd name="T33" fmla="*/ 7 h 68"/>
                <a:gd name="T34" fmla="*/ 37 w 60"/>
                <a:gd name="T35" fmla="*/ 7 h 68"/>
                <a:gd name="T36" fmla="*/ 29 w 60"/>
                <a:gd name="T37" fmla="*/ 7 h 68"/>
                <a:gd name="T38" fmla="*/ 26 w 60"/>
                <a:gd name="T39" fmla="*/ 7 h 68"/>
                <a:gd name="T40" fmla="*/ 26 w 60"/>
                <a:gd name="T41" fmla="*/ 12 h 68"/>
                <a:gd name="T42" fmla="*/ 26 w 60"/>
                <a:gd name="T43" fmla="*/ 19 h 68"/>
                <a:gd name="T44" fmla="*/ 20 w 60"/>
                <a:gd name="T45" fmla="*/ 25 h 68"/>
                <a:gd name="T46" fmla="*/ 20 w 60"/>
                <a:gd name="T47" fmla="*/ 32 h 68"/>
                <a:gd name="T48" fmla="*/ 16 w 60"/>
                <a:gd name="T49" fmla="*/ 32 h 68"/>
                <a:gd name="T50" fmla="*/ 3 w 60"/>
                <a:gd name="T51" fmla="*/ 32 h 68"/>
                <a:gd name="T52" fmla="*/ 1 w 60"/>
                <a:gd name="T53" fmla="*/ 33 h 68"/>
                <a:gd name="T54" fmla="*/ 4 w 60"/>
                <a:gd name="T55" fmla="*/ 36 h 68"/>
                <a:gd name="T56" fmla="*/ 3 w 60"/>
                <a:gd name="T57" fmla="*/ 41 h 68"/>
                <a:gd name="T58" fmla="*/ 6 w 60"/>
                <a:gd name="T59" fmla="*/ 48 h 68"/>
                <a:gd name="T60" fmla="*/ 3 w 60"/>
                <a:gd name="T61" fmla="*/ 58 h 68"/>
                <a:gd name="T62" fmla="*/ 5 w 60"/>
                <a:gd name="T63" fmla="*/ 57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60" h="68">
                  <a:moveTo>
                    <a:pt x="5" y="57"/>
                  </a:moveTo>
                  <a:cubicBezTo>
                    <a:pt x="7" y="57"/>
                    <a:pt x="13" y="55"/>
                    <a:pt x="15" y="57"/>
                  </a:cubicBezTo>
                  <a:cubicBezTo>
                    <a:pt x="16" y="58"/>
                    <a:pt x="17" y="58"/>
                    <a:pt x="18" y="59"/>
                  </a:cubicBezTo>
                  <a:cubicBezTo>
                    <a:pt x="19" y="61"/>
                    <a:pt x="20" y="62"/>
                    <a:pt x="21" y="63"/>
                  </a:cubicBezTo>
                  <a:cubicBezTo>
                    <a:pt x="22" y="64"/>
                    <a:pt x="26" y="68"/>
                    <a:pt x="27" y="64"/>
                  </a:cubicBezTo>
                  <a:cubicBezTo>
                    <a:pt x="28" y="58"/>
                    <a:pt x="30" y="65"/>
                    <a:pt x="32" y="64"/>
                  </a:cubicBezTo>
                  <a:cubicBezTo>
                    <a:pt x="33" y="62"/>
                    <a:pt x="33" y="62"/>
                    <a:pt x="35" y="62"/>
                  </a:cubicBezTo>
                  <a:cubicBezTo>
                    <a:pt x="37" y="62"/>
                    <a:pt x="38" y="62"/>
                    <a:pt x="39" y="62"/>
                  </a:cubicBezTo>
                  <a:cubicBezTo>
                    <a:pt x="41" y="61"/>
                    <a:pt x="43" y="61"/>
                    <a:pt x="44" y="61"/>
                  </a:cubicBezTo>
                  <a:cubicBezTo>
                    <a:pt x="47" y="61"/>
                    <a:pt x="50" y="61"/>
                    <a:pt x="53" y="61"/>
                  </a:cubicBezTo>
                  <a:cubicBezTo>
                    <a:pt x="54" y="61"/>
                    <a:pt x="57" y="62"/>
                    <a:pt x="58" y="61"/>
                  </a:cubicBezTo>
                  <a:cubicBezTo>
                    <a:pt x="59" y="61"/>
                    <a:pt x="58" y="55"/>
                    <a:pt x="58" y="54"/>
                  </a:cubicBezTo>
                  <a:cubicBezTo>
                    <a:pt x="57" y="48"/>
                    <a:pt x="56" y="43"/>
                    <a:pt x="56" y="38"/>
                  </a:cubicBezTo>
                  <a:cubicBezTo>
                    <a:pt x="55" y="29"/>
                    <a:pt x="53" y="21"/>
                    <a:pt x="52" y="12"/>
                  </a:cubicBezTo>
                  <a:cubicBezTo>
                    <a:pt x="55" y="12"/>
                    <a:pt x="58" y="12"/>
                    <a:pt x="60" y="12"/>
                  </a:cubicBezTo>
                  <a:cubicBezTo>
                    <a:pt x="54" y="8"/>
                    <a:pt x="48" y="4"/>
                    <a:pt x="43" y="0"/>
                  </a:cubicBezTo>
                  <a:cubicBezTo>
                    <a:pt x="43" y="1"/>
                    <a:pt x="43" y="7"/>
                    <a:pt x="42" y="7"/>
                  </a:cubicBezTo>
                  <a:cubicBezTo>
                    <a:pt x="41" y="7"/>
                    <a:pt x="39" y="7"/>
                    <a:pt x="37" y="7"/>
                  </a:cubicBezTo>
                  <a:cubicBezTo>
                    <a:pt x="35" y="7"/>
                    <a:pt x="32" y="7"/>
                    <a:pt x="29" y="7"/>
                  </a:cubicBezTo>
                  <a:cubicBezTo>
                    <a:pt x="29" y="7"/>
                    <a:pt x="26" y="7"/>
                    <a:pt x="26" y="7"/>
                  </a:cubicBezTo>
                  <a:cubicBezTo>
                    <a:pt x="25" y="8"/>
                    <a:pt x="26" y="11"/>
                    <a:pt x="26" y="12"/>
                  </a:cubicBezTo>
                  <a:cubicBezTo>
                    <a:pt x="26" y="14"/>
                    <a:pt x="26" y="17"/>
                    <a:pt x="26" y="19"/>
                  </a:cubicBezTo>
                  <a:cubicBezTo>
                    <a:pt x="26" y="22"/>
                    <a:pt x="20" y="21"/>
                    <a:pt x="20" y="25"/>
                  </a:cubicBezTo>
                  <a:cubicBezTo>
                    <a:pt x="20" y="26"/>
                    <a:pt x="21" y="31"/>
                    <a:pt x="20" y="32"/>
                  </a:cubicBezTo>
                  <a:cubicBezTo>
                    <a:pt x="20" y="32"/>
                    <a:pt x="17" y="32"/>
                    <a:pt x="16" y="32"/>
                  </a:cubicBezTo>
                  <a:cubicBezTo>
                    <a:pt x="12" y="32"/>
                    <a:pt x="7" y="32"/>
                    <a:pt x="3" y="32"/>
                  </a:cubicBezTo>
                  <a:cubicBezTo>
                    <a:pt x="2" y="32"/>
                    <a:pt x="0" y="31"/>
                    <a:pt x="1" y="33"/>
                  </a:cubicBezTo>
                  <a:cubicBezTo>
                    <a:pt x="2" y="34"/>
                    <a:pt x="3" y="35"/>
                    <a:pt x="4" y="36"/>
                  </a:cubicBezTo>
                  <a:cubicBezTo>
                    <a:pt x="5" y="38"/>
                    <a:pt x="4" y="40"/>
                    <a:pt x="3" y="41"/>
                  </a:cubicBezTo>
                  <a:cubicBezTo>
                    <a:pt x="3" y="44"/>
                    <a:pt x="6" y="45"/>
                    <a:pt x="6" y="48"/>
                  </a:cubicBezTo>
                  <a:cubicBezTo>
                    <a:pt x="7" y="51"/>
                    <a:pt x="4" y="55"/>
                    <a:pt x="3" y="58"/>
                  </a:cubicBezTo>
                  <a:cubicBezTo>
                    <a:pt x="4" y="58"/>
                    <a:pt x="4" y="57"/>
                    <a:pt x="5" y="5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97" name="Freeform 768">
              <a:extLst>
                <a:ext uri="{FF2B5EF4-FFF2-40B4-BE49-F238E27FC236}">
                  <a16:creationId xmlns:a16="http://schemas.microsoft.com/office/drawing/2014/main" id="{1E2BC2F0-A08B-23A5-D7B1-C7872408DE66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9804" y="3857080"/>
              <a:ext cx="152001" cy="126790"/>
            </a:xfrm>
            <a:custGeom>
              <a:avLst/>
              <a:gdLst>
                <a:gd name="T0" fmla="*/ 8 w 29"/>
                <a:gd name="T1" fmla="*/ 22 h 23"/>
                <a:gd name="T2" fmla="*/ 10 w 29"/>
                <a:gd name="T3" fmla="*/ 21 h 23"/>
                <a:gd name="T4" fmla="*/ 15 w 29"/>
                <a:gd name="T5" fmla="*/ 21 h 23"/>
                <a:gd name="T6" fmla="*/ 23 w 29"/>
                <a:gd name="T7" fmla="*/ 21 h 23"/>
                <a:gd name="T8" fmla="*/ 27 w 29"/>
                <a:gd name="T9" fmla="*/ 22 h 23"/>
                <a:gd name="T10" fmla="*/ 29 w 29"/>
                <a:gd name="T11" fmla="*/ 19 h 23"/>
                <a:gd name="T12" fmla="*/ 25 w 29"/>
                <a:gd name="T13" fmla="*/ 14 h 23"/>
                <a:gd name="T14" fmla="*/ 25 w 29"/>
                <a:gd name="T15" fmla="*/ 10 h 23"/>
                <a:gd name="T16" fmla="*/ 19 w 29"/>
                <a:gd name="T17" fmla="*/ 4 h 23"/>
                <a:gd name="T18" fmla="*/ 9 w 29"/>
                <a:gd name="T19" fmla="*/ 1 h 23"/>
                <a:gd name="T20" fmla="*/ 5 w 29"/>
                <a:gd name="T21" fmla="*/ 1 h 23"/>
                <a:gd name="T22" fmla="*/ 2 w 29"/>
                <a:gd name="T23" fmla="*/ 6 h 23"/>
                <a:gd name="T24" fmla="*/ 1 w 29"/>
                <a:gd name="T25" fmla="*/ 10 h 23"/>
                <a:gd name="T26" fmla="*/ 2 w 29"/>
                <a:gd name="T27" fmla="*/ 12 h 23"/>
                <a:gd name="T28" fmla="*/ 2 w 29"/>
                <a:gd name="T29" fmla="*/ 14 h 23"/>
                <a:gd name="T30" fmla="*/ 4 w 29"/>
                <a:gd name="T31" fmla="*/ 15 h 23"/>
                <a:gd name="T32" fmla="*/ 9 w 29"/>
                <a:gd name="T33" fmla="*/ 15 h 23"/>
                <a:gd name="T34" fmla="*/ 10 w 29"/>
                <a:gd name="T35" fmla="*/ 14 h 23"/>
                <a:gd name="T36" fmla="*/ 17 w 29"/>
                <a:gd name="T37" fmla="*/ 16 h 23"/>
                <a:gd name="T38" fmla="*/ 11 w 29"/>
                <a:gd name="T39" fmla="*/ 17 h 23"/>
                <a:gd name="T40" fmla="*/ 6 w 29"/>
                <a:gd name="T41" fmla="*/ 18 h 23"/>
                <a:gd name="T42" fmla="*/ 3 w 29"/>
                <a:gd name="T43" fmla="*/ 21 h 23"/>
                <a:gd name="T44" fmla="*/ 5 w 29"/>
                <a:gd name="T45" fmla="*/ 21 h 23"/>
                <a:gd name="T46" fmla="*/ 8 w 29"/>
                <a:gd name="T47" fmla="*/ 2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9" h="23">
                  <a:moveTo>
                    <a:pt x="8" y="22"/>
                  </a:moveTo>
                  <a:cubicBezTo>
                    <a:pt x="9" y="22"/>
                    <a:pt x="9" y="21"/>
                    <a:pt x="10" y="21"/>
                  </a:cubicBezTo>
                  <a:cubicBezTo>
                    <a:pt x="12" y="21"/>
                    <a:pt x="13" y="21"/>
                    <a:pt x="15" y="21"/>
                  </a:cubicBezTo>
                  <a:cubicBezTo>
                    <a:pt x="17" y="21"/>
                    <a:pt x="20" y="20"/>
                    <a:pt x="23" y="21"/>
                  </a:cubicBezTo>
                  <a:cubicBezTo>
                    <a:pt x="24" y="22"/>
                    <a:pt x="25" y="23"/>
                    <a:pt x="27" y="22"/>
                  </a:cubicBezTo>
                  <a:cubicBezTo>
                    <a:pt x="29" y="22"/>
                    <a:pt x="29" y="21"/>
                    <a:pt x="29" y="19"/>
                  </a:cubicBezTo>
                  <a:cubicBezTo>
                    <a:pt x="29" y="17"/>
                    <a:pt x="25" y="16"/>
                    <a:pt x="25" y="14"/>
                  </a:cubicBezTo>
                  <a:cubicBezTo>
                    <a:pt x="25" y="14"/>
                    <a:pt x="25" y="10"/>
                    <a:pt x="25" y="10"/>
                  </a:cubicBezTo>
                  <a:cubicBezTo>
                    <a:pt x="24" y="10"/>
                    <a:pt x="20" y="5"/>
                    <a:pt x="19" y="4"/>
                  </a:cubicBezTo>
                  <a:cubicBezTo>
                    <a:pt x="16" y="1"/>
                    <a:pt x="13" y="0"/>
                    <a:pt x="9" y="1"/>
                  </a:cubicBezTo>
                  <a:cubicBezTo>
                    <a:pt x="8" y="1"/>
                    <a:pt x="5" y="0"/>
                    <a:pt x="5" y="1"/>
                  </a:cubicBezTo>
                  <a:cubicBezTo>
                    <a:pt x="4" y="2"/>
                    <a:pt x="2" y="4"/>
                    <a:pt x="2" y="6"/>
                  </a:cubicBezTo>
                  <a:cubicBezTo>
                    <a:pt x="3" y="8"/>
                    <a:pt x="3" y="9"/>
                    <a:pt x="1" y="10"/>
                  </a:cubicBezTo>
                  <a:cubicBezTo>
                    <a:pt x="0" y="10"/>
                    <a:pt x="3" y="12"/>
                    <a:pt x="2" y="12"/>
                  </a:cubicBezTo>
                  <a:cubicBezTo>
                    <a:pt x="4" y="13"/>
                    <a:pt x="2" y="13"/>
                    <a:pt x="2" y="14"/>
                  </a:cubicBezTo>
                  <a:cubicBezTo>
                    <a:pt x="2" y="14"/>
                    <a:pt x="3" y="15"/>
                    <a:pt x="4" y="15"/>
                  </a:cubicBezTo>
                  <a:cubicBezTo>
                    <a:pt x="4" y="16"/>
                    <a:pt x="8" y="15"/>
                    <a:pt x="9" y="15"/>
                  </a:cubicBezTo>
                  <a:cubicBezTo>
                    <a:pt x="10" y="15"/>
                    <a:pt x="10" y="14"/>
                    <a:pt x="10" y="14"/>
                  </a:cubicBezTo>
                  <a:cubicBezTo>
                    <a:pt x="11" y="14"/>
                    <a:pt x="17" y="17"/>
                    <a:pt x="17" y="16"/>
                  </a:cubicBezTo>
                  <a:cubicBezTo>
                    <a:pt x="16" y="18"/>
                    <a:pt x="12" y="17"/>
                    <a:pt x="11" y="17"/>
                  </a:cubicBezTo>
                  <a:cubicBezTo>
                    <a:pt x="9" y="16"/>
                    <a:pt x="8" y="18"/>
                    <a:pt x="6" y="18"/>
                  </a:cubicBezTo>
                  <a:cubicBezTo>
                    <a:pt x="3" y="18"/>
                    <a:pt x="1" y="18"/>
                    <a:pt x="3" y="21"/>
                  </a:cubicBezTo>
                  <a:cubicBezTo>
                    <a:pt x="3" y="22"/>
                    <a:pt x="4" y="21"/>
                    <a:pt x="5" y="21"/>
                  </a:cubicBezTo>
                  <a:cubicBezTo>
                    <a:pt x="6" y="21"/>
                    <a:pt x="7" y="22"/>
                    <a:pt x="8" y="2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98" name="Freeform 769">
              <a:extLst>
                <a:ext uri="{FF2B5EF4-FFF2-40B4-BE49-F238E27FC236}">
                  <a16:creationId xmlns:a16="http://schemas.microsoft.com/office/drawing/2014/main" id="{E77F402F-F555-4EB6-2D1B-3737A24964B6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2135" y="3607288"/>
              <a:ext cx="439910" cy="433352"/>
            </a:xfrm>
            <a:custGeom>
              <a:avLst/>
              <a:gdLst>
                <a:gd name="T0" fmla="*/ 27 w 84"/>
                <a:gd name="T1" fmla="*/ 1 h 78"/>
                <a:gd name="T2" fmla="*/ 33 w 84"/>
                <a:gd name="T3" fmla="*/ 45 h 78"/>
                <a:gd name="T4" fmla="*/ 32 w 84"/>
                <a:gd name="T5" fmla="*/ 50 h 78"/>
                <a:gd name="T6" fmla="*/ 19 w 84"/>
                <a:gd name="T7" fmla="*/ 50 h 78"/>
                <a:gd name="T8" fmla="*/ 15 w 84"/>
                <a:gd name="T9" fmla="*/ 50 h 78"/>
                <a:gd name="T10" fmla="*/ 12 w 84"/>
                <a:gd name="T11" fmla="*/ 51 h 78"/>
                <a:gd name="T12" fmla="*/ 8 w 84"/>
                <a:gd name="T13" fmla="*/ 51 h 78"/>
                <a:gd name="T14" fmla="*/ 6 w 84"/>
                <a:gd name="T15" fmla="*/ 52 h 78"/>
                <a:gd name="T16" fmla="*/ 3 w 84"/>
                <a:gd name="T17" fmla="*/ 50 h 78"/>
                <a:gd name="T18" fmla="*/ 0 w 84"/>
                <a:gd name="T19" fmla="*/ 55 h 78"/>
                <a:gd name="T20" fmla="*/ 0 w 84"/>
                <a:gd name="T21" fmla="*/ 59 h 78"/>
                <a:gd name="T22" fmla="*/ 3 w 84"/>
                <a:gd name="T23" fmla="*/ 63 h 78"/>
                <a:gd name="T24" fmla="*/ 4 w 84"/>
                <a:gd name="T25" fmla="*/ 67 h 78"/>
                <a:gd name="T26" fmla="*/ 7 w 84"/>
                <a:gd name="T27" fmla="*/ 68 h 78"/>
                <a:gd name="T28" fmla="*/ 11 w 84"/>
                <a:gd name="T29" fmla="*/ 68 h 78"/>
                <a:gd name="T30" fmla="*/ 15 w 84"/>
                <a:gd name="T31" fmla="*/ 66 h 78"/>
                <a:gd name="T32" fmla="*/ 20 w 84"/>
                <a:gd name="T33" fmla="*/ 75 h 78"/>
                <a:gd name="T34" fmla="*/ 20 w 84"/>
                <a:gd name="T35" fmla="*/ 77 h 78"/>
                <a:gd name="T36" fmla="*/ 23 w 84"/>
                <a:gd name="T37" fmla="*/ 77 h 78"/>
                <a:gd name="T38" fmla="*/ 27 w 84"/>
                <a:gd name="T39" fmla="*/ 77 h 78"/>
                <a:gd name="T40" fmla="*/ 30 w 84"/>
                <a:gd name="T41" fmla="*/ 77 h 78"/>
                <a:gd name="T42" fmla="*/ 35 w 84"/>
                <a:gd name="T43" fmla="*/ 71 h 78"/>
                <a:gd name="T44" fmla="*/ 35 w 84"/>
                <a:gd name="T45" fmla="*/ 69 h 78"/>
                <a:gd name="T46" fmla="*/ 39 w 84"/>
                <a:gd name="T47" fmla="*/ 67 h 78"/>
                <a:gd name="T48" fmla="*/ 40 w 84"/>
                <a:gd name="T49" fmla="*/ 63 h 78"/>
                <a:gd name="T50" fmla="*/ 42 w 84"/>
                <a:gd name="T51" fmla="*/ 62 h 78"/>
                <a:gd name="T52" fmla="*/ 49 w 84"/>
                <a:gd name="T53" fmla="*/ 57 h 78"/>
                <a:gd name="T54" fmla="*/ 51 w 84"/>
                <a:gd name="T55" fmla="*/ 57 h 78"/>
                <a:gd name="T56" fmla="*/ 52 w 84"/>
                <a:gd name="T57" fmla="*/ 56 h 78"/>
                <a:gd name="T58" fmla="*/ 55 w 84"/>
                <a:gd name="T59" fmla="*/ 54 h 78"/>
                <a:gd name="T60" fmla="*/ 65 w 84"/>
                <a:gd name="T61" fmla="*/ 53 h 78"/>
                <a:gd name="T62" fmla="*/ 70 w 84"/>
                <a:gd name="T63" fmla="*/ 52 h 78"/>
                <a:gd name="T64" fmla="*/ 78 w 84"/>
                <a:gd name="T65" fmla="*/ 51 h 78"/>
                <a:gd name="T66" fmla="*/ 82 w 84"/>
                <a:gd name="T67" fmla="*/ 31 h 78"/>
                <a:gd name="T68" fmla="*/ 77 w 84"/>
                <a:gd name="T69" fmla="*/ 32 h 78"/>
                <a:gd name="T70" fmla="*/ 77 w 84"/>
                <a:gd name="T71" fmla="*/ 28 h 78"/>
                <a:gd name="T72" fmla="*/ 70 w 84"/>
                <a:gd name="T73" fmla="*/ 26 h 78"/>
                <a:gd name="T74" fmla="*/ 66 w 84"/>
                <a:gd name="T75" fmla="*/ 22 h 78"/>
                <a:gd name="T76" fmla="*/ 63 w 84"/>
                <a:gd name="T77" fmla="*/ 20 h 78"/>
                <a:gd name="T78" fmla="*/ 56 w 84"/>
                <a:gd name="T79" fmla="*/ 14 h 78"/>
                <a:gd name="T80" fmla="*/ 39 w 84"/>
                <a:gd name="T81" fmla="*/ 3 h 78"/>
                <a:gd name="T82" fmla="*/ 35 w 84"/>
                <a:gd name="T83" fmla="*/ 1 h 78"/>
                <a:gd name="T84" fmla="*/ 27 w 84"/>
                <a:gd name="T85" fmla="*/ 1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84" h="78">
                  <a:moveTo>
                    <a:pt x="27" y="1"/>
                  </a:moveTo>
                  <a:cubicBezTo>
                    <a:pt x="29" y="16"/>
                    <a:pt x="31" y="31"/>
                    <a:pt x="33" y="45"/>
                  </a:cubicBezTo>
                  <a:cubicBezTo>
                    <a:pt x="33" y="47"/>
                    <a:pt x="35" y="50"/>
                    <a:pt x="32" y="50"/>
                  </a:cubicBezTo>
                  <a:cubicBezTo>
                    <a:pt x="28" y="50"/>
                    <a:pt x="23" y="50"/>
                    <a:pt x="19" y="50"/>
                  </a:cubicBezTo>
                  <a:cubicBezTo>
                    <a:pt x="17" y="50"/>
                    <a:pt x="16" y="50"/>
                    <a:pt x="15" y="50"/>
                  </a:cubicBezTo>
                  <a:cubicBezTo>
                    <a:pt x="14" y="50"/>
                    <a:pt x="13" y="51"/>
                    <a:pt x="12" y="51"/>
                  </a:cubicBezTo>
                  <a:cubicBezTo>
                    <a:pt x="11" y="52"/>
                    <a:pt x="10" y="51"/>
                    <a:pt x="8" y="51"/>
                  </a:cubicBezTo>
                  <a:cubicBezTo>
                    <a:pt x="7" y="51"/>
                    <a:pt x="7" y="53"/>
                    <a:pt x="6" y="52"/>
                  </a:cubicBezTo>
                  <a:cubicBezTo>
                    <a:pt x="5" y="52"/>
                    <a:pt x="4" y="50"/>
                    <a:pt x="3" y="50"/>
                  </a:cubicBezTo>
                  <a:cubicBezTo>
                    <a:pt x="2" y="50"/>
                    <a:pt x="2" y="56"/>
                    <a:pt x="0" y="55"/>
                  </a:cubicBezTo>
                  <a:cubicBezTo>
                    <a:pt x="0" y="56"/>
                    <a:pt x="0" y="58"/>
                    <a:pt x="0" y="59"/>
                  </a:cubicBezTo>
                  <a:cubicBezTo>
                    <a:pt x="0" y="61"/>
                    <a:pt x="2" y="61"/>
                    <a:pt x="3" y="63"/>
                  </a:cubicBezTo>
                  <a:cubicBezTo>
                    <a:pt x="4" y="64"/>
                    <a:pt x="3" y="66"/>
                    <a:pt x="4" y="67"/>
                  </a:cubicBezTo>
                  <a:cubicBezTo>
                    <a:pt x="5" y="69"/>
                    <a:pt x="6" y="67"/>
                    <a:pt x="7" y="68"/>
                  </a:cubicBezTo>
                  <a:cubicBezTo>
                    <a:pt x="7" y="69"/>
                    <a:pt x="10" y="68"/>
                    <a:pt x="11" y="68"/>
                  </a:cubicBezTo>
                  <a:cubicBezTo>
                    <a:pt x="12" y="68"/>
                    <a:pt x="14" y="66"/>
                    <a:pt x="15" y="66"/>
                  </a:cubicBezTo>
                  <a:cubicBezTo>
                    <a:pt x="17" y="68"/>
                    <a:pt x="18" y="73"/>
                    <a:pt x="20" y="75"/>
                  </a:cubicBezTo>
                  <a:cubicBezTo>
                    <a:pt x="20" y="75"/>
                    <a:pt x="19" y="77"/>
                    <a:pt x="20" y="77"/>
                  </a:cubicBezTo>
                  <a:cubicBezTo>
                    <a:pt x="21" y="78"/>
                    <a:pt x="22" y="76"/>
                    <a:pt x="23" y="77"/>
                  </a:cubicBezTo>
                  <a:cubicBezTo>
                    <a:pt x="24" y="78"/>
                    <a:pt x="26" y="78"/>
                    <a:pt x="27" y="77"/>
                  </a:cubicBezTo>
                  <a:cubicBezTo>
                    <a:pt x="29" y="75"/>
                    <a:pt x="29" y="77"/>
                    <a:pt x="30" y="77"/>
                  </a:cubicBezTo>
                  <a:cubicBezTo>
                    <a:pt x="33" y="77"/>
                    <a:pt x="35" y="73"/>
                    <a:pt x="35" y="71"/>
                  </a:cubicBezTo>
                  <a:cubicBezTo>
                    <a:pt x="35" y="70"/>
                    <a:pt x="33" y="70"/>
                    <a:pt x="35" y="69"/>
                  </a:cubicBezTo>
                  <a:cubicBezTo>
                    <a:pt x="36" y="68"/>
                    <a:pt x="38" y="69"/>
                    <a:pt x="39" y="67"/>
                  </a:cubicBezTo>
                  <a:cubicBezTo>
                    <a:pt x="39" y="66"/>
                    <a:pt x="40" y="64"/>
                    <a:pt x="40" y="63"/>
                  </a:cubicBezTo>
                  <a:cubicBezTo>
                    <a:pt x="41" y="61"/>
                    <a:pt x="41" y="60"/>
                    <a:pt x="42" y="62"/>
                  </a:cubicBezTo>
                  <a:cubicBezTo>
                    <a:pt x="45" y="64"/>
                    <a:pt x="47" y="56"/>
                    <a:pt x="49" y="57"/>
                  </a:cubicBezTo>
                  <a:cubicBezTo>
                    <a:pt x="50" y="57"/>
                    <a:pt x="50" y="57"/>
                    <a:pt x="51" y="57"/>
                  </a:cubicBezTo>
                  <a:cubicBezTo>
                    <a:pt x="51" y="57"/>
                    <a:pt x="52" y="56"/>
                    <a:pt x="52" y="56"/>
                  </a:cubicBezTo>
                  <a:cubicBezTo>
                    <a:pt x="53" y="55"/>
                    <a:pt x="54" y="55"/>
                    <a:pt x="55" y="54"/>
                  </a:cubicBezTo>
                  <a:cubicBezTo>
                    <a:pt x="58" y="51"/>
                    <a:pt x="61" y="54"/>
                    <a:pt x="65" y="53"/>
                  </a:cubicBezTo>
                  <a:cubicBezTo>
                    <a:pt x="67" y="53"/>
                    <a:pt x="68" y="52"/>
                    <a:pt x="70" y="52"/>
                  </a:cubicBezTo>
                  <a:cubicBezTo>
                    <a:pt x="73" y="52"/>
                    <a:pt x="76" y="52"/>
                    <a:pt x="78" y="51"/>
                  </a:cubicBezTo>
                  <a:cubicBezTo>
                    <a:pt x="84" y="49"/>
                    <a:pt x="82" y="36"/>
                    <a:pt x="82" y="31"/>
                  </a:cubicBezTo>
                  <a:cubicBezTo>
                    <a:pt x="81" y="32"/>
                    <a:pt x="78" y="34"/>
                    <a:pt x="77" y="32"/>
                  </a:cubicBezTo>
                  <a:cubicBezTo>
                    <a:pt x="76" y="31"/>
                    <a:pt x="78" y="29"/>
                    <a:pt x="77" y="28"/>
                  </a:cubicBezTo>
                  <a:cubicBezTo>
                    <a:pt x="76" y="26"/>
                    <a:pt x="72" y="27"/>
                    <a:pt x="70" y="26"/>
                  </a:cubicBezTo>
                  <a:cubicBezTo>
                    <a:pt x="68" y="26"/>
                    <a:pt x="67" y="23"/>
                    <a:pt x="66" y="22"/>
                  </a:cubicBezTo>
                  <a:cubicBezTo>
                    <a:pt x="66" y="21"/>
                    <a:pt x="65" y="20"/>
                    <a:pt x="63" y="20"/>
                  </a:cubicBezTo>
                  <a:cubicBezTo>
                    <a:pt x="61" y="18"/>
                    <a:pt x="58" y="16"/>
                    <a:pt x="56" y="14"/>
                  </a:cubicBezTo>
                  <a:cubicBezTo>
                    <a:pt x="50" y="11"/>
                    <a:pt x="44" y="7"/>
                    <a:pt x="39" y="3"/>
                  </a:cubicBezTo>
                  <a:cubicBezTo>
                    <a:pt x="38" y="3"/>
                    <a:pt x="36" y="1"/>
                    <a:pt x="35" y="1"/>
                  </a:cubicBezTo>
                  <a:cubicBezTo>
                    <a:pt x="33" y="0"/>
                    <a:pt x="30" y="1"/>
                    <a:pt x="27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99" name="Freeform 770">
              <a:extLst>
                <a:ext uri="{FF2B5EF4-FFF2-40B4-BE49-F238E27FC236}">
                  <a16:creationId xmlns:a16="http://schemas.microsoft.com/office/drawing/2014/main" id="{0C48CB70-45B9-7CF0-33BB-13BD867174D6}"/>
                </a:ext>
              </a:extLst>
            </p:cNvPr>
            <p:cNvSpPr>
              <a:spLocks/>
            </p:cNvSpPr>
            <p:nvPr/>
          </p:nvSpPr>
          <p:spPr bwMode="auto">
            <a:xfrm>
              <a:off x="6454545" y="3406696"/>
              <a:ext cx="289696" cy="298994"/>
            </a:xfrm>
            <a:custGeom>
              <a:avLst/>
              <a:gdLst>
                <a:gd name="T0" fmla="*/ 45 w 55"/>
                <a:gd name="T1" fmla="*/ 54 h 54"/>
                <a:gd name="T2" fmla="*/ 48 w 55"/>
                <a:gd name="T3" fmla="*/ 51 h 54"/>
                <a:gd name="T4" fmla="*/ 51 w 55"/>
                <a:gd name="T5" fmla="*/ 48 h 54"/>
                <a:gd name="T6" fmla="*/ 54 w 55"/>
                <a:gd name="T7" fmla="*/ 44 h 54"/>
                <a:gd name="T8" fmla="*/ 55 w 55"/>
                <a:gd name="T9" fmla="*/ 42 h 54"/>
                <a:gd name="T10" fmla="*/ 50 w 55"/>
                <a:gd name="T11" fmla="*/ 36 h 54"/>
                <a:gd name="T12" fmla="*/ 45 w 55"/>
                <a:gd name="T13" fmla="*/ 25 h 54"/>
                <a:gd name="T14" fmla="*/ 40 w 55"/>
                <a:gd name="T15" fmla="*/ 16 h 54"/>
                <a:gd name="T16" fmla="*/ 38 w 55"/>
                <a:gd name="T17" fmla="*/ 8 h 54"/>
                <a:gd name="T18" fmla="*/ 47 w 55"/>
                <a:gd name="T19" fmla="*/ 22 h 54"/>
                <a:gd name="T20" fmla="*/ 49 w 55"/>
                <a:gd name="T21" fmla="*/ 19 h 54"/>
                <a:gd name="T22" fmla="*/ 48 w 55"/>
                <a:gd name="T23" fmla="*/ 14 h 54"/>
                <a:gd name="T24" fmla="*/ 47 w 55"/>
                <a:gd name="T25" fmla="*/ 2 h 54"/>
                <a:gd name="T26" fmla="*/ 38 w 55"/>
                <a:gd name="T27" fmla="*/ 2 h 54"/>
                <a:gd name="T28" fmla="*/ 25 w 55"/>
                <a:gd name="T29" fmla="*/ 3 h 54"/>
                <a:gd name="T30" fmla="*/ 16 w 55"/>
                <a:gd name="T31" fmla="*/ 3 h 54"/>
                <a:gd name="T32" fmla="*/ 4 w 55"/>
                <a:gd name="T33" fmla="*/ 1 h 54"/>
                <a:gd name="T34" fmla="*/ 3 w 55"/>
                <a:gd name="T35" fmla="*/ 0 h 54"/>
                <a:gd name="T36" fmla="*/ 1 w 55"/>
                <a:gd name="T37" fmla="*/ 3 h 54"/>
                <a:gd name="T38" fmla="*/ 2 w 55"/>
                <a:gd name="T39" fmla="*/ 7 h 54"/>
                <a:gd name="T40" fmla="*/ 1 w 55"/>
                <a:gd name="T41" fmla="*/ 11 h 54"/>
                <a:gd name="T42" fmla="*/ 2 w 55"/>
                <a:gd name="T43" fmla="*/ 13 h 54"/>
                <a:gd name="T44" fmla="*/ 2 w 55"/>
                <a:gd name="T45" fmla="*/ 25 h 54"/>
                <a:gd name="T46" fmla="*/ 2 w 55"/>
                <a:gd name="T47" fmla="*/ 52 h 54"/>
                <a:gd name="T48" fmla="*/ 34 w 55"/>
                <a:gd name="T49" fmla="*/ 52 h 54"/>
                <a:gd name="T50" fmla="*/ 40 w 55"/>
                <a:gd name="T51" fmla="*/ 52 h 54"/>
                <a:gd name="T52" fmla="*/ 45 w 55"/>
                <a:gd name="T53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4">
                  <a:moveTo>
                    <a:pt x="45" y="54"/>
                  </a:moveTo>
                  <a:cubicBezTo>
                    <a:pt x="46" y="54"/>
                    <a:pt x="46" y="51"/>
                    <a:pt x="48" y="51"/>
                  </a:cubicBezTo>
                  <a:cubicBezTo>
                    <a:pt x="51" y="51"/>
                    <a:pt x="49" y="49"/>
                    <a:pt x="51" y="48"/>
                  </a:cubicBezTo>
                  <a:cubicBezTo>
                    <a:pt x="54" y="47"/>
                    <a:pt x="54" y="47"/>
                    <a:pt x="54" y="44"/>
                  </a:cubicBezTo>
                  <a:cubicBezTo>
                    <a:pt x="53" y="42"/>
                    <a:pt x="53" y="42"/>
                    <a:pt x="55" y="42"/>
                  </a:cubicBezTo>
                  <a:cubicBezTo>
                    <a:pt x="54" y="42"/>
                    <a:pt x="51" y="37"/>
                    <a:pt x="50" y="36"/>
                  </a:cubicBezTo>
                  <a:cubicBezTo>
                    <a:pt x="49" y="32"/>
                    <a:pt x="47" y="28"/>
                    <a:pt x="45" y="25"/>
                  </a:cubicBezTo>
                  <a:cubicBezTo>
                    <a:pt x="43" y="22"/>
                    <a:pt x="42" y="18"/>
                    <a:pt x="40" y="16"/>
                  </a:cubicBezTo>
                  <a:cubicBezTo>
                    <a:pt x="39" y="15"/>
                    <a:pt x="37" y="9"/>
                    <a:pt x="38" y="8"/>
                  </a:cubicBezTo>
                  <a:cubicBezTo>
                    <a:pt x="38" y="8"/>
                    <a:pt x="46" y="22"/>
                    <a:pt x="47" y="22"/>
                  </a:cubicBezTo>
                  <a:cubicBezTo>
                    <a:pt x="48" y="22"/>
                    <a:pt x="49" y="19"/>
                    <a:pt x="49" y="19"/>
                  </a:cubicBezTo>
                  <a:cubicBezTo>
                    <a:pt x="49" y="17"/>
                    <a:pt x="49" y="15"/>
                    <a:pt x="48" y="14"/>
                  </a:cubicBezTo>
                  <a:cubicBezTo>
                    <a:pt x="48" y="10"/>
                    <a:pt x="47" y="6"/>
                    <a:pt x="47" y="2"/>
                  </a:cubicBezTo>
                  <a:cubicBezTo>
                    <a:pt x="45" y="4"/>
                    <a:pt x="40" y="4"/>
                    <a:pt x="38" y="2"/>
                  </a:cubicBezTo>
                  <a:cubicBezTo>
                    <a:pt x="34" y="0"/>
                    <a:pt x="29" y="1"/>
                    <a:pt x="25" y="3"/>
                  </a:cubicBezTo>
                  <a:cubicBezTo>
                    <a:pt x="22" y="5"/>
                    <a:pt x="19" y="4"/>
                    <a:pt x="16" y="3"/>
                  </a:cubicBezTo>
                  <a:cubicBezTo>
                    <a:pt x="12" y="2"/>
                    <a:pt x="8" y="2"/>
                    <a:pt x="4" y="1"/>
                  </a:cubicBezTo>
                  <a:cubicBezTo>
                    <a:pt x="4" y="1"/>
                    <a:pt x="3" y="0"/>
                    <a:pt x="3" y="0"/>
                  </a:cubicBezTo>
                  <a:cubicBezTo>
                    <a:pt x="2" y="1"/>
                    <a:pt x="2" y="2"/>
                    <a:pt x="1" y="3"/>
                  </a:cubicBezTo>
                  <a:cubicBezTo>
                    <a:pt x="0" y="4"/>
                    <a:pt x="3" y="5"/>
                    <a:pt x="2" y="7"/>
                  </a:cubicBezTo>
                  <a:cubicBezTo>
                    <a:pt x="1" y="8"/>
                    <a:pt x="1" y="9"/>
                    <a:pt x="1" y="11"/>
                  </a:cubicBezTo>
                  <a:cubicBezTo>
                    <a:pt x="2" y="11"/>
                    <a:pt x="2" y="12"/>
                    <a:pt x="2" y="13"/>
                  </a:cubicBezTo>
                  <a:cubicBezTo>
                    <a:pt x="2" y="17"/>
                    <a:pt x="2" y="21"/>
                    <a:pt x="2" y="25"/>
                  </a:cubicBezTo>
                  <a:cubicBezTo>
                    <a:pt x="2" y="28"/>
                    <a:pt x="2" y="52"/>
                    <a:pt x="2" y="52"/>
                  </a:cubicBezTo>
                  <a:cubicBezTo>
                    <a:pt x="13" y="52"/>
                    <a:pt x="23" y="52"/>
                    <a:pt x="34" y="52"/>
                  </a:cubicBezTo>
                  <a:cubicBezTo>
                    <a:pt x="36" y="52"/>
                    <a:pt x="38" y="52"/>
                    <a:pt x="40" y="52"/>
                  </a:cubicBezTo>
                  <a:cubicBezTo>
                    <a:pt x="42" y="52"/>
                    <a:pt x="43" y="54"/>
                    <a:pt x="45" y="5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00" name="Freeform 771">
              <a:extLst>
                <a:ext uri="{FF2B5EF4-FFF2-40B4-BE49-F238E27FC236}">
                  <a16:creationId xmlns:a16="http://schemas.microsoft.com/office/drawing/2014/main" id="{7E62E98B-CBFE-6CD5-40AF-2A39C190191B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5363" y="3234493"/>
              <a:ext cx="105509" cy="215730"/>
            </a:xfrm>
            <a:custGeom>
              <a:avLst/>
              <a:gdLst>
                <a:gd name="T0" fmla="*/ 14 w 20"/>
                <a:gd name="T1" fmla="*/ 34 h 39"/>
                <a:gd name="T2" fmla="*/ 17 w 20"/>
                <a:gd name="T3" fmla="*/ 30 h 39"/>
                <a:gd name="T4" fmla="*/ 20 w 20"/>
                <a:gd name="T5" fmla="*/ 27 h 39"/>
                <a:gd name="T6" fmla="*/ 20 w 20"/>
                <a:gd name="T7" fmla="*/ 24 h 39"/>
                <a:gd name="T8" fmla="*/ 19 w 20"/>
                <a:gd name="T9" fmla="*/ 23 h 39"/>
                <a:gd name="T10" fmla="*/ 17 w 20"/>
                <a:gd name="T11" fmla="*/ 20 h 39"/>
                <a:gd name="T12" fmla="*/ 14 w 20"/>
                <a:gd name="T13" fmla="*/ 20 h 39"/>
                <a:gd name="T14" fmla="*/ 16 w 20"/>
                <a:gd name="T15" fmla="*/ 16 h 39"/>
                <a:gd name="T16" fmla="*/ 17 w 20"/>
                <a:gd name="T17" fmla="*/ 10 h 39"/>
                <a:gd name="T18" fmla="*/ 15 w 20"/>
                <a:gd name="T19" fmla="*/ 6 h 39"/>
                <a:gd name="T20" fmla="*/ 18 w 20"/>
                <a:gd name="T21" fmla="*/ 4 h 39"/>
                <a:gd name="T22" fmla="*/ 18 w 20"/>
                <a:gd name="T23" fmla="*/ 1 h 39"/>
                <a:gd name="T24" fmla="*/ 15 w 20"/>
                <a:gd name="T25" fmla="*/ 3 h 39"/>
                <a:gd name="T26" fmla="*/ 14 w 20"/>
                <a:gd name="T27" fmla="*/ 2 h 39"/>
                <a:gd name="T28" fmla="*/ 11 w 20"/>
                <a:gd name="T29" fmla="*/ 0 h 39"/>
                <a:gd name="T30" fmla="*/ 5 w 20"/>
                <a:gd name="T31" fmla="*/ 4 h 39"/>
                <a:gd name="T32" fmla="*/ 2 w 20"/>
                <a:gd name="T33" fmla="*/ 17 h 39"/>
                <a:gd name="T34" fmla="*/ 1 w 20"/>
                <a:gd name="T35" fmla="*/ 21 h 39"/>
                <a:gd name="T36" fmla="*/ 4 w 20"/>
                <a:gd name="T37" fmla="*/ 26 h 39"/>
                <a:gd name="T38" fmla="*/ 8 w 20"/>
                <a:gd name="T39" fmla="*/ 30 h 39"/>
                <a:gd name="T40" fmla="*/ 10 w 20"/>
                <a:gd name="T41" fmla="*/ 39 h 39"/>
                <a:gd name="T42" fmla="*/ 14 w 20"/>
                <a:gd name="T43" fmla="*/ 34 h 39"/>
                <a:gd name="T44" fmla="*/ 14 w 20"/>
                <a:gd name="T45" fmla="*/ 3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0" h="39">
                  <a:moveTo>
                    <a:pt x="14" y="34"/>
                  </a:moveTo>
                  <a:cubicBezTo>
                    <a:pt x="12" y="32"/>
                    <a:pt x="16" y="30"/>
                    <a:pt x="17" y="30"/>
                  </a:cubicBezTo>
                  <a:cubicBezTo>
                    <a:pt x="19" y="29"/>
                    <a:pt x="20" y="28"/>
                    <a:pt x="20" y="27"/>
                  </a:cubicBezTo>
                  <a:cubicBezTo>
                    <a:pt x="20" y="26"/>
                    <a:pt x="20" y="25"/>
                    <a:pt x="20" y="24"/>
                  </a:cubicBezTo>
                  <a:cubicBezTo>
                    <a:pt x="20" y="23"/>
                    <a:pt x="19" y="23"/>
                    <a:pt x="19" y="23"/>
                  </a:cubicBezTo>
                  <a:cubicBezTo>
                    <a:pt x="18" y="22"/>
                    <a:pt x="18" y="21"/>
                    <a:pt x="17" y="20"/>
                  </a:cubicBezTo>
                  <a:cubicBezTo>
                    <a:pt x="16" y="20"/>
                    <a:pt x="15" y="21"/>
                    <a:pt x="14" y="20"/>
                  </a:cubicBezTo>
                  <a:cubicBezTo>
                    <a:pt x="11" y="18"/>
                    <a:pt x="14" y="17"/>
                    <a:pt x="16" y="16"/>
                  </a:cubicBezTo>
                  <a:cubicBezTo>
                    <a:pt x="18" y="15"/>
                    <a:pt x="19" y="12"/>
                    <a:pt x="17" y="10"/>
                  </a:cubicBezTo>
                  <a:cubicBezTo>
                    <a:pt x="17" y="9"/>
                    <a:pt x="14" y="7"/>
                    <a:pt x="15" y="6"/>
                  </a:cubicBezTo>
                  <a:cubicBezTo>
                    <a:pt x="16" y="5"/>
                    <a:pt x="17" y="5"/>
                    <a:pt x="18" y="4"/>
                  </a:cubicBezTo>
                  <a:cubicBezTo>
                    <a:pt x="18" y="4"/>
                    <a:pt x="18" y="1"/>
                    <a:pt x="18" y="1"/>
                  </a:cubicBezTo>
                  <a:cubicBezTo>
                    <a:pt x="17" y="1"/>
                    <a:pt x="16" y="4"/>
                    <a:pt x="15" y="3"/>
                  </a:cubicBezTo>
                  <a:cubicBezTo>
                    <a:pt x="15" y="3"/>
                    <a:pt x="14" y="2"/>
                    <a:pt x="14" y="2"/>
                  </a:cubicBezTo>
                  <a:cubicBezTo>
                    <a:pt x="13" y="1"/>
                    <a:pt x="12" y="0"/>
                    <a:pt x="11" y="0"/>
                  </a:cubicBezTo>
                  <a:cubicBezTo>
                    <a:pt x="9" y="1"/>
                    <a:pt x="6" y="2"/>
                    <a:pt x="5" y="4"/>
                  </a:cubicBezTo>
                  <a:cubicBezTo>
                    <a:pt x="3" y="8"/>
                    <a:pt x="5" y="14"/>
                    <a:pt x="2" y="17"/>
                  </a:cubicBezTo>
                  <a:cubicBezTo>
                    <a:pt x="0" y="19"/>
                    <a:pt x="0" y="19"/>
                    <a:pt x="1" y="21"/>
                  </a:cubicBezTo>
                  <a:cubicBezTo>
                    <a:pt x="1" y="23"/>
                    <a:pt x="4" y="24"/>
                    <a:pt x="4" y="26"/>
                  </a:cubicBezTo>
                  <a:cubicBezTo>
                    <a:pt x="5" y="28"/>
                    <a:pt x="8" y="29"/>
                    <a:pt x="8" y="30"/>
                  </a:cubicBezTo>
                  <a:cubicBezTo>
                    <a:pt x="9" y="33"/>
                    <a:pt x="10" y="37"/>
                    <a:pt x="10" y="39"/>
                  </a:cubicBezTo>
                  <a:cubicBezTo>
                    <a:pt x="12" y="39"/>
                    <a:pt x="16" y="37"/>
                    <a:pt x="14" y="34"/>
                  </a:cubicBezTo>
                  <a:cubicBezTo>
                    <a:pt x="13" y="33"/>
                    <a:pt x="15" y="35"/>
                    <a:pt x="14" y="3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01" name="Freeform 772">
              <a:extLst>
                <a:ext uri="{FF2B5EF4-FFF2-40B4-BE49-F238E27FC236}">
                  <a16:creationId xmlns:a16="http://schemas.microsoft.com/office/drawing/2014/main" id="{67ABF148-D7D7-18CE-08AA-6C23E2A854D3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1860" y="3361280"/>
              <a:ext cx="398782" cy="406860"/>
            </a:xfrm>
            <a:custGeom>
              <a:avLst/>
              <a:gdLst>
                <a:gd name="T0" fmla="*/ 21 w 76"/>
                <a:gd name="T1" fmla="*/ 55 h 73"/>
                <a:gd name="T2" fmla="*/ 25 w 76"/>
                <a:gd name="T3" fmla="*/ 57 h 73"/>
                <a:gd name="T4" fmla="*/ 28 w 76"/>
                <a:gd name="T5" fmla="*/ 55 h 73"/>
                <a:gd name="T6" fmla="*/ 33 w 76"/>
                <a:gd name="T7" fmla="*/ 53 h 73"/>
                <a:gd name="T8" fmla="*/ 44 w 76"/>
                <a:gd name="T9" fmla="*/ 59 h 73"/>
                <a:gd name="T10" fmla="*/ 70 w 76"/>
                <a:gd name="T11" fmla="*/ 73 h 73"/>
                <a:gd name="T12" fmla="*/ 71 w 76"/>
                <a:gd name="T13" fmla="*/ 71 h 73"/>
                <a:gd name="T14" fmla="*/ 75 w 76"/>
                <a:gd name="T15" fmla="*/ 71 h 73"/>
                <a:gd name="T16" fmla="*/ 75 w 76"/>
                <a:gd name="T17" fmla="*/ 66 h 73"/>
                <a:gd name="T18" fmla="*/ 75 w 76"/>
                <a:gd name="T19" fmla="*/ 44 h 73"/>
                <a:gd name="T20" fmla="*/ 75 w 76"/>
                <a:gd name="T21" fmla="*/ 24 h 73"/>
                <a:gd name="T22" fmla="*/ 75 w 76"/>
                <a:gd name="T23" fmla="*/ 20 h 73"/>
                <a:gd name="T24" fmla="*/ 74 w 76"/>
                <a:gd name="T25" fmla="*/ 17 h 73"/>
                <a:gd name="T26" fmla="*/ 76 w 76"/>
                <a:gd name="T27" fmla="*/ 14 h 73"/>
                <a:gd name="T28" fmla="*/ 74 w 76"/>
                <a:gd name="T29" fmla="*/ 11 h 73"/>
                <a:gd name="T30" fmla="*/ 76 w 76"/>
                <a:gd name="T31" fmla="*/ 8 h 73"/>
                <a:gd name="T32" fmla="*/ 67 w 76"/>
                <a:gd name="T33" fmla="*/ 5 h 73"/>
                <a:gd name="T34" fmla="*/ 61 w 76"/>
                <a:gd name="T35" fmla="*/ 2 h 73"/>
                <a:gd name="T36" fmla="*/ 51 w 76"/>
                <a:gd name="T37" fmla="*/ 6 h 73"/>
                <a:gd name="T38" fmla="*/ 51 w 76"/>
                <a:gd name="T39" fmla="*/ 9 h 73"/>
                <a:gd name="T40" fmla="*/ 50 w 76"/>
                <a:gd name="T41" fmla="*/ 14 h 73"/>
                <a:gd name="T42" fmla="*/ 41 w 76"/>
                <a:gd name="T43" fmla="*/ 13 h 73"/>
                <a:gd name="T44" fmla="*/ 36 w 76"/>
                <a:gd name="T45" fmla="*/ 12 h 73"/>
                <a:gd name="T46" fmla="*/ 31 w 76"/>
                <a:gd name="T47" fmla="*/ 10 h 73"/>
                <a:gd name="T48" fmla="*/ 29 w 76"/>
                <a:gd name="T49" fmla="*/ 6 h 73"/>
                <a:gd name="T50" fmla="*/ 23 w 76"/>
                <a:gd name="T51" fmla="*/ 3 h 73"/>
                <a:gd name="T52" fmla="*/ 17 w 76"/>
                <a:gd name="T53" fmla="*/ 2 h 73"/>
                <a:gd name="T54" fmla="*/ 11 w 76"/>
                <a:gd name="T55" fmla="*/ 0 h 73"/>
                <a:gd name="T56" fmla="*/ 11 w 76"/>
                <a:gd name="T57" fmla="*/ 4 h 73"/>
                <a:gd name="T58" fmla="*/ 9 w 76"/>
                <a:gd name="T59" fmla="*/ 6 h 73"/>
                <a:gd name="T60" fmla="*/ 5 w 76"/>
                <a:gd name="T61" fmla="*/ 8 h 73"/>
                <a:gd name="T62" fmla="*/ 5 w 76"/>
                <a:gd name="T63" fmla="*/ 14 h 73"/>
                <a:gd name="T64" fmla="*/ 1 w 76"/>
                <a:gd name="T65" fmla="*/ 17 h 73"/>
                <a:gd name="T66" fmla="*/ 3 w 76"/>
                <a:gd name="T67" fmla="*/ 21 h 73"/>
                <a:gd name="T68" fmla="*/ 3 w 76"/>
                <a:gd name="T69" fmla="*/ 26 h 73"/>
                <a:gd name="T70" fmla="*/ 3 w 76"/>
                <a:gd name="T71" fmla="*/ 31 h 73"/>
                <a:gd name="T72" fmla="*/ 3 w 76"/>
                <a:gd name="T73" fmla="*/ 34 h 73"/>
                <a:gd name="T74" fmla="*/ 3 w 76"/>
                <a:gd name="T75" fmla="*/ 37 h 73"/>
                <a:gd name="T76" fmla="*/ 1 w 76"/>
                <a:gd name="T77" fmla="*/ 40 h 73"/>
                <a:gd name="T78" fmla="*/ 4 w 76"/>
                <a:gd name="T79" fmla="*/ 46 h 73"/>
                <a:gd name="T80" fmla="*/ 7 w 76"/>
                <a:gd name="T81" fmla="*/ 48 h 73"/>
                <a:gd name="T82" fmla="*/ 11 w 76"/>
                <a:gd name="T83" fmla="*/ 49 h 73"/>
                <a:gd name="T84" fmla="*/ 14 w 76"/>
                <a:gd name="T85" fmla="*/ 53 h 73"/>
                <a:gd name="T86" fmla="*/ 21 w 76"/>
                <a:gd name="T87" fmla="*/ 55 h 73"/>
                <a:gd name="T88" fmla="*/ 21 w 76"/>
                <a:gd name="T89" fmla="*/ 55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6" h="73">
                  <a:moveTo>
                    <a:pt x="21" y="55"/>
                  </a:moveTo>
                  <a:cubicBezTo>
                    <a:pt x="21" y="56"/>
                    <a:pt x="24" y="58"/>
                    <a:pt x="25" y="57"/>
                  </a:cubicBezTo>
                  <a:cubicBezTo>
                    <a:pt x="26" y="56"/>
                    <a:pt x="27" y="56"/>
                    <a:pt x="28" y="55"/>
                  </a:cubicBezTo>
                  <a:cubicBezTo>
                    <a:pt x="29" y="55"/>
                    <a:pt x="32" y="53"/>
                    <a:pt x="33" y="53"/>
                  </a:cubicBezTo>
                  <a:cubicBezTo>
                    <a:pt x="37" y="55"/>
                    <a:pt x="40" y="57"/>
                    <a:pt x="44" y="59"/>
                  </a:cubicBezTo>
                  <a:cubicBezTo>
                    <a:pt x="53" y="64"/>
                    <a:pt x="61" y="69"/>
                    <a:pt x="70" y="73"/>
                  </a:cubicBezTo>
                  <a:cubicBezTo>
                    <a:pt x="70" y="71"/>
                    <a:pt x="69" y="71"/>
                    <a:pt x="71" y="71"/>
                  </a:cubicBezTo>
                  <a:cubicBezTo>
                    <a:pt x="71" y="71"/>
                    <a:pt x="75" y="71"/>
                    <a:pt x="75" y="71"/>
                  </a:cubicBezTo>
                  <a:cubicBezTo>
                    <a:pt x="75" y="69"/>
                    <a:pt x="75" y="68"/>
                    <a:pt x="75" y="66"/>
                  </a:cubicBezTo>
                  <a:cubicBezTo>
                    <a:pt x="75" y="59"/>
                    <a:pt x="75" y="52"/>
                    <a:pt x="75" y="44"/>
                  </a:cubicBezTo>
                  <a:cubicBezTo>
                    <a:pt x="75" y="37"/>
                    <a:pt x="75" y="30"/>
                    <a:pt x="75" y="24"/>
                  </a:cubicBezTo>
                  <a:cubicBezTo>
                    <a:pt x="75" y="22"/>
                    <a:pt x="75" y="21"/>
                    <a:pt x="75" y="20"/>
                  </a:cubicBezTo>
                  <a:cubicBezTo>
                    <a:pt x="74" y="19"/>
                    <a:pt x="74" y="18"/>
                    <a:pt x="74" y="17"/>
                  </a:cubicBezTo>
                  <a:cubicBezTo>
                    <a:pt x="74" y="16"/>
                    <a:pt x="76" y="15"/>
                    <a:pt x="76" y="14"/>
                  </a:cubicBezTo>
                  <a:cubicBezTo>
                    <a:pt x="76" y="13"/>
                    <a:pt x="74" y="12"/>
                    <a:pt x="74" y="11"/>
                  </a:cubicBezTo>
                  <a:cubicBezTo>
                    <a:pt x="74" y="10"/>
                    <a:pt x="75" y="9"/>
                    <a:pt x="76" y="8"/>
                  </a:cubicBezTo>
                  <a:cubicBezTo>
                    <a:pt x="73" y="6"/>
                    <a:pt x="70" y="7"/>
                    <a:pt x="67" y="5"/>
                  </a:cubicBezTo>
                  <a:cubicBezTo>
                    <a:pt x="65" y="4"/>
                    <a:pt x="64" y="2"/>
                    <a:pt x="61" y="2"/>
                  </a:cubicBezTo>
                  <a:cubicBezTo>
                    <a:pt x="57" y="2"/>
                    <a:pt x="53" y="3"/>
                    <a:pt x="51" y="6"/>
                  </a:cubicBezTo>
                  <a:cubicBezTo>
                    <a:pt x="50" y="7"/>
                    <a:pt x="50" y="8"/>
                    <a:pt x="51" y="9"/>
                  </a:cubicBezTo>
                  <a:cubicBezTo>
                    <a:pt x="52" y="11"/>
                    <a:pt x="51" y="12"/>
                    <a:pt x="50" y="14"/>
                  </a:cubicBezTo>
                  <a:cubicBezTo>
                    <a:pt x="48" y="17"/>
                    <a:pt x="44" y="15"/>
                    <a:pt x="41" y="13"/>
                  </a:cubicBezTo>
                  <a:cubicBezTo>
                    <a:pt x="39" y="13"/>
                    <a:pt x="38" y="12"/>
                    <a:pt x="36" y="12"/>
                  </a:cubicBezTo>
                  <a:cubicBezTo>
                    <a:pt x="34" y="11"/>
                    <a:pt x="32" y="12"/>
                    <a:pt x="31" y="10"/>
                  </a:cubicBezTo>
                  <a:cubicBezTo>
                    <a:pt x="30" y="9"/>
                    <a:pt x="30" y="7"/>
                    <a:pt x="29" y="6"/>
                  </a:cubicBezTo>
                  <a:cubicBezTo>
                    <a:pt x="28" y="4"/>
                    <a:pt x="25" y="4"/>
                    <a:pt x="23" y="3"/>
                  </a:cubicBezTo>
                  <a:cubicBezTo>
                    <a:pt x="21" y="2"/>
                    <a:pt x="19" y="2"/>
                    <a:pt x="17" y="2"/>
                  </a:cubicBezTo>
                  <a:cubicBezTo>
                    <a:pt x="15" y="2"/>
                    <a:pt x="14" y="1"/>
                    <a:pt x="11" y="0"/>
                  </a:cubicBezTo>
                  <a:cubicBezTo>
                    <a:pt x="11" y="1"/>
                    <a:pt x="11" y="2"/>
                    <a:pt x="11" y="4"/>
                  </a:cubicBezTo>
                  <a:cubicBezTo>
                    <a:pt x="11" y="5"/>
                    <a:pt x="11" y="4"/>
                    <a:pt x="9" y="6"/>
                  </a:cubicBezTo>
                  <a:cubicBezTo>
                    <a:pt x="8" y="7"/>
                    <a:pt x="7" y="7"/>
                    <a:pt x="5" y="8"/>
                  </a:cubicBezTo>
                  <a:cubicBezTo>
                    <a:pt x="3" y="10"/>
                    <a:pt x="6" y="12"/>
                    <a:pt x="5" y="14"/>
                  </a:cubicBezTo>
                  <a:cubicBezTo>
                    <a:pt x="4" y="16"/>
                    <a:pt x="1" y="16"/>
                    <a:pt x="1" y="17"/>
                  </a:cubicBezTo>
                  <a:cubicBezTo>
                    <a:pt x="1" y="19"/>
                    <a:pt x="2" y="20"/>
                    <a:pt x="3" y="21"/>
                  </a:cubicBezTo>
                  <a:cubicBezTo>
                    <a:pt x="3" y="23"/>
                    <a:pt x="3" y="25"/>
                    <a:pt x="3" y="26"/>
                  </a:cubicBezTo>
                  <a:cubicBezTo>
                    <a:pt x="3" y="28"/>
                    <a:pt x="4" y="29"/>
                    <a:pt x="3" y="31"/>
                  </a:cubicBezTo>
                  <a:cubicBezTo>
                    <a:pt x="3" y="32"/>
                    <a:pt x="3" y="33"/>
                    <a:pt x="3" y="34"/>
                  </a:cubicBezTo>
                  <a:cubicBezTo>
                    <a:pt x="3" y="35"/>
                    <a:pt x="4" y="36"/>
                    <a:pt x="3" y="37"/>
                  </a:cubicBezTo>
                  <a:cubicBezTo>
                    <a:pt x="3" y="38"/>
                    <a:pt x="0" y="38"/>
                    <a:pt x="1" y="40"/>
                  </a:cubicBezTo>
                  <a:cubicBezTo>
                    <a:pt x="3" y="42"/>
                    <a:pt x="4" y="43"/>
                    <a:pt x="4" y="46"/>
                  </a:cubicBezTo>
                  <a:cubicBezTo>
                    <a:pt x="4" y="48"/>
                    <a:pt x="6" y="47"/>
                    <a:pt x="7" y="48"/>
                  </a:cubicBezTo>
                  <a:cubicBezTo>
                    <a:pt x="9" y="48"/>
                    <a:pt x="10" y="48"/>
                    <a:pt x="11" y="49"/>
                  </a:cubicBezTo>
                  <a:cubicBezTo>
                    <a:pt x="12" y="50"/>
                    <a:pt x="13" y="52"/>
                    <a:pt x="14" y="53"/>
                  </a:cubicBezTo>
                  <a:cubicBezTo>
                    <a:pt x="16" y="54"/>
                    <a:pt x="19" y="53"/>
                    <a:pt x="21" y="55"/>
                  </a:cubicBezTo>
                  <a:cubicBezTo>
                    <a:pt x="22" y="56"/>
                    <a:pt x="20" y="54"/>
                    <a:pt x="21" y="5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02" name="Freeform 773">
              <a:extLst>
                <a:ext uri="{FF2B5EF4-FFF2-40B4-BE49-F238E27FC236}">
                  <a16:creationId xmlns:a16="http://schemas.microsoft.com/office/drawing/2014/main" id="{EBBDFEAF-E3DE-D764-AA88-3925BA206701}"/>
                </a:ext>
              </a:extLst>
            </p:cNvPr>
            <p:cNvSpPr>
              <a:spLocks/>
            </p:cNvSpPr>
            <p:nvPr/>
          </p:nvSpPr>
          <p:spPr bwMode="auto">
            <a:xfrm>
              <a:off x="5385169" y="3533487"/>
              <a:ext cx="219956" cy="189237"/>
            </a:xfrm>
            <a:custGeom>
              <a:avLst/>
              <a:gdLst>
                <a:gd name="T0" fmla="*/ 19 w 42"/>
                <a:gd name="T1" fmla="*/ 34 h 34"/>
                <a:gd name="T2" fmla="*/ 20 w 42"/>
                <a:gd name="T3" fmla="*/ 25 h 34"/>
                <a:gd name="T4" fmla="*/ 24 w 42"/>
                <a:gd name="T5" fmla="*/ 22 h 34"/>
                <a:gd name="T6" fmla="*/ 25 w 42"/>
                <a:gd name="T7" fmla="*/ 20 h 34"/>
                <a:gd name="T8" fmla="*/ 25 w 42"/>
                <a:gd name="T9" fmla="*/ 9 h 34"/>
                <a:gd name="T10" fmla="*/ 32 w 42"/>
                <a:gd name="T11" fmla="*/ 9 h 34"/>
                <a:gd name="T12" fmla="*/ 41 w 42"/>
                <a:gd name="T13" fmla="*/ 9 h 34"/>
                <a:gd name="T14" fmla="*/ 42 w 42"/>
                <a:gd name="T15" fmla="*/ 2 h 34"/>
                <a:gd name="T16" fmla="*/ 40 w 42"/>
                <a:gd name="T17" fmla="*/ 0 h 34"/>
                <a:gd name="T18" fmla="*/ 20 w 42"/>
                <a:gd name="T19" fmla="*/ 0 h 34"/>
                <a:gd name="T20" fmla="*/ 15 w 42"/>
                <a:gd name="T21" fmla="*/ 6 h 34"/>
                <a:gd name="T22" fmla="*/ 10 w 42"/>
                <a:gd name="T23" fmla="*/ 17 h 34"/>
                <a:gd name="T24" fmla="*/ 8 w 42"/>
                <a:gd name="T25" fmla="*/ 18 h 34"/>
                <a:gd name="T26" fmla="*/ 4 w 42"/>
                <a:gd name="T27" fmla="*/ 25 h 34"/>
                <a:gd name="T28" fmla="*/ 0 w 42"/>
                <a:gd name="T29" fmla="*/ 34 h 34"/>
                <a:gd name="T30" fmla="*/ 19 w 42"/>
                <a:gd name="T31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2" h="34">
                  <a:moveTo>
                    <a:pt x="19" y="34"/>
                  </a:moveTo>
                  <a:cubicBezTo>
                    <a:pt x="19" y="31"/>
                    <a:pt x="18" y="26"/>
                    <a:pt x="20" y="25"/>
                  </a:cubicBezTo>
                  <a:cubicBezTo>
                    <a:pt x="21" y="24"/>
                    <a:pt x="23" y="23"/>
                    <a:pt x="24" y="22"/>
                  </a:cubicBezTo>
                  <a:cubicBezTo>
                    <a:pt x="25" y="22"/>
                    <a:pt x="25" y="20"/>
                    <a:pt x="25" y="20"/>
                  </a:cubicBezTo>
                  <a:cubicBezTo>
                    <a:pt x="25" y="16"/>
                    <a:pt x="25" y="13"/>
                    <a:pt x="25" y="9"/>
                  </a:cubicBezTo>
                  <a:cubicBezTo>
                    <a:pt x="25" y="9"/>
                    <a:pt x="31" y="9"/>
                    <a:pt x="32" y="9"/>
                  </a:cubicBezTo>
                  <a:cubicBezTo>
                    <a:pt x="35" y="9"/>
                    <a:pt x="38" y="9"/>
                    <a:pt x="41" y="9"/>
                  </a:cubicBezTo>
                  <a:cubicBezTo>
                    <a:pt x="42" y="9"/>
                    <a:pt x="42" y="3"/>
                    <a:pt x="42" y="2"/>
                  </a:cubicBezTo>
                  <a:cubicBezTo>
                    <a:pt x="42" y="0"/>
                    <a:pt x="42" y="0"/>
                    <a:pt x="40" y="0"/>
                  </a:cubicBezTo>
                  <a:cubicBezTo>
                    <a:pt x="33" y="0"/>
                    <a:pt x="27" y="0"/>
                    <a:pt x="20" y="0"/>
                  </a:cubicBezTo>
                  <a:cubicBezTo>
                    <a:pt x="18" y="2"/>
                    <a:pt x="17" y="4"/>
                    <a:pt x="15" y="6"/>
                  </a:cubicBezTo>
                  <a:cubicBezTo>
                    <a:pt x="11" y="9"/>
                    <a:pt x="11" y="12"/>
                    <a:pt x="10" y="17"/>
                  </a:cubicBezTo>
                  <a:cubicBezTo>
                    <a:pt x="10" y="17"/>
                    <a:pt x="9" y="18"/>
                    <a:pt x="8" y="18"/>
                  </a:cubicBezTo>
                  <a:cubicBezTo>
                    <a:pt x="6" y="20"/>
                    <a:pt x="5" y="22"/>
                    <a:pt x="4" y="25"/>
                  </a:cubicBezTo>
                  <a:cubicBezTo>
                    <a:pt x="2" y="28"/>
                    <a:pt x="0" y="30"/>
                    <a:pt x="0" y="34"/>
                  </a:cubicBezTo>
                  <a:cubicBezTo>
                    <a:pt x="6" y="34"/>
                    <a:pt x="13" y="34"/>
                    <a:pt x="19" y="3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03" name="Freeform 774">
              <a:extLst>
                <a:ext uri="{FF2B5EF4-FFF2-40B4-BE49-F238E27FC236}">
                  <a16:creationId xmlns:a16="http://schemas.microsoft.com/office/drawing/2014/main" id="{68C84A15-7B56-3668-F908-3263A6AF12D8}"/>
                </a:ext>
              </a:extLst>
            </p:cNvPr>
            <p:cNvSpPr>
              <a:spLocks/>
            </p:cNvSpPr>
            <p:nvPr/>
          </p:nvSpPr>
          <p:spPr bwMode="auto">
            <a:xfrm>
              <a:off x="5490676" y="3266662"/>
              <a:ext cx="314732" cy="266824"/>
            </a:xfrm>
            <a:custGeom>
              <a:avLst/>
              <a:gdLst>
                <a:gd name="T0" fmla="*/ 22 w 60"/>
                <a:gd name="T1" fmla="*/ 48 h 48"/>
                <a:gd name="T2" fmla="*/ 23 w 60"/>
                <a:gd name="T3" fmla="*/ 41 h 48"/>
                <a:gd name="T4" fmla="*/ 29 w 60"/>
                <a:gd name="T5" fmla="*/ 37 h 48"/>
                <a:gd name="T6" fmla="*/ 33 w 60"/>
                <a:gd name="T7" fmla="*/ 37 h 48"/>
                <a:gd name="T8" fmla="*/ 38 w 60"/>
                <a:gd name="T9" fmla="*/ 35 h 48"/>
                <a:gd name="T10" fmla="*/ 40 w 60"/>
                <a:gd name="T11" fmla="*/ 32 h 48"/>
                <a:gd name="T12" fmla="*/ 45 w 60"/>
                <a:gd name="T13" fmla="*/ 31 h 48"/>
                <a:gd name="T14" fmla="*/ 46 w 60"/>
                <a:gd name="T15" fmla="*/ 28 h 48"/>
                <a:gd name="T16" fmla="*/ 50 w 60"/>
                <a:gd name="T17" fmla="*/ 25 h 48"/>
                <a:gd name="T18" fmla="*/ 53 w 60"/>
                <a:gd name="T19" fmla="*/ 23 h 48"/>
                <a:gd name="T20" fmla="*/ 58 w 60"/>
                <a:gd name="T21" fmla="*/ 24 h 48"/>
                <a:gd name="T22" fmla="*/ 56 w 60"/>
                <a:gd name="T23" fmla="*/ 16 h 48"/>
                <a:gd name="T24" fmla="*/ 56 w 60"/>
                <a:gd name="T25" fmla="*/ 10 h 48"/>
                <a:gd name="T26" fmla="*/ 55 w 60"/>
                <a:gd name="T27" fmla="*/ 7 h 48"/>
                <a:gd name="T28" fmla="*/ 51 w 60"/>
                <a:gd name="T29" fmla="*/ 6 h 48"/>
                <a:gd name="T30" fmla="*/ 47 w 60"/>
                <a:gd name="T31" fmla="*/ 6 h 48"/>
                <a:gd name="T32" fmla="*/ 42 w 60"/>
                <a:gd name="T33" fmla="*/ 6 h 48"/>
                <a:gd name="T34" fmla="*/ 35 w 60"/>
                <a:gd name="T35" fmla="*/ 4 h 48"/>
                <a:gd name="T36" fmla="*/ 30 w 60"/>
                <a:gd name="T37" fmla="*/ 13 h 48"/>
                <a:gd name="T38" fmla="*/ 20 w 60"/>
                <a:gd name="T39" fmla="*/ 19 h 48"/>
                <a:gd name="T40" fmla="*/ 16 w 60"/>
                <a:gd name="T41" fmla="*/ 27 h 48"/>
                <a:gd name="T42" fmla="*/ 16 w 60"/>
                <a:gd name="T43" fmla="*/ 35 h 48"/>
                <a:gd name="T44" fmla="*/ 14 w 60"/>
                <a:gd name="T45" fmla="*/ 39 h 48"/>
                <a:gd name="T46" fmla="*/ 9 w 60"/>
                <a:gd name="T47" fmla="*/ 42 h 48"/>
                <a:gd name="T48" fmla="*/ 5 w 60"/>
                <a:gd name="T49" fmla="*/ 45 h 48"/>
                <a:gd name="T50" fmla="*/ 0 w 60"/>
                <a:gd name="T51" fmla="*/ 48 h 48"/>
                <a:gd name="T52" fmla="*/ 22 w 60"/>
                <a:gd name="T5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0" h="48">
                  <a:moveTo>
                    <a:pt x="22" y="48"/>
                  </a:moveTo>
                  <a:cubicBezTo>
                    <a:pt x="22" y="45"/>
                    <a:pt x="21" y="43"/>
                    <a:pt x="23" y="41"/>
                  </a:cubicBezTo>
                  <a:cubicBezTo>
                    <a:pt x="25" y="40"/>
                    <a:pt x="28" y="39"/>
                    <a:pt x="29" y="37"/>
                  </a:cubicBezTo>
                  <a:cubicBezTo>
                    <a:pt x="30" y="37"/>
                    <a:pt x="32" y="37"/>
                    <a:pt x="33" y="37"/>
                  </a:cubicBezTo>
                  <a:cubicBezTo>
                    <a:pt x="34" y="36"/>
                    <a:pt x="36" y="36"/>
                    <a:pt x="38" y="35"/>
                  </a:cubicBezTo>
                  <a:cubicBezTo>
                    <a:pt x="39" y="34"/>
                    <a:pt x="39" y="33"/>
                    <a:pt x="40" y="32"/>
                  </a:cubicBezTo>
                  <a:cubicBezTo>
                    <a:pt x="41" y="31"/>
                    <a:pt x="44" y="32"/>
                    <a:pt x="45" y="31"/>
                  </a:cubicBezTo>
                  <a:cubicBezTo>
                    <a:pt x="46" y="30"/>
                    <a:pt x="46" y="29"/>
                    <a:pt x="46" y="28"/>
                  </a:cubicBezTo>
                  <a:cubicBezTo>
                    <a:pt x="46" y="26"/>
                    <a:pt x="49" y="26"/>
                    <a:pt x="50" y="25"/>
                  </a:cubicBezTo>
                  <a:cubicBezTo>
                    <a:pt x="51" y="24"/>
                    <a:pt x="51" y="23"/>
                    <a:pt x="53" y="23"/>
                  </a:cubicBezTo>
                  <a:cubicBezTo>
                    <a:pt x="54" y="23"/>
                    <a:pt x="57" y="24"/>
                    <a:pt x="58" y="24"/>
                  </a:cubicBezTo>
                  <a:cubicBezTo>
                    <a:pt x="60" y="23"/>
                    <a:pt x="56" y="17"/>
                    <a:pt x="56" y="16"/>
                  </a:cubicBezTo>
                  <a:cubicBezTo>
                    <a:pt x="56" y="14"/>
                    <a:pt x="56" y="12"/>
                    <a:pt x="56" y="10"/>
                  </a:cubicBezTo>
                  <a:cubicBezTo>
                    <a:pt x="55" y="9"/>
                    <a:pt x="55" y="8"/>
                    <a:pt x="55" y="7"/>
                  </a:cubicBezTo>
                  <a:cubicBezTo>
                    <a:pt x="53" y="7"/>
                    <a:pt x="52" y="6"/>
                    <a:pt x="51" y="6"/>
                  </a:cubicBezTo>
                  <a:cubicBezTo>
                    <a:pt x="50" y="5"/>
                    <a:pt x="48" y="6"/>
                    <a:pt x="47" y="6"/>
                  </a:cubicBezTo>
                  <a:cubicBezTo>
                    <a:pt x="46" y="5"/>
                    <a:pt x="44" y="6"/>
                    <a:pt x="42" y="6"/>
                  </a:cubicBezTo>
                  <a:cubicBezTo>
                    <a:pt x="40" y="6"/>
                    <a:pt x="36" y="0"/>
                    <a:pt x="35" y="4"/>
                  </a:cubicBezTo>
                  <a:cubicBezTo>
                    <a:pt x="34" y="7"/>
                    <a:pt x="33" y="10"/>
                    <a:pt x="30" y="13"/>
                  </a:cubicBezTo>
                  <a:cubicBezTo>
                    <a:pt x="27" y="16"/>
                    <a:pt x="23" y="16"/>
                    <a:pt x="20" y="19"/>
                  </a:cubicBezTo>
                  <a:cubicBezTo>
                    <a:pt x="18" y="21"/>
                    <a:pt x="17" y="24"/>
                    <a:pt x="16" y="27"/>
                  </a:cubicBezTo>
                  <a:cubicBezTo>
                    <a:pt x="16" y="29"/>
                    <a:pt x="17" y="32"/>
                    <a:pt x="16" y="35"/>
                  </a:cubicBezTo>
                  <a:cubicBezTo>
                    <a:pt x="15" y="36"/>
                    <a:pt x="14" y="38"/>
                    <a:pt x="14" y="39"/>
                  </a:cubicBezTo>
                  <a:cubicBezTo>
                    <a:pt x="13" y="41"/>
                    <a:pt x="11" y="41"/>
                    <a:pt x="9" y="42"/>
                  </a:cubicBezTo>
                  <a:cubicBezTo>
                    <a:pt x="8" y="43"/>
                    <a:pt x="7" y="44"/>
                    <a:pt x="5" y="45"/>
                  </a:cubicBezTo>
                  <a:cubicBezTo>
                    <a:pt x="4" y="46"/>
                    <a:pt x="2" y="46"/>
                    <a:pt x="0" y="48"/>
                  </a:cubicBezTo>
                  <a:lnTo>
                    <a:pt x="22" y="48"/>
                  </a:ln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04" name="Freeform 775">
              <a:extLst>
                <a:ext uri="{FF2B5EF4-FFF2-40B4-BE49-F238E27FC236}">
                  <a16:creationId xmlns:a16="http://schemas.microsoft.com/office/drawing/2014/main" id="{E192A91D-A11E-CB7B-6D61-A9FD5E5704F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1549" y="3240170"/>
              <a:ext cx="543629" cy="548785"/>
            </a:xfrm>
            <a:custGeom>
              <a:avLst/>
              <a:gdLst>
                <a:gd name="T0" fmla="*/ 35 w 104"/>
                <a:gd name="T1" fmla="*/ 22 h 99"/>
                <a:gd name="T2" fmla="*/ 36 w 104"/>
                <a:gd name="T3" fmla="*/ 29 h 99"/>
                <a:gd name="T4" fmla="*/ 31 w 104"/>
                <a:gd name="T5" fmla="*/ 28 h 99"/>
                <a:gd name="T6" fmla="*/ 29 w 104"/>
                <a:gd name="T7" fmla="*/ 30 h 99"/>
                <a:gd name="T8" fmla="*/ 26 w 104"/>
                <a:gd name="T9" fmla="*/ 31 h 99"/>
                <a:gd name="T10" fmla="*/ 24 w 104"/>
                <a:gd name="T11" fmla="*/ 35 h 99"/>
                <a:gd name="T12" fmla="*/ 20 w 104"/>
                <a:gd name="T13" fmla="*/ 37 h 99"/>
                <a:gd name="T14" fmla="*/ 17 w 104"/>
                <a:gd name="T15" fmla="*/ 40 h 99"/>
                <a:gd name="T16" fmla="*/ 11 w 104"/>
                <a:gd name="T17" fmla="*/ 42 h 99"/>
                <a:gd name="T18" fmla="*/ 8 w 104"/>
                <a:gd name="T19" fmla="*/ 43 h 99"/>
                <a:gd name="T20" fmla="*/ 4 w 104"/>
                <a:gd name="T21" fmla="*/ 45 h 99"/>
                <a:gd name="T22" fmla="*/ 1 w 104"/>
                <a:gd name="T23" fmla="*/ 52 h 99"/>
                <a:gd name="T24" fmla="*/ 2 w 104"/>
                <a:gd name="T25" fmla="*/ 56 h 99"/>
                <a:gd name="T26" fmla="*/ 6 w 104"/>
                <a:gd name="T27" fmla="*/ 59 h 99"/>
                <a:gd name="T28" fmla="*/ 37 w 104"/>
                <a:gd name="T29" fmla="*/ 79 h 99"/>
                <a:gd name="T30" fmla="*/ 48 w 104"/>
                <a:gd name="T31" fmla="*/ 86 h 99"/>
                <a:gd name="T32" fmla="*/ 49 w 104"/>
                <a:gd name="T33" fmla="*/ 87 h 99"/>
                <a:gd name="T34" fmla="*/ 58 w 104"/>
                <a:gd name="T35" fmla="*/ 93 h 99"/>
                <a:gd name="T36" fmla="*/ 61 w 104"/>
                <a:gd name="T37" fmla="*/ 99 h 99"/>
                <a:gd name="T38" fmla="*/ 67 w 104"/>
                <a:gd name="T39" fmla="*/ 97 h 99"/>
                <a:gd name="T40" fmla="*/ 72 w 104"/>
                <a:gd name="T41" fmla="*/ 96 h 99"/>
                <a:gd name="T42" fmla="*/ 85 w 104"/>
                <a:gd name="T43" fmla="*/ 87 h 99"/>
                <a:gd name="T44" fmla="*/ 100 w 104"/>
                <a:gd name="T45" fmla="*/ 77 h 99"/>
                <a:gd name="T46" fmla="*/ 104 w 104"/>
                <a:gd name="T47" fmla="*/ 75 h 99"/>
                <a:gd name="T48" fmla="*/ 97 w 104"/>
                <a:gd name="T49" fmla="*/ 69 h 99"/>
                <a:gd name="T50" fmla="*/ 94 w 104"/>
                <a:gd name="T51" fmla="*/ 69 h 99"/>
                <a:gd name="T52" fmla="*/ 92 w 104"/>
                <a:gd name="T53" fmla="*/ 63 h 99"/>
                <a:gd name="T54" fmla="*/ 92 w 104"/>
                <a:gd name="T55" fmla="*/ 60 h 99"/>
                <a:gd name="T56" fmla="*/ 93 w 104"/>
                <a:gd name="T57" fmla="*/ 55 h 99"/>
                <a:gd name="T58" fmla="*/ 93 w 104"/>
                <a:gd name="T59" fmla="*/ 50 h 99"/>
                <a:gd name="T60" fmla="*/ 93 w 104"/>
                <a:gd name="T61" fmla="*/ 46 h 99"/>
                <a:gd name="T62" fmla="*/ 92 w 104"/>
                <a:gd name="T63" fmla="*/ 42 h 99"/>
                <a:gd name="T64" fmla="*/ 91 w 104"/>
                <a:gd name="T65" fmla="*/ 37 h 99"/>
                <a:gd name="T66" fmla="*/ 87 w 104"/>
                <a:gd name="T67" fmla="*/ 27 h 99"/>
                <a:gd name="T68" fmla="*/ 82 w 104"/>
                <a:gd name="T69" fmla="*/ 20 h 99"/>
                <a:gd name="T70" fmla="*/ 85 w 104"/>
                <a:gd name="T71" fmla="*/ 13 h 99"/>
                <a:gd name="T72" fmla="*/ 86 w 104"/>
                <a:gd name="T73" fmla="*/ 2 h 99"/>
                <a:gd name="T74" fmla="*/ 84 w 104"/>
                <a:gd name="T75" fmla="*/ 1 h 99"/>
                <a:gd name="T76" fmla="*/ 81 w 104"/>
                <a:gd name="T77" fmla="*/ 0 h 99"/>
                <a:gd name="T78" fmla="*/ 79 w 104"/>
                <a:gd name="T79" fmla="*/ 1 h 99"/>
                <a:gd name="T80" fmla="*/ 75 w 104"/>
                <a:gd name="T81" fmla="*/ 0 h 99"/>
                <a:gd name="T82" fmla="*/ 72 w 104"/>
                <a:gd name="T83" fmla="*/ 2 h 99"/>
                <a:gd name="T84" fmla="*/ 68 w 104"/>
                <a:gd name="T85" fmla="*/ 1 h 99"/>
                <a:gd name="T86" fmla="*/ 61 w 104"/>
                <a:gd name="T87" fmla="*/ 2 h 99"/>
                <a:gd name="T88" fmla="*/ 46 w 104"/>
                <a:gd name="T89" fmla="*/ 5 h 99"/>
                <a:gd name="T90" fmla="*/ 43 w 104"/>
                <a:gd name="T91" fmla="*/ 7 h 99"/>
                <a:gd name="T92" fmla="*/ 39 w 104"/>
                <a:gd name="T93" fmla="*/ 8 h 99"/>
                <a:gd name="T94" fmla="*/ 34 w 104"/>
                <a:gd name="T95" fmla="*/ 12 h 99"/>
                <a:gd name="T96" fmla="*/ 35 w 104"/>
                <a:gd name="T97" fmla="*/ 22 h 99"/>
                <a:gd name="T98" fmla="*/ 35 w 104"/>
                <a:gd name="T99" fmla="*/ 22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4" h="99">
                  <a:moveTo>
                    <a:pt x="35" y="22"/>
                  </a:moveTo>
                  <a:cubicBezTo>
                    <a:pt x="36" y="23"/>
                    <a:pt x="40" y="29"/>
                    <a:pt x="36" y="29"/>
                  </a:cubicBezTo>
                  <a:cubicBezTo>
                    <a:pt x="35" y="28"/>
                    <a:pt x="32" y="27"/>
                    <a:pt x="31" y="28"/>
                  </a:cubicBezTo>
                  <a:cubicBezTo>
                    <a:pt x="30" y="29"/>
                    <a:pt x="30" y="29"/>
                    <a:pt x="29" y="30"/>
                  </a:cubicBezTo>
                  <a:cubicBezTo>
                    <a:pt x="28" y="31"/>
                    <a:pt x="27" y="31"/>
                    <a:pt x="26" y="31"/>
                  </a:cubicBezTo>
                  <a:cubicBezTo>
                    <a:pt x="24" y="32"/>
                    <a:pt x="25" y="34"/>
                    <a:pt x="24" y="35"/>
                  </a:cubicBezTo>
                  <a:cubicBezTo>
                    <a:pt x="24" y="37"/>
                    <a:pt x="21" y="36"/>
                    <a:pt x="20" y="37"/>
                  </a:cubicBezTo>
                  <a:cubicBezTo>
                    <a:pt x="18" y="37"/>
                    <a:pt x="18" y="39"/>
                    <a:pt x="17" y="40"/>
                  </a:cubicBezTo>
                  <a:cubicBezTo>
                    <a:pt x="15" y="42"/>
                    <a:pt x="13" y="41"/>
                    <a:pt x="11" y="42"/>
                  </a:cubicBezTo>
                  <a:cubicBezTo>
                    <a:pt x="10" y="42"/>
                    <a:pt x="9" y="42"/>
                    <a:pt x="8" y="43"/>
                  </a:cubicBezTo>
                  <a:cubicBezTo>
                    <a:pt x="7" y="43"/>
                    <a:pt x="5" y="44"/>
                    <a:pt x="4" y="45"/>
                  </a:cubicBezTo>
                  <a:cubicBezTo>
                    <a:pt x="0" y="47"/>
                    <a:pt x="1" y="48"/>
                    <a:pt x="1" y="52"/>
                  </a:cubicBezTo>
                  <a:cubicBezTo>
                    <a:pt x="1" y="55"/>
                    <a:pt x="0" y="55"/>
                    <a:pt x="2" y="56"/>
                  </a:cubicBezTo>
                  <a:cubicBezTo>
                    <a:pt x="3" y="57"/>
                    <a:pt x="5" y="58"/>
                    <a:pt x="6" y="59"/>
                  </a:cubicBezTo>
                  <a:cubicBezTo>
                    <a:pt x="16" y="66"/>
                    <a:pt x="26" y="72"/>
                    <a:pt x="37" y="79"/>
                  </a:cubicBezTo>
                  <a:cubicBezTo>
                    <a:pt x="40" y="81"/>
                    <a:pt x="44" y="84"/>
                    <a:pt x="48" y="86"/>
                  </a:cubicBezTo>
                  <a:cubicBezTo>
                    <a:pt x="48" y="87"/>
                    <a:pt x="49" y="87"/>
                    <a:pt x="49" y="87"/>
                  </a:cubicBezTo>
                  <a:cubicBezTo>
                    <a:pt x="52" y="92"/>
                    <a:pt x="54" y="92"/>
                    <a:pt x="58" y="93"/>
                  </a:cubicBezTo>
                  <a:cubicBezTo>
                    <a:pt x="61" y="94"/>
                    <a:pt x="58" y="98"/>
                    <a:pt x="61" y="99"/>
                  </a:cubicBezTo>
                  <a:cubicBezTo>
                    <a:pt x="62" y="99"/>
                    <a:pt x="65" y="98"/>
                    <a:pt x="67" y="97"/>
                  </a:cubicBezTo>
                  <a:cubicBezTo>
                    <a:pt x="68" y="97"/>
                    <a:pt x="71" y="97"/>
                    <a:pt x="72" y="96"/>
                  </a:cubicBezTo>
                  <a:cubicBezTo>
                    <a:pt x="76" y="93"/>
                    <a:pt x="80" y="90"/>
                    <a:pt x="85" y="87"/>
                  </a:cubicBezTo>
                  <a:cubicBezTo>
                    <a:pt x="90" y="84"/>
                    <a:pt x="95" y="80"/>
                    <a:pt x="100" y="77"/>
                  </a:cubicBezTo>
                  <a:cubicBezTo>
                    <a:pt x="101" y="77"/>
                    <a:pt x="102" y="76"/>
                    <a:pt x="104" y="75"/>
                  </a:cubicBezTo>
                  <a:cubicBezTo>
                    <a:pt x="102" y="71"/>
                    <a:pt x="101" y="70"/>
                    <a:pt x="97" y="69"/>
                  </a:cubicBezTo>
                  <a:cubicBezTo>
                    <a:pt x="96" y="69"/>
                    <a:pt x="94" y="69"/>
                    <a:pt x="94" y="69"/>
                  </a:cubicBezTo>
                  <a:cubicBezTo>
                    <a:pt x="94" y="66"/>
                    <a:pt x="94" y="65"/>
                    <a:pt x="92" y="63"/>
                  </a:cubicBezTo>
                  <a:cubicBezTo>
                    <a:pt x="91" y="61"/>
                    <a:pt x="91" y="61"/>
                    <a:pt x="92" y="60"/>
                  </a:cubicBezTo>
                  <a:cubicBezTo>
                    <a:pt x="94" y="58"/>
                    <a:pt x="93" y="57"/>
                    <a:pt x="93" y="55"/>
                  </a:cubicBezTo>
                  <a:cubicBezTo>
                    <a:pt x="93" y="53"/>
                    <a:pt x="94" y="52"/>
                    <a:pt x="93" y="50"/>
                  </a:cubicBezTo>
                  <a:cubicBezTo>
                    <a:pt x="93" y="49"/>
                    <a:pt x="93" y="48"/>
                    <a:pt x="93" y="46"/>
                  </a:cubicBezTo>
                  <a:cubicBezTo>
                    <a:pt x="93" y="45"/>
                    <a:pt x="93" y="43"/>
                    <a:pt x="92" y="42"/>
                  </a:cubicBezTo>
                  <a:cubicBezTo>
                    <a:pt x="91" y="41"/>
                    <a:pt x="91" y="39"/>
                    <a:pt x="91" y="37"/>
                  </a:cubicBezTo>
                  <a:cubicBezTo>
                    <a:pt x="91" y="34"/>
                    <a:pt x="90" y="30"/>
                    <a:pt x="87" y="27"/>
                  </a:cubicBezTo>
                  <a:cubicBezTo>
                    <a:pt x="85" y="25"/>
                    <a:pt x="83" y="23"/>
                    <a:pt x="82" y="20"/>
                  </a:cubicBezTo>
                  <a:cubicBezTo>
                    <a:pt x="80" y="16"/>
                    <a:pt x="84" y="17"/>
                    <a:pt x="85" y="13"/>
                  </a:cubicBezTo>
                  <a:cubicBezTo>
                    <a:pt x="85" y="9"/>
                    <a:pt x="85" y="6"/>
                    <a:pt x="86" y="2"/>
                  </a:cubicBezTo>
                  <a:cubicBezTo>
                    <a:pt x="85" y="2"/>
                    <a:pt x="85" y="1"/>
                    <a:pt x="84" y="1"/>
                  </a:cubicBezTo>
                  <a:cubicBezTo>
                    <a:pt x="82" y="2"/>
                    <a:pt x="82" y="0"/>
                    <a:pt x="81" y="0"/>
                  </a:cubicBezTo>
                  <a:cubicBezTo>
                    <a:pt x="80" y="0"/>
                    <a:pt x="80" y="1"/>
                    <a:pt x="79" y="1"/>
                  </a:cubicBezTo>
                  <a:cubicBezTo>
                    <a:pt x="77" y="1"/>
                    <a:pt x="77" y="0"/>
                    <a:pt x="75" y="0"/>
                  </a:cubicBezTo>
                  <a:cubicBezTo>
                    <a:pt x="74" y="1"/>
                    <a:pt x="73" y="1"/>
                    <a:pt x="72" y="2"/>
                  </a:cubicBezTo>
                  <a:cubicBezTo>
                    <a:pt x="70" y="3"/>
                    <a:pt x="70" y="2"/>
                    <a:pt x="68" y="1"/>
                  </a:cubicBezTo>
                  <a:cubicBezTo>
                    <a:pt x="66" y="1"/>
                    <a:pt x="63" y="1"/>
                    <a:pt x="61" y="2"/>
                  </a:cubicBezTo>
                  <a:cubicBezTo>
                    <a:pt x="56" y="3"/>
                    <a:pt x="51" y="3"/>
                    <a:pt x="46" y="5"/>
                  </a:cubicBezTo>
                  <a:cubicBezTo>
                    <a:pt x="45" y="6"/>
                    <a:pt x="44" y="7"/>
                    <a:pt x="43" y="7"/>
                  </a:cubicBezTo>
                  <a:cubicBezTo>
                    <a:pt x="42" y="8"/>
                    <a:pt x="40" y="8"/>
                    <a:pt x="39" y="8"/>
                  </a:cubicBezTo>
                  <a:cubicBezTo>
                    <a:pt x="37" y="9"/>
                    <a:pt x="37" y="12"/>
                    <a:pt x="34" y="12"/>
                  </a:cubicBezTo>
                  <a:cubicBezTo>
                    <a:pt x="35" y="15"/>
                    <a:pt x="35" y="18"/>
                    <a:pt x="35" y="22"/>
                  </a:cubicBezTo>
                  <a:cubicBezTo>
                    <a:pt x="36" y="23"/>
                    <a:pt x="35" y="20"/>
                    <a:pt x="35" y="2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</p:grpSp>
      <p:grpSp>
        <p:nvGrpSpPr>
          <p:cNvPr id="789" name="Group 788">
            <a:extLst>
              <a:ext uri="{FF2B5EF4-FFF2-40B4-BE49-F238E27FC236}">
                <a16:creationId xmlns:a16="http://schemas.microsoft.com/office/drawing/2014/main" id="{3374834D-54D1-A8C2-E98A-F5AB6044D32C}"/>
              </a:ext>
            </a:extLst>
          </p:cNvPr>
          <p:cNvGrpSpPr/>
          <p:nvPr/>
        </p:nvGrpSpPr>
        <p:grpSpPr>
          <a:xfrm>
            <a:off x="8725627" y="4402083"/>
            <a:ext cx="1718510" cy="1339795"/>
            <a:chOff x="8725627" y="4402083"/>
            <a:chExt cx="1718510" cy="1339795"/>
          </a:xfrm>
          <a:solidFill>
            <a:schemeClr val="bg2"/>
          </a:solidFill>
        </p:grpSpPr>
        <p:sp>
          <p:nvSpPr>
            <p:cNvPr id="790" name="Freeform 403">
              <a:extLst>
                <a:ext uri="{FF2B5EF4-FFF2-40B4-BE49-F238E27FC236}">
                  <a16:creationId xmlns:a16="http://schemas.microsoft.com/office/drawing/2014/main" id="{81DF45FD-2445-7263-526B-4740416298C6}"/>
                </a:ext>
              </a:extLst>
            </p:cNvPr>
            <p:cNvSpPr>
              <a:spLocks/>
            </p:cNvSpPr>
            <p:nvPr/>
          </p:nvSpPr>
          <p:spPr bwMode="auto">
            <a:xfrm>
              <a:off x="8725627" y="4629165"/>
              <a:ext cx="1069375" cy="845885"/>
            </a:xfrm>
            <a:custGeom>
              <a:avLst/>
              <a:gdLst>
                <a:gd name="T0" fmla="*/ 96 w 204"/>
                <a:gd name="T1" fmla="*/ 3 h 152"/>
                <a:gd name="T2" fmla="*/ 97 w 204"/>
                <a:gd name="T3" fmla="*/ 7 h 152"/>
                <a:gd name="T4" fmla="*/ 86 w 204"/>
                <a:gd name="T5" fmla="*/ 13 h 152"/>
                <a:gd name="T6" fmla="*/ 76 w 204"/>
                <a:gd name="T7" fmla="*/ 24 h 152"/>
                <a:gd name="T8" fmla="*/ 71 w 204"/>
                <a:gd name="T9" fmla="*/ 15 h 152"/>
                <a:gd name="T10" fmla="*/ 65 w 204"/>
                <a:gd name="T11" fmla="*/ 19 h 152"/>
                <a:gd name="T12" fmla="*/ 62 w 204"/>
                <a:gd name="T13" fmla="*/ 22 h 152"/>
                <a:gd name="T14" fmla="*/ 59 w 204"/>
                <a:gd name="T15" fmla="*/ 26 h 152"/>
                <a:gd name="T16" fmla="*/ 55 w 204"/>
                <a:gd name="T17" fmla="*/ 33 h 152"/>
                <a:gd name="T18" fmla="*/ 51 w 204"/>
                <a:gd name="T19" fmla="*/ 30 h 152"/>
                <a:gd name="T20" fmla="*/ 47 w 204"/>
                <a:gd name="T21" fmla="*/ 38 h 152"/>
                <a:gd name="T22" fmla="*/ 24 w 204"/>
                <a:gd name="T23" fmla="*/ 50 h 152"/>
                <a:gd name="T24" fmla="*/ 7 w 204"/>
                <a:gd name="T25" fmla="*/ 60 h 152"/>
                <a:gd name="T26" fmla="*/ 3 w 204"/>
                <a:gd name="T27" fmla="*/ 68 h 152"/>
                <a:gd name="T28" fmla="*/ 4 w 204"/>
                <a:gd name="T29" fmla="*/ 82 h 152"/>
                <a:gd name="T30" fmla="*/ 7 w 204"/>
                <a:gd name="T31" fmla="*/ 91 h 152"/>
                <a:gd name="T32" fmla="*/ 13 w 204"/>
                <a:gd name="T33" fmla="*/ 106 h 152"/>
                <a:gd name="T34" fmla="*/ 11 w 204"/>
                <a:gd name="T35" fmla="*/ 121 h 152"/>
                <a:gd name="T36" fmla="*/ 30 w 204"/>
                <a:gd name="T37" fmla="*/ 125 h 152"/>
                <a:gd name="T38" fmla="*/ 54 w 204"/>
                <a:gd name="T39" fmla="*/ 121 h 152"/>
                <a:gd name="T40" fmla="*/ 73 w 204"/>
                <a:gd name="T41" fmla="*/ 112 h 152"/>
                <a:gd name="T42" fmla="*/ 96 w 204"/>
                <a:gd name="T43" fmla="*/ 111 h 152"/>
                <a:gd name="T44" fmla="*/ 111 w 204"/>
                <a:gd name="T45" fmla="*/ 121 h 152"/>
                <a:gd name="T46" fmla="*/ 116 w 204"/>
                <a:gd name="T47" fmla="*/ 125 h 152"/>
                <a:gd name="T48" fmla="*/ 125 w 204"/>
                <a:gd name="T49" fmla="*/ 120 h 152"/>
                <a:gd name="T50" fmla="*/ 122 w 204"/>
                <a:gd name="T51" fmla="*/ 129 h 152"/>
                <a:gd name="T52" fmla="*/ 131 w 204"/>
                <a:gd name="T53" fmla="*/ 132 h 152"/>
                <a:gd name="T54" fmla="*/ 145 w 204"/>
                <a:gd name="T55" fmla="*/ 147 h 152"/>
                <a:gd name="T56" fmla="*/ 161 w 204"/>
                <a:gd name="T57" fmla="*/ 145 h 152"/>
                <a:gd name="T58" fmla="*/ 165 w 204"/>
                <a:gd name="T59" fmla="*/ 149 h 152"/>
                <a:gd name="T60" fmla="*/ 174 w 204"/>
                <a:gd name="T61" fmla="*/ 145 h 152"/>
                <a:gd name="T62" fmla="*/ 194 w 204"/>
                <a:gd name="T63" fmla="*/ 118 h 152"/>
                <a:gd name="T64" fmla="*/ 200 w 204"/>
                <a:gd name="T65" fmla="*/ 108 h 152"/>
                <a:gd name="T66" fmla="*/ 202 w 204"/>
                <a:gd name="T67" fmla="*/ 96 h 152"/>
                <a:gd name="T68" fmla="*/ 201 w 204"/>
                <a:gd name="T69" fmla="*/ 83 h 152"/>
                <a:gd name="T70" fmla="*/ 196 w 204"/>
                <a:gd name="T71" fmla="*/ 70 h 152"/>
                <a:gd name="T72" fmla="*/ 184 w 204"/>
                <a:gd name="T73" fmla="*/ 59 h 152"/>
                <a:gd name="T74" fmla="*/ 180 w 204"/>
                <a:gd name="T75" fmla="*/ 50 h 152"/>
                <a:gd name="T76" fmla="*/ 166 w 204"/>
                <a:gd name="T77" fmla="*/ 36 h 152"/>
                <a:gd name="T78" fmla="*/ 161 w 204"/>
                <a:gd name="T79" fmla="*/ 20 h 152"/>
                <a:gd name="T80" fmla="*/ 152 w 204"/>
                <a:gd name="T81" fmla="*/ 8 h 152"/>
                <a:gd name="T82" fmla="*/ 145 w 204"/>
                <a:gd name="T83" fmla="*/ 6 h 152"/>
                <a:gd name="T84" fmla="*/ 143 w 204"/>
                <a:gd name="T85" fmla="*/ 16 h 152"/>
                <a:gd name="T86" fmla="*/ 130 w 204"/>
                <a:gd name="T87" fmla="*/ 31 h 152"/>
                <a:gd name="T88" fmla="*/ 115 w 204"/>
                <a:gd name="T89" fmla="*/ 17 h 152"/>
                <a:gd name="T90" fmla="*/ 118 w 204"/>
                <a:gd name="T91" fmla="*/ 11 h 152"/>
                <a:gd name="T92" fmla="*/ 117 w 204"/>
                <a:gd name="T93" fmla="*/ 8 h 152"/>
                <a:gd name="T94" fmla="*/ 109 w 204"/>
                <a:gd name="T95" fmla="*/ 7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04" h="152">
                  <a:moveTo>
                    <a:pt x="101" y="4"/>
                  </a:moveTo>
                  <a:cubicBezTo>
                    <a:pt x="99" y="4"/>
                    <a:pt x="98" y="2"/>
                    <a:pt x="96" y="2"/>
                  </a:cubicBezTo>
                  <a:cubicBezTo>
                    <a:pt x="95" y="1"/>
                    <a:pt x="95" y="2"/>
                    <a:pt x="96" y="3"/>
                  </a:cubicBezTo>
                  <a:cubicBezTo>
                    <a:pt x="96" y="4"/>
                    <a:pt x="98" y="3"/>
                    <a:pt x="98" y="3"/>
                  </a:cubicBezTo>
                  <a:cubicBezTo>
                    <a:pt x="99" y="4"/>
                    <a:pt x="98" y="6"/>
                    <a:pt x="99" y="6"/>
                  </a:cubicBezTo>
                  <a:cubicBezTo>
                    <a:pt x="99" y="7"/>
                    <a:pt x="98" y="7"/>
                    <a:pt x="97" y="7"/>
                  </a:cubicBezTo>
                  <a:cubicBezTo>
                    <a:pt x="96" y="8"/>
                    <a:pt x="95" y="8"/>
                    <a:pt x="94" y="8"/>
                  </a:cubicBezTo>
                  <a:cubicBezTo>
                    <a:pt x="92" y="7"/>
                    <a:pt x="92" y="8"/>
                    <a:pt x="90" y="8"/>
                  </a:cubicBezTo>
                  <a:cubicBezTo>
                    <a:pt x="87" y="9"/>
                    <a:pt x="88" y="12"/>
                    <a:pt x="86" y="13"/>
                  </a:cubicBezTo>
                  <a:cubicBezTo>
                    <a:pt x="84" y="15"/>
                    <a:pt x="83" y="18"/>
                    <a:pt x="84" y="20"/>
                  </a:cubicBezTo>
                  <a:cubicBezTo>
                    <a:pt x="86" y="23"/>
                    <a:pt x="81" y="21"/>
                    <a:pt x="80" y="21"/>
                  </a:cubicBezTo>
                  <a:cubicBezTo>
                    <a:pt x="79" y="21"/>
                    <a:pt x="76" y="24"/>
                    <a:pt x="76" y="24"/>
                  </a:cubicBezTo>
                  <a:cubicBezTo>
                    <a:pt x="76" y="24"/>
                    <a:pt x="75" y="19"/>
                    <a:pt x="74" y="18"/>
                  </a:cubicBezTo>
                  <a:cubicBezTo>
                    <a:pt x="74" y="17"/>
                    <a:pt x="73" y="17"/>
                    <a:pt x="72" y="17"/>
                  </a:cubicBezTo>
                  <a:cubicBezTo>
                    <a:pt x="71" y="16"/>
                    <a:pt x="71" y="16"/>
                    <a:pt x="71" y="15"/>
                  </a:cubicBezTo>
                  <a:cubicBezTo>
                    <a:pt x="70" y="14"/>
                    <a:pt x="70" y="16"/>
                    <a:pt x="70" y="17"/>
                  </a:cubicBezTo>
                  <a:cubicBezTo>
                    <a:pt x="69" y="17"/>
                    <a:pt x="68" y="17"/>
                    <a:pt x="68" y="16"/>
                  </a:cubicBezTo>
                  <a:cubicBezTo>
                    <a:pt x="66" y="16"/>
                    <a:pt x="67" y="20"/>
                    <a:pt x="65" y="19"/>
                  </a:cubicBezTo>
                  <a:cubicBezTo>
                    <a:pt x="65" y="19"/>
                    <a:pt x="64" y="18"/>
                    <a:pt x="64" y="18"/>
                  </a:cubicBezTo>
                  <a:cubicBezTo>
                    <a:pt x="63" y="19"/>
                    <a:pt x="63" y="19"/>
                    <a:pt x="63" y="19"/>
                  </a:cubicBezTo>
                  <a:cubicBezTo>
                    <a:pt x="60" y="18"/>
                    <a:pt x="62" y="22"/>
                    <a:pt x="62" y="22"/>
                  </a:cubicBezTo>
                  <a:cubicBezTo>
                    <a:pt x="62" y="22"/>
                    <a:pt x="60" y="22"/>
                    <a:pt x="60" y="22"/>
                  </a:cubicBezTo>
                  <a:cubicBezTo>
                    <a:pt x="60" y="23"/>
                    <a:pt x="61" y="23"/>
                    <a:pt x="61" y="23"/>
                  </a:cubicBezTo>
                  <a:cubicBezTo>
                    <a:pt x="60" y="25"/>
                    <a:pt x="59" y="23"/>
                    <a:pt x="59" y="26"/>
                  </a:cubicBezTo>
                  <a:cubicBezTo>
                    <a:pt x="59" y="27"/>
                    <a:pt x="60" y="27"/>
                    <a:pt x="60" y="28"/>
                  </a:cubicBezTo>
                  <a:cubicBezTo>
                    <a:pt x="60" y="30"/>
                    <a:pt x="53" y="26"/>
                    <a:pt x="53" y="29"/>
                  </a:cubicBezTo>
                  <a:cubicBezTo>
                    <a:pt x="53" y="30"/>
                    <a:pt x="57" y="32"/>
                    <a:pt x="55" y="33"/>
                  </a:cubicBezTo>
                  <a:cubicBezTo>
                    <a:pt x="54" y="33"/>
                    <a:pt x="54" y="32"/>
                    <a:pt x="54" y="33"/>
                  </a:cubicBezTo>
                  <a:cubicBezTo>
                    <a:pt x="53" y="34"/>
                    <a:pt x="53" y="34"/>
                    <a:pt x="52" y="33"/>
                  </a:cubicBezTo>
                  <a:cubicBezTo>
                    <a:pt x="51" y="33"/>
                    <a:pt x="52" y="31"/>
                    <a:pt x="51" y="30"/>
                  </a:cubicBezTo>
                  <a:cubicBezTo>
                    <a:pt x="50" y="28"/>
                    <a:pt x="48" y="32"/>
                    <a:pt x="47" y="33"/>
                  </a:cubicBezTo>
                  <a:cubicBezTo>
                    <a:pt x="47" y="34"/>
                    <a:pt x="46" y="35"/>
                    <a:pt x="46" y="36"/>
                  </a:cubicBezTo>
                  <a:cubicBezTo>
                    <a:pt x="46" y="36"/>
                    <a:pt x="47" y="37"/>
                    <a:pt x="47" y="38"/>
                  </a:cubicBezTo>
                  <a:cubicBezTo>
                    <a:pt x="47" y="38"/>
                    <a:pt x="45" y="40"/>
                    <a:pt x="44" y="41"/>
                  </a:cubicBezTo>
                  <a:cubicBezTo>
                    <a:pt x="41" y="44"/>
                    <a:pt x="38" y="46"/>
                    <a:pt x="34" y="47"/>
                  </a:cubicBezTo>
                  <a:cubicBezTo>
                    <a:pt x="31" y="47"/>
                    <a:pt x="28" y="49"/>
                    <a:pt x="24" y="50"/>
                  </a:cubicBezTo>
                  <a:cubicBezTo>
                    <a:pt x="21" y="51"/>
                    <a:pt x="18" y="51"/>
                    <a:pt x="15" y="53"/>
                  </a:cubicBezTo>
                  <a:cubicBezTo>
                    <a:pt x="13" y="55"/>
                    <a:pt x="12" y="55"/>
                    <a:pt x="10" y="56"/>
                  </a:cubicBezTo>
                  <a:cubicBezTo>
                    <a:pt x="9" y="57"/>
                    <a:pt x="7" y="60"/>
                    <a:pt x="7" y="60"/>
                  </a:cubicBezTo>
                  <a:cubicBezTo>
                    <a:pt x="6" y="60"/>
                    <a:pt x="7" y="57"/>
                    <a:pt x="7" y="56"/>
                  </a:cubicBezTo>
                  <a:cubicBezTo>
                    <a:pt x="5" y="56"/>
                    <a:pt x="4" y="61"/>
                    <a:pt x="4" y="61"/>
                  </a:cubicBezTo>
                  <a:cubicBezTo>
                    <a:pt x="5" y="64"/>
                    <a:pt x="3" y="65"/>
                    <a:pt x="3" y="68"/>
                  </a:cubicBezTo>
                  <a:cubicBezTo>
                    <a:pt x="3" y="69"/>
                    <a:pt x="8" y="80"/>
                    <a:pt x="6" y="81"/>
                  </a:cubicBezTo>
                  <a:cubicBezTo>
                    <a:pt x="6" y="81"/>
                    <a:pt x="3" y="77"/>
                    <a:pt x="3" y="77"/>
                  </a:cubicBezTo>
                  <a:cubicBezTo>
                    <a:pt x="3" y="78"/>
                    <a:pt x="6" y="81"/>
                    <a:pt x="4" y="82"/>
                  </a:cubicBezTo>
                  <a:cubicBezTo>
                    <a:pt x="2" y="82"/>
                    <a:pt x="2" y="77"/>
                    <a:pt x="0" y="77"/>
                  </a:cubicBezTo>
                  <a:cubicBezTo>
                    <a:pt x="0" y="77"/>
                    <a:pt x="6" y="85"/>
                    <a:pt x="6" y="86"/>
                  </a:cubicBezTo>
                  <a:cubicBezTo>
                    <a:pt x="7" y="87"/>
                    <a:pt x="6" y="89"/>
                    <a:pt x="7" y="91"/>
                  </a:cubicBezTo>
                  <a:cubicBezTo>
                    <a:pt x="8" y="93"/>
                    <a:pt x="9" y="94"/>
                    <a:pt x="10" y="96"/>
                  </a:cubicBezTo>
                  <a:cubicBezTo>
                    <a:pt x="11" y="97"/>
                    <a:pt x="11" y="100"/>
                    <a:pt x="11" y="101"/>
                  </a:cubicBezTo>
                  <a:cubicBezTo>
                    <a:pt x="11" y="103"/>
                    <a:pt x="12" y="105"/>
                    <a:pt x="13" y="106"/>
                  </a:cubicBezTo>
                  <a:cubicBezTo>
                    <a:pt x="14" y="109"/>
                    <a:pt x="14" y="110"/>
                    <a:pt x="14" y="113"/>
                  </a:cubicBezTo>
                  <a:cubicBezTo>
                    <a:pt x="14" y="114"/>
                    <a:pt x="14" y="119"/>
                    <a:pt x="14" y="119"/>
                  </a:cubicBezTo>
                  <a:cubicBezTo>
                    <a:pt x="13" y="120"/>
                    <a:pt x="12" y="120"/>
                    <a:pt x="11" y="121"/>
                  </a:cubicBezTo>
                  <a:cubicBezTo>
                    <a:pt x="10" y="124"/>
                    <a:pt x="12" y="124"/>
                    <a:pt x="13" y="125"/>
                  </a:cubicBezTo>
                  <a:cubicBezTo>
                    <a:pt x="17" y="127"/>
                    <a:pt x="20" y="129"/>
                    <a:pt x="25" y="128"/>
                  </a:cubicBezTo>
                  <a:cubicBezTo>
                    <a:pt x="27" y="127"/>
                    <a:pt x="29" y="126"/>
                    <a:pt x="30" y="125"/>
                  </a:cubicBezTo>
                  <a:cubicBezTo>
                    <a:pt x="33" y="124"/>
                    <a:pt x="32" y="125"/>
                    <a:pt x="33" y="123"/>
                  </a:cubicBezTo>
                  <a:cubicBezTo>
                    <a:pt x="35" y="121"/>
                    <a:pt x="42" y="121"/>
                    <a:pt x="44" y="122"/>
                  </a:cubicBezTo>
                  <a:cubicBezTo>
                    <a:pt x="47" y="122"/>
                    <a:pt x="52" y="124"/>
                    <a:pt x="54" y="121"/>
                  </a:cubicBezTo>
                  <a:cubicBezTo>
                    <a:pt x="55" y="120"/>
                    <a:pt x="55" y="118"/>
                    <a:pt x="57" y="117"/>
                  </a:cubicBezTo>
                  <a:cubicBezTo>
                    <a:pt x="59" y="116"/>
                    <a:pt x="61" y="115"/>
                    <a:pt x="63" y="114"/>
                  </a:cubicBezTo>
                  <a:cubicBezTo>
                    <a:pt x="66" y="112"/>
                    <a:pt x="70" y="114"/>
                    <a:pt x="73" y="112"/>
                  </a:cubicBezTo>
                  <a:cubicBezTo>
                    <a:pt x="78" y="110"/>
                    <a:pt x="82" y="110"/>
                    <a:pt x="88" y="109"/>
                  </a:cubicBezTo>
                  <a:cubicBezTo>
                    <a:pt x="89" y="109"/>
                    <a:pt x="90" y="108"/>
                    <a:pt x="92" y="108"/>
                  </a:cubicBezTo>
                  <a:cubicBezTo>
                    <a:pt x="93" y="109"/>
                    <a:pt x="95" y="110"/>
                    <a:pt x="96" y="111"/>
                  </a:cubicBezTo>
                  <a:cubicBezTo>
                    <a:pt x="97" y="111"/>
                    <a:pt x="107" y="113"/>
                    <a:pt x="107" y="114"/>
                  </a:cubicBezTo>
                  <a:cubicBezTo>
                    <a:pt x="106" y="115"/>
                    <a:pt x="105" y="118"/>
                    <a:pt x="107" y="117"/>
                  </a:cubicBezTo>
                  <a:cubicBezTo>
                    <a:pt x="108" y="117"/>
                    <a:pt x="110" y="120"/>
                    <a:pt x="111" y="121"/>
                  </a:cubicBezTo>
                  <a:cubicBezTo>
                    <a:pt x="112" y="122"/>
                    <a:pt x="112" y="123"/>
                    <a:pt x="112" y="125"/>
                  </a:cubicBezTo>
                  <a:cubicBezTo>
                    <a:pt x="113" y="126"/>
                    <a:pt x="115" y="128"/>
                    <a:pt x="115" y="128"/>
                  </a:cubicBezTo>
                  <a:cubicBezTo>
                    <a:pt x="115" y="127"/>
                    <a:pt x="114" y="126"/>
                    <a:pt x="116" y="125"/>
                  </a:cubicBezTo>
                  <a:cubicBezTo>
                    <a:pt x="117" y="124"/>
                    <a:pt x="118" y="123"/>
                    <a:pt x="120" y="122"/>
                  </a:cubicBezTo>
                  <a:cubicBezTo>
                    <a:pt x="121" y="121"/>
                    <a:pt x="126" y="116"/>
                    <a:pt x="125" y="115"/>
                  </a:cubicBezTo>
                  <a:cubicBezTo>
                    <a:pt x="126" y="117"/>
                    <a:pt x="125" y="118"/>
                    <a:pt x="125" y="120"/>
                  </a:cubicBezTo>
                  <a:cubicBezTo>
                    <a:pt x="126" y="121"/>
                    <a:pt x="124" y="122"/>
                    <a:pt x="124" y="122"/>
                  </a:cubicBezTo>
                  <a:cubicBezTo>
                    <a:pt x="123" y="124"/>
                    <a:pt x="123" y="125"/>
                    <a:pt x="123" y="126"/>
                  </a:cubicBezTo>
                  <a:cubicBezTo>
                    <a:pt x="123" y="128"/>
                    <a:pt x="119" y="129"/>
                    <a:pt x="122" y="129"/>
                  </a:cubicBezTo>
                  <a:cubicBezTo>
                    <a:pt x="126" y="129"/>
                    <a:pt x="124" y="125"/>
                    <a:pt x="125" y="123"/>
                  </a:cubicBezTo>
                  <a:cubicBezTo>
                    <a:pt x="125" y="123"/>
                    <a:pt x="129" y="127"/>
                    <a:pt x="128" y="129"/>
                  </a:cubicBezTo>
                  <a:cubicBezTo>
                    <a:pt x="125" y="133"/>
                    <a:pt x="129" y="130"/>
                    <a:pt x="131" y="132"/>
                  </a:cubicBezTo>
                  <a:cubicBezTo>
                    <a:pt x="134" y="135"/>
                    <a:pt x="134" y="136"/>
                    <a:pt x="134" y="139"/>
                  </a:cubicBezTo>
                  <a:cubicBezTo>
                    <a:pt x="133" y="142"/>
                    <a:pt x="137" y="145"/>
                    <a:pt x="139" y="145"/>
                  </a:cubicBezTo>
                  <a:cubicBezTo>
                    <a:pt x="141" y="146"/>
                    <a:pt x="143" y="147"/>
                    <a:pt x="145" y="147"/>
                  </a:cubicBezTo>
                  <a:cubicBezTo>
                    <a:pt x="147" y="147"/>
                    <a:pt x="151" y="152"/>
                    <a:pt x="153" y="151"/>
                  </a:cubicBezTo>
                  <a:cubicBezTo>
                    <a:pt x="155" y="150"/>
                    <a:pt x="157" y="149"/>
                    <a:pt x="158" y="147"/>
                  </a:cubicBezTo>
                  <a:cubicBezTo>
                    <a:pt x="158" y="147"/>
                    <a:pt x="160" y="144"/>
                    <a:pt x="161" y="145"/>
                  </a:cubicBezTo>
                  <a:cubicBezTo>
                    <a:pt x="161" y="146"/>
                    <a:pt x="159" y="147"/>
                    <a:pt x="160" y="148"/>
                  </a:cubicBezTo>
                  <a:cubicBezTo>
                    <a:pt x="161" y="149"/>
                    <a:pt x="161" y="146"/>
                    <a:pt x="162" y="146"/>
                  </a:cubicBezTo>
                  <a:cubicBezTo>
                    <a:pt x="162" y="146"/>
                    <a:pt x="164" y="149"/>
                    <a:pt x="165" y="149"/>
                  </a:cubicBezTo>
                  <a:cubicBezTo>
                    <a:pt x="165" y="150"/>
                    <a:pt x="167" y="152"/>
                    <a:pt x="168" y="152"/>
                  </a:cubicBezTo>
                  <a:cubicBezTo>
                    <a:pt x="167" y="152"/>
                    <a:pt x="170" y="149"/>
                    <a:pt x="170" y="149"/>
                  </a:cubicBezTo>
                  <a:cubicBezTo>
                    <a:pt x="172" y="148"/>
                    <a:pt x="173" y="146"/>
                    <a:pt x="174" y="145"/>
                  </a:cubicBezTo>
                  <a:cubicBezTo>
                    <a:pt x="177" y="144"/>
                    <a:pt x="185" y="146"/>
                    <a:pt x="185" y="142"/>
                  </a:cubicBezTo>
                  <a:cubicBezTo>
                    <a:pt x="186" y="137"/>
                    <a:pt x="187" y="134"/>
                    <a:pt x="188" y="130"/>
                  </a:cubicBezTo>
                  <a:cubicBezTo>
                    <a:pt x="190" y="126"/>
                    <a:pt x="191" y="122"/>
                    <a:pt x="194" y="118"/>
                  </a:cubicBezTo>
                  <a:cubicBezTo>
                    <a:pt x="195" y="117"/>
                    <a:pt x="197" y="116"/>
                    <a:pt x="198" y="114"/>
                  </a:cubicBezTo>
                  <a:cubicBezTo>
                    <a:pt x="198" y="113"/>
                    <a:pt x="198" y="113"/>
                    <a:pt x="198" y="112"/>
                  </a:cubicBezTo>
                  <a:cubicBezTo>
                    <a:pt x="199" y="111"/>
                    <a:pt x="200" y="110"/>
                    <a:pt x="200" y="108"/>
                  </a:cubicBezTo>
                  <a:cubicBezTo>
                    <a:pt x="201" y="106"/>
                    <a:pt x="200" y="104"/>
                    <a:pt x="201" y="102"/>
                  </a:cubicBezTo>
                  <a:cubicBezTo>
                    <a:pt x="201" y="101"/>
                    <a:pt x="202" y="100"/>
                    <a:pt x="202" y="99"/>
                  </a:cubicBezTo>
                  <a:cubicBezTo>
                    <a:pt x="203" y="98"/>
                    <a:pt x="201" y="97"/>
                    <a:pt x="202" y="96"/>
                  </a:cubicBezTo>
                  <a:cubicBezTo>
                    <a:pt x="203" y="95"/>
                    <a:pt x="204" y="92"/>
                    <a:pt x="203" y="91"/>
                  </a:cubicBezTo>
                  <a:cubicBezTo>
                    <a:pt x="203" y="89"/>
                    <a:pt x="202" y="88"/>
                    <a:pt x="202" y="87"/>
                  </a:cubicBezTo>
                  <a:cubicBezTo>
                    <a:pt x="201" y="86"/>
                    <a:pt x="201" y="84"/>
                    <a:pt x="201" y="83"/>
                  </a:cubicBezTo>
                  <a:cubicBezTo>
                    <a:pt x="200" y="79"/>
                    <a:pt x="203" y="77"/>
                    <a:pt x="202" y="73"/>
                  </a:cubicBezTo>
                  <a:cubicBezTo>
                    <a:pt x="202" y="74"/>
                    <a:pt x="201" y="76"/>
                    <a:pt x="200" y="76"/>
                  </a:cubicBezTo>
                  <a:cubicBezTo>
                    <a:pt x="198" y="76"/>
                    <a:pt x="197" y="72"/>
                    <a:pt x="196" y="70"/>
                  </a:cubicBezTo>
                  <a:cubicBezTo>
                    <a:pt x="194" y="67"/>
                    <a:pt x="190" y="67"/>
                    <a:pt x="190" y="62"/>
                  </a:cubicBezTo>
                  <a:cubicBezTo>
                    <a:pt x="189" y="60"/>
                    <a:pt x="188" y="60"/>
                    <a:pt x="187" y="59"/>
                  </a:cubicBezTo>
                  <a:cubicBezTo>
                    <a:pt x="185" y="58"/>
                    <a:pt x="185" y="61"/>
                    <a:pt x="184" y="59"/>
                  </a:cubicBezTo>
                  <a:cubicBezTo>
                    <a:pt x="184" y="56"/>
                    <a:pt x="183" y="55"/>
                    <a:pt x="181" y="53"/>
                  </a:cubicBezTo>
                  <a:cubicBezTo>
                    <a:pt x="181" y="53"/>
                    <a:pt x="180" y="52"/>
                    <a:pt x="180" y="51"/>
                  </a:cubicBezTo>
                  <a:cubicBezTo>
                    <a:pt x="179" y="51"/>
                    <a:pt x="180" y="49"/>
                    <a:pt x="180" y="50"/>
                  </a:cubicBezTo>
                  <a:cubicBezTo>
                    <a:pt x="178" y="48"/>
                    <a:pt x="176" y="47"/>
                    <a:pt x="174" y="46"/>
                  </a:cubicBezTo>
                  <a:cubicBezTo>
                    <a:pt x="172" y="44"/>
                    <a:pt x="169" y="45"/>
                    <a:pt x="168" y="43"/>
                  </a:cubicBezTo>
                  <a:cubicBezTo>
                    <a:pt x="166" y="41"/>
                    <a:pt x="167" y="37"/>
                    <a:pt x="166" y="36"/>
                  </a:cubicBezTo>
                  <a:cubicBezTo>
                    <a:pt x="166" y="34"/>
                    <a:pt x="166" y="32"/>
                    <a:pt x="165" y="31"/>
                  </a:cubicBezTo>
                  <a:cubicBezTo>
                    <a:pt x="164" y="30"/>
                    <a:pt x="163" y="30"/>
                    <a:pt x="163" y="28"/>
                  </a:cubicBezTo>
                  <a:cubicBezTo>
                    <a:pt x="163" y="26"/>
                    <a:pt x="163" y="23"/>
                    <a:pt x="161" y="20"/>
                  </a:cubicBezTo>
                  <a:cubicBezTo>
                    <a:pt x="160" y="20"/>
                    <a:pt x="158" y="17"/>
                    <a:pt x="158" y="18"/>
                  </a:cubicBezTo>
                  <a:cubicBezTo>
                    <a:pt x="156" y="18"/>
                    <a:pt x="156" y="19"/>
                    <a:pt x="155" y="17"/>
                  </a:cubicBezTo>
                  <a:cubicBezTo>
                    <a:pt x="153" y="15"/>
                    <a:pt x="154" y="11"/>
                    <a:pt x="152" y="8"/>
                  </a:cubicBezTo>
                  <a:cubicBezTo>
                    <a:pt x="152" y="7"/>
                    <a:pt x="148" y="0"/>
                    <a:pt x="148" y="0"/>
                  </a:cubicBezTo>
                  <a:cubicBezTo>
                    <a:pt x="147" y="0"/>
                    <a:pt x="147" y="2"/>
                    <a:pt x="147" y="3"/>
                  </a:cubicBezTo>
                  <a:cubicBezTo>
                    <a:pt x="147" y="4"/>
                    <a:pt x="146" y="5"/>
                    <a:pt x="145" y="6"/>
                  </a:cubicBezTo>
                  <a:cubicBezTo>
                    <a:pt x="145" y="6"/>
                    <a:pt x="143" y="8"/>
                    <a:pt x="144" y="9"/>
                  </a:cubicBezTo>
                  <a:cubicBezTo>
                    <a:pt x="144" y="9"/>
                    <a:pt x="146" y="9"/>
                    <a:pt x="145" y="10"/>
                  </a:cubicBezTo>
                  <a:cubicBezTo>
                    <a:pt x="144" y="10"/>
                    <a:pt x="143" y="15"/>
                    <a:pt x="143" y="16"/>
                  </a:cubicBezTo>
                  <a:cubicBezTo>
                    <a:pt x="144" y="18"/>
                    <a:pt x="144" y="20"/>
                    <a:pt x="144" y="22"/>
                  </a:cubicBezTo>
                  <a:cubicBezTo>
                    <a:pt x="143" y="26"/>
                    <a:pt x="143" y="36"/>
                    <a:pt x="137" y="36"/>
                  </a:cubicBezTo>
                  <a:cubicBezTo>
                    <a:pt x="133" y="36"/>
                    <a:pt x="133" y="32"/>
                    <a:pt x="130" y="31"/>
                  </a:cubicBezTo>
                  <a:cubicBezTo>
                    <a:pt x="128" y="30"/>
                    <a:pt x="126" y="30"/>
                    <a:pt x="124" y="28"/>
                  </a:cubicBezTo>
                  <a:cubicBezTo>
                    <a:pt x="123" y="27"/>
                    <a:pt x="112" y="21"/>
                    <a:pt x="113" y="20"/>
                  </a:cubicBezTo>
                  <a:cubicBezTo>
                    <a:pt x="113" y="19"/>
                    <a:pt x="114" y="18"/>
                    <a:pt x="115" y="17"/>
                  </a:cubicBezTo>
                  <a:cubicBezTo>
                    <a:pt x="115" y="16"/>
                    <a:pt x="117" y="16"/>
                    <a:pt x="117" y="15"/>
                  </a:cubicBezTo>
                  <a:cubicBezTo>
                    <a:pt x="117" y="15"/>
                    <a:pt x="116" y="14"/>
                    <a:pt x="116" y="13"/>
                  </a:cubicBezTo>
                  <a:cubicBezTo>
                    <a:pt x="117" y="12"/>
                    <a:pt x="117" y="12"/>
                    <a:pt x="118" y="11"/>
                  </a:cubicBezTo>
                  <a:cubicBezTo>
                    <a:pt x="118" y="10"/>
                    <a:pt x="120" y="9"/>
                    <a:pt x="121" y="8"/>
                  </a:cubicBezTo>
                  <a:cubicBezTo>
                    <a:pt x="121" y="7"/>
                    <a:pt x="119" y="5"/>
                    <a:pt x="118" y="6"/>
                  </a:cubicBezTo>
                  <a:cubicBezTo>
                    <a:pt x="118" y="6"/>
                    <a:pt x="117" y="8"/>
                    <a:pt x="117" y="8"/>
                  </a:cubicBezTo>
                  <a:cubicBezTo>
                    <a:pt x="116" y="7"/>
                    <a:pt x="116" y="7"/>
                    <a:pt x="115" y="6"/>
                  </a:cubicBezTo>
                  <a:cubicBezTo>
                    <a:pt x="115" y="5"/>
                    <a:pt x="113" y="7"/>
                    <a:pt x="112" y="7"/>
                  </a:cubicBezTo>
                  <a:cubicBezTo>
                    <a:pt x="111" y="8"/>
                    <a:pt x="110" y="7"/>
                    <a:pt x="109" y="7"/>
                  </a:cubicBezTo>
                  <a:cubicBezTo>
                    <a:pt x="107" y="6"/>
                    <a:pt x="104" y="5"/>
                    <a:pt x="101" y="4"/>
                  </a:cubicBezTo>
                  <a:cubicBezTo>
                    <a:pt x="99" y="4"/>
                    <a:pt x="103" y="5"/>
                    <a:pt x="101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91" name="Freeform 472">
              <a:extLst>
                <a:ext uri="{FF2B5EF4-FFF2-40B4-BE49-F238E27FC236}">
                  <a16:creationId xmlns:a16="http://schemas.microsoft.com/office/drawing/2014/main" id="{E84CC22D-EF26-E768-97B4-02B841B9B1E8}"/>
                </a:ext>
              </a:extLst>
            </p:cNvPr>
            <p:cNvSpPr>
              <a:spLocks/>
            </p:cNvSpPr>
            <p:nvPr/>
          </p:nvSpPr>
          <p:spPr bwMode="auto">
            <a:xfrm>
              <a:off x="9659096" y="4439930"/>
              <a:ext cx="109084" cy="66233"/>
            </a:xfrm>
            <a:custGeom>
              <a:avLst/>
              <a:gdLst>
                <a:gd name="T0" fmla="*/ 0 w 21"/>
                <a:gd name="T1" fmla="*/ 8 h 12"/>
                <a:gd name="T2" fmla="*/ 6 w 21"/>
                <a:gd name="T3" fmla="*/ 8 h 12"/>
                <a:gd name="T4" fmla="*/ 9 w 21"/>
                <a:gd name="T5" fmla="*/ 7 h 12"/>
                <a:gd name="T6" fmla="*/ 13 w 21"/>
                <a:gd name="T7" fmla="*/ 7 h 12"/>
                <a:gd name="T8" fmla="*/ 14 w 21"/>
                <a:gd name="T9" fmla="*/ 5 h 12"/>
                <a:gd name="T10" fmla="*/ 17 w 21"/>
                <a:gd name="T11" fmla="*/ 3 h 12"/>
                <a:gd name="T12" fmla="*/ 20 w 21"/>
                <a:gd name="T13" fmla="*/ 4 h 12"/>
                <a:gd name="T14" fmla="*/ 18 w 21"/>
                <a:gd name="T15" fmla="*/ 7 h 12"/>
                <a:gd name="T16" fmla="*/ 11 w 21"/>
                <a:gd name="T17" fmla="*/ 11 h 12"/>
                <a:gd name="T18" fmla="*/ 0 w 21"/>
                <a:gd name="T19" fmla="*/ 8 h 12"/>
                <a:gd name="T20" fmla="*/ 0 w 21"/>
                <a:gd name="T21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12">
                  <a:moveTo>
                    <a:pt x="0" y="8"/>
                  </a:moveTo>
                  <a:cubicBezTo>
                    <a:pt x="1" y="7"/>
                    <a:pt x="5" y="8"/>
                    <a:pt x="6" y="8"/>
                  </a:cubicBezTo>
                  <a:cubicBezTo>
                    <a:pt x="7" y="8"/>
                    <a:pt x="8" y="6"/>
                    <a:pt x="9" y="7"/>
                  </a:cubicBezTo>
                  <a:cubicBezTo>
                    <a:pt x="10" y="8"/>
                    <a:pt x="12" y="8"/>
                    <a:pt x="13" y="7"/>
                  </a:cubicBezTo>
                  <a:cubicBezTo>
                    <a:pt x="13" y="6"/>
                    <a:pt x="14" y="5"/>
                    <a:pt x="14" y="5"/>
                  </a:cubicBezTo>
                  <a:cubicBezTo>
                    <a:pt x="15" y="5"/>
                    <a:pt x="17" y="5"/>
                    <a:pt x="17" y="3"/>
                  </a:cubicBezTo>
                  <a:cubicBezTo>
                    <a:pt x="17" y="0"/>
                    <a:pt x="21" y="2"/>
                    <a:pt x="20" y="4"/>
                  </a:cubicBezTo>
                  <a:cubicBezTo>
                    <a:pt x="19" y="5"/>
                    <a:pt x="18" y="7"/>
                    <a:pt x="18" y="7"/>
                  </a:cubicBezTo>
                  <a:cubicBezTo>
                    <a:pt x="15" y="8"/>
                    <a:pt x="14" y="10"/>
                    <a:pt x="11" y="11"/>
                  </a:cubicBezTo>
                  <a:cubicBezTo>
                    <a:pt x="9" y="12"/>
                    <a:pt x="0" y="11"/>
                    <a:pt x="0" y="8"/>
                  </a:cubicBezTo>
                  <a:cubicBezTo>
                    <a:pt x="0" y="7"/>
                    <a:pt x="0" y="10"/>
                    <a:pt x="0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92" name="Freeform 473">
              <a:extLst>
                <a:ext uri="{FF2B5EF4-FFF2-40B4-BE49-F238E27FC236}">
                  <a16:creationId xmlns:a16="http://schemas.microsoft.com/office/drawing/2014/main" id="{B7574F5C-625F-170A-3305-0C798297CCCE}"/>
                </a:ext>
              </a:extLst>
            </p:cNvPr>
            <p:cNvSpPr>
              <a:spLocks/>
            </p:cNvSpPr>
            <p:nvPr/>
          </p:nvSpPr>
          <p:spPr bwMode="auto">
            <a:xfrm>
              <a:off x="9816463" y="4473991"/>
              <a:ext cx="46495" cy="60555"/>
            </a:xfrm>
            <a:custGeom>
              <a:avLst/>
              <a:gdLst>
                <a:gd name="T0" fmla="*/ 1 w 9"/>
                <a:gd name="T1" fmla="*/ 0 h 11"/>
                <a:gd name="T2" fmla="*/ 8 w 9"/>
                <a:gd name="T3" fmla="*/ 8 h 11"/>
                <a:gd name="T4" fmla="*/ 5 w 9"/>
                <a:gd name="T5" fmla="*/ 4 h 11"/>
                <a:gd name="T6" fmla="*/ 1 w 9"/>
                <a:gd name="T7" fmla="*/ 0 h 11"/>
                <a:gd name="T8" fmla="*/ 1 w 9"/>
                <a:gd name="T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1">
                  <a:moveTo>
                    <a:pt x="1" y="0"/>
                  </a:moveTo>
                  <a:cubicBezTo>
                    <a:pt x="0" y="1"/>
                    <a:pt x="5" y="11"/>
                    <a:pt x="8" y="8"/>
                  </a:cubicBezTo>
                  <a:cubicBezTo>
                    <a:pt x="9" y="6"/>
                    <a:pt x="6" y="4"/>
                    <a:pt x="5" y="4"/>
                  </a:cubicBezTo>
                  <a:cubicBezTo>
                    <a:pt x="4" y="3"/>
                    <a:pt x="1" y="0"/>
                    <a:pt x="1" y="0"/>
                  </a:cubicBezTo>
                  <a:cubicBezTo>
                    <a:pt x="0" y="1"/>
                    <a:pt x="2" y="0"/>
                    <a:pt x="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93" name="Freeform 474">
              <a:extLst>
                <a:ext uri="{FF2B5EF4-FFF2-40B4-BE49-F238E27FC236}">
                  <a16:creationId xmlns:a16="http://schemas.microsoft.com/office/drawing/2014/main" id="{F2BCF3AC-B833-5F0B-159E-671A006AAA18}"/>
                </a:ext>
              </a:extLst>
            </p:cNvPr>
            <p:cNvSpPr>
              <a:spLocks/>
            </p:cNvSpPr>
            <p:nvPr/>
          </p:nvSpPr>
          <p:spPr bwMode="auto">
            <a:xfrm>
              <a:off x="9952369" y="4585643"/>
              <a:ext cx="30400" cy="32169"/>
            </a:xfrm>
            <a:custGeom>
              <a:avLst/>
              <a:gdLst>
                <a:gd name="T0" fmla="*/ 6 w 6"/>
                <a:gd name="T1" fmla="*/ 4 h 6"/>
                <a:gd name="T2" fmla="*/ 1 w 6"/>
                <a:gd name="T3" fmla="*/ 2 h 6"/>
                <a:gd name="T4" fmla="*/ 6 w 6"/>
                <a:gd name="T5" fmla="*/ 4 h 6"/>
                <a:gd name="T6" fmla="*/ 6 w 6"/>
                <a:gd name="T7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6" y="4"/>
                  </a:moveTo>
                  <a:cubicBezTo>
                    <a:pt x="6" y="2"/>
                    <a:pt x="0" y="0"/>
                    <a:pt x="1" y="2"/>
                  </a:cubicBezTo>
                  <a:cubicBezTo>
                    <a:pt x="1" y="3"/>
                    <a:pt x="6" y="5"/>
                    <a:pt x="6" y="4"/>
                  </a:cubicBezTo>
                  <a:cubicBezTo>
                    <a:pt x="6" y="3"/>
                    <a:pt x="6" y="6"/>
                    <a:pt x="6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94" name="Freeform 475">
              <a:extLst>
                <a:ext uri="{FF2B5EF4-FFF2-40B4-BE49-F238E27FC236}">
                  <a16:creationId xmlns:a16="http://schemas.microsoft.com/office/drawing/2014/main" id="{5A948669-6EE6-82B6-4E37-F2AE25128983}"/>
                </a:ext>
              </a:extLst>
            </p:cNvPr>
            <p:cNvSpPr>
              <a:spLocks/>
            </p:cNvSpPr>
            <p:nvPr/>
          </p:nvSpPr>
          <p:spPr bwMode="auto">
            <a:xfrm>
              <a:off x="9920181" y="4534548"/>
              <a:ext cx="48283" cy="34061"/>
            </a:xfrm>
            <a:custGeom>
              <a:avLst/>
              <a:gdLst>
                <a:gd name="T0" fmla="*/ 8 w 9"/>
                <a:gd name="T1" fmla="*/ 6 h 6"/>
                <a:gd name="T2" fmla="*/ 0 w 9"/>
                <a:gd name="T3" fmla="*/ 1 h 6"/>
                <a:gd name="T4" fmla="*/ 3 w 9"/>
                <a:gd name="T5" fmla="*/ 4 h 6"/>
                <a:gd name="T6" fmla="*/ 8 w 9"/>
                <a:gd name="T7" fmla="*/ 6 h 6"/>
                <a:gd name="T8" fmla="*/ 8 w 9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6">
                  <a:moveTo>
                    <a:pt x="8" y="6"/>
                  </a:moveTo>
                  <a:cubicBezTo>
                    <a:pt x="6" y="5"/>
                    <a:pt x="3" y="0"/>
                    <a:pt x="0" y="1"/>
                  </a:cubicBezTo>
                  <a:cubicBezTo>
                    <a:pt x="0" y="2"/>
                    <a:pt x="3" y="3"/>
                    <a:pt x="3" y="4"/>
                  </a:cubicBezTo>
                  <a:cubicBezTo>
                    <a:pt x="5" y="4"/>
                    <a:pt x="6" y="5"/>
                    <a:pt x="8" y="6"/>
                  </a:cubicBezTo>
                  <a:cubicBezTo>
                    <a:pt x="9" y="6"/>
                    <a:pt x="6" y="5"/>
                    <a:pt x="8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95" name="Freeform 476">
              <a:extLst>
                <a:ext uri="{FF2B5EF4-FFF2-40B4-BE49-F238E27FC236}">
                  <a16:creationId xmlns:a16="http://schemas.microsoft.com/office/drawing/2014/main" id="{274B683D-529A-AEA6-CEC1-4A8B369BD3CF}"/>
                </a:ext>
              </a:extLst>
            </p:cNvPr>
            <p:cNvSpPr>
              <a:spLocks/>
            </p:cNvSpPr>
            <p:nvPr/>
          </p:nvSpPr>
          <p:spPr bwMode="auto">
            <a:xfrm>
              <a:off x="9873686" y="4511839"/>
              <a:ext cx="21459" cy="28387"/>
            </a:xfrm>
            <a:custGeom>
              <a:avLst/>
              <a:gdLst>
                <a:gd name="T0" fmla="*/ 4 w 4"/>
                <a:gd name="T1" fmla="*/ 4 h 5"/>
                <a:gd name="T2" fmla="*/ 0 w 4"/>
                <a:gd name="T3" fmla="*/ 0 h 5"/>
                <a:gd name="T4" fmla="*/ 4 w 4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5">
                  <a:moveTo>
                    <a:pt x="4" y="4"/>
                  </a:moveTo>
                  <a:cubicBezTo>
                    <a:pt x="4" y="2"/>
                    <a:pt x="0" y="0"/>
                    <a:pt x="0" y="0"/>
                  </a:cubicBezTo>
                  <a:cubicBezTo>
                    <a:pt x="0" y="1"/>
                    <a:pt x="4" y="5"/>
                    <a:pt x="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96" name="Freeform 477">
              <a:extLst>
                <a:ext uri="{FF2B5EF4-FFF2-40B4-BE49-F238E27FC236}">
                  <a16:creationId xmlns:a16="http://schemas.microsoft.com/office/drawing/2014/main" id="{4F06C671-0668-56E9-9FA4-F784DCA4359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66816" y="4901666"/>
              <a:ext cx="84047" cy="66233"/>
            </a:xfrm>
            <a:custGeom>
              <a:avLst/>
              <a:gdLst>
                <a:gd name="T0" fmla="*/ 15 w 16"/>
                <a:gd name="T1" fmla="*/ 11 h 12"/>
                <a:gd name="T2" fmla="*/ 2 w 16"/>
                <a:gd name="T3" fmla="*/ 0 h 12"/>
                <a:gd name="T4" fmla="*/ 15 w 16"/>
                <a:gd name="T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2">
                  <a:moveTo>
                    <a:pt x="15" y="11"/>
                  </a:moveTo>
                  <a:cubicBezTo>
                    <a:pt x="16" y="12"/>
                    <a:pt x="3" y="0"/>
                    <a:pt x="2" y="0"/>
                  </a:cubicBezTo>
                  <a:cubicBezTo>
                    <a:pt x="0" y="0"/>
                    <a:pt x="7" y="9"/>
                    <a:pt x="15" y="1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97" name="Freeform 478">
              <a:extLst>
                <a:ext uri="{FF2B5EF4-FFF2-40B4-BE49-F238E27FC236}">
                  <a16:creationId xmlns:a16="http://schemas.microsoft.com/office/drawing/2014/main" id="{972A170B-60AB-FB4D-6D7A-E594A5E9646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92136" y="5323663"/>
              <a:ext cx="59013" cy="77587"/>
            </a:xfrm>
            <a:custGeom>
              <a:avLst/>
              <a:gdLst>
                <a:gd name="T0" fmla="*/ 11 w 11"/>
                <a:gd name="T1" fmla="*/ 14 h 14"/>
                <a:gd name="T2" fmla="*/ 9 w 11"/>
                <a:gd name="T3" fmla="*/ 10 h 14"/>
                <a:gd name="T4" fmla="*/ 9 w 11"/>
                <a:gd name="T5" fmla="*/ 7 h 14"/>
                <a:gd name="T6" fmla="*/ 0 w 11"/>
                <a:gd name="T7" fmla="*/ 0 h 14"/>
                <a:gd name="T8" fmla="*/ 3 w 11"/>
                <a:gd name="T9" fmla="*/ 4 h 14"/>
                <a:gd name="T10" fmla="*/ 5 w 11"/>
                <a:gd name="T11" fmla="*/ 8 h 14"/>
                <a:gd name="T12" fmla="*/ 8 w 11"/>
                <a:gd name="T13" fmla="*/ 11 h 14"/>
                <a:gd name="T14" fmla="*/ 11 w 11"/>
                <a:gd name="T1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14">
                  <a:moveTo>
                    <a:pt x="11" y="14"/>
                  </a:moveTo>
                  <a:cubicBezTo>
                    <a:pt x="10" y="12"/>
                    <a:pt x="11" y="11"/>
                    <a:pt x="9" y="10"/>
                  </a:cubicBezTo>
                  <a:cubicBezTo>
                    <a:pt x="8" y="8"/>
                    <a:pt x="9" y="8"/>
                    <a:pt x="9" y="7"/>
                  </a:cubicBezTo>
                  <a:cubicBezTo>
                    <a:pt x="8" y="5"/>
                    <a:pt x="0" y="1"/>
                    <a:pt x="0" y="0"/>
                  </a:cubicBezTo>
                  <a:cubicBezTo>
                    <a:pt x="0" y="1"/>
                    <a:pt x="3" y="3"/>
                    <a:pt x="3" y="4"/>
                  </a:cubicBezTo>
                  <a:cubicBezTo>
                    <a:pt x="4" y="6"/>
                    <a:pt x="4" y="7"/>
                    <a:pt x="5" y="8"/>
                  </a:cubicBezTo>
                  <a:cubicBezTo>
                    <a:pt x="6" y="9"/>
                    <a:pt x="9" y="10"/>
                    <a:pt x="8" y="11"/>
                  </a:cubicBezTo>
                  <a:cubicBezTo>
                    <a:pt x="8" y="13"/>
                    <a:pt x="9" y="13"/>
                    <a:pt x="11" y="1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98" name="Freeform 479">
              <a:extLst>
                <a:ext uri="{FF2B5EF4-FFF2-40B4-BE49-F238E27FC236}">
                  <a16:creationId xmlns:a16="http://schemas.microsoft.com/office/drawing/2014/main" id="{83FA9CB3-9025-3D28-7EA8-4E32292395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08231" y="5395573"/>
              <a:ext cx="135906" cy="168421"/>
            </a:xfrm>
            <a:custGeom>
              <a:avLst/>
              <a:gdLst>
                <a:gd name="T0" fmla="*/ 8 w 26"/>
                <a:gd name="T1" fmla="*/ 2 h 30"/>
                <a:gd name="T2" fmla="*/ 7 w 26"/>
                <a:gd name="T3" fmla="*/ 11 h 30"/>
                <a:gd name="T4" fmla="*/ 5 w 26"/>
                <a:gd name="T5" fmla="*/ 18 h 30"/>
                <a:gd name="T6" fmla="*/ 9 w 26"/>
                <a:gd name="T7" fmla="*/ 25 h 30"/>
                <a:gd name="T8" fmla="*/ 14 w 26"/>
                <a:gd name="T9" fmla="*/ 26 h 30"/>
                <a:gd name="T10" fmla="*/ 17 w 26"/>
                <a:gd name="T11" fmla="*/ 22 h 30"/>
                <a:gd name="T12" fmla="*/ 18 w 26"/>
                <a:gd name="T13" fmla="*/ 16 h 30"/>
                <a:gd name="T14" fmla="*/ 22 w 26"/>
                <a:gd name="T15" fmla="*/ 14 h 30"/>
                <a:gd name="T16" fmla="*/ 26 w 26"/>
                <a:gd name="T17" fmla="*/ 10 h 30"/>
                <a:gd name="T18" fmla="*/ 25 w 26"/>
                <a:gd name="T19" fmla="*/ 6 h 30"/>
                <a:gd name="T20" fmla="*/ 20 w 26"/>
                <a:gd name="T21" fmla="*/ 8 h 30"/>
                <a:gd name="T22" fmla="*/ 14 w 26"/>
                <a:gd name="T23" fmla="*/ 5 h 30"/>
                <a:gd name="T24" fmla="*/ 11 w 26"/>
                <a:gd name="T25" fmla="*/ 0 h 30"/>
                <a:gd name="T26" fmla="*/ 11 w 26"/>
                <a:gd name="T27" fmla="*/ 3 h 30"/>
                <a:gd name="T28" fmla="*/ 8 w 26"/>
                <a:gd name="T29" fmla="*/ 2 h 30"/>
                <a:gd name="T30" fmla="*/ 8 w 26"/>
                <a:gd name="T31" fmla="*/ 2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6" h="30">
                  <a:moveTo>
                    <a:pt x="8" y="2"/>
                  </a:moveTo>
                  <a:cubicBezTo>
                    <a:pt x="7" y="2"/>
                    <a:pt x="7" y="9"/>
                    <a:pt x="7" y="11"/>
                  </a:cubicBezTo>
                  <a:cubicBezTo>
                    <a:pt x="6" y="13"/>
                    <a:pt x="0" y="16"/>
                    <a:pt x="5" y="18"/>
                  </a:cubicBezTo>
                  <a:cubicBezTo>
                    <a:pt x="8" y="19"/>
                    <a:pt x="11" y="21"/>
                    <a:pt x="9" y="25"/>
                  </a:cubicBezTo>
                  <a:cubicBezTo>
                    <a:pt x="6" y="30"/>
                    <a:pt x="11" y="29"/>
                    <a:pt x="14" y="26"/>
                  </a:cubicBezTo>
                  <a:cubicBezTo>
                    <a:pt x="15" y="25"/>
                    <a:pt x="16" y="23"/>
                    <a:pt x="17" y="22"/>
                  </a:cubicBezTo>
                  <a:cubicBezTo>
                    <a:pt x="19" y="19"/>
                    <a:pt x="18" y="19"/>
                    <a:pt x="18" y="16"/>
                  </a:cubicBezTo>
                  <a:cubicBezTo>
                    <a:pt x="19" y="14"/>
                    <a:pt x="21" y="14"/>
                    <a:pt x="22" y="14"/>
                  </a:cubicBezTo>
                  <a:cubicBezTo>
                    <a:pt x="23" y="15"/>
                    <a:pt x="25" y="11"/>
                    <a:pt x="26" y="10"/>
                  </a:cubicBezTo>
                  <a:cubicBezTo>
                    <a:pt x="26" y="9"/>
                    <a:pt x="26" y="6"/>
                    <a:pt x="25" y="6"/>
                  </a:cubicBezTo>
                  <a:cubicBezTo>
                    <a:pt x="23" y="6"/>
                    <a:pt x="21" y="8"/>
                    <a:pt x="20" y="8"/>
                  </a:cubicBezTo>
                  <a:cubicBezTo>
                    <a:pt x="18" y="8"/>
                    <a:pt x="15" y="7"/>
                    <a:pt x="14" y="5"/>
                  </a:cubicBezTo>
                  <a:cubicBezTo>
                    <a:pt x="13" y="4"/>
                    <a:pt x="13" y="0"/>
                    <a:pt x="11" y="0"/>
                  </a:cubicBezTo>
                  <a:cubicBezTo>
                    <a:pt x="11" y="0"/>
                    <a:pt x="11" y="3"/>
                    <a:pt x="11" y="3"/>
                  </a:cubicBezTo>
                  <a:cubicBezTo>
                    <a:pt x="10" y="3"/>
                    <a:pt x="9" y="1"/>
                    <a:pt x="8" y="2"/>
                  </a:cubicBezTo>
                  <a:cubicBezTo>
                    <a:pt x="7" y="2"/>
                    <a:pt x="9" y="1"/>
                    <a:pt x="8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99" name="Freeform 480">
              <a:extLst>
                <a:ext uri="{FF2B5EF4-FFF2-40B4-BE49-F238E27FC236}">
                  <a16:creationId xmlns:a16="http://schemas.microsoft.com/office/drawing/2014/main" id="{BA45F97F-4B9C-B14F-730C-B095F18B69B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407" y="5518577"/>
              <a:ext cx="205650" cy="211945"/>
            </a:xfrm>
            <a:custGeom>
              <a:avLst/>
              <a:gdLst>
                <a:gd name="T0" fmla="*/ 33 w 39"/>
                <a:gd name="T1" fmla="*/ 4 h 38"/>
                <a:gd name="T2" fmla="*/ 30 w 39"/>
                <a:gd name="T3" fmla="*/ 1 h 38"/>
                <a:gd name="T4" fmla="*/ 26 w 39"/>
                <a:gd name="T5" fmla="*/ 8 h 38"/>
                <a:gd name="T6" fmla="*/ 22 w 39"/>
                <a:gd name="T7" fmla="*/ 13 h 38"/>
                <a:gd name="T8" fmla="*/ 15 w 39"/>
                <a:gd name="T9" fmla="*/ 18 h 38"/>
                <a:gd name="T10" fmla="*/ 9 w 39"/>
                <a:gd name="T11" fmla="*/ 22 h 38"/>
                <a:gd name="T12" fmla="*/ 4 w 39"/>
                <a:gd name="T13" fmla="*/ 27 h 38"/>
                <a:gd name="T14" fmla="*/ 2 w 39"/>
                <a:gd name="T15" fmla="*/ 33 h 38"/>
                <a:gd name="T16" fmla="*/ 1 w 39"/>
                <a:gd name="T17" fmla="*/ 34 h 38"/>
                <a:gd name="T18" fmla="*/ 3 w 39"/>
                <a:gd name="T19" fmla="*/ 35 h 38"/>
                <a:gd name="T20" fmla="*/ 10 w 39"/>
                <a:gd name="T21" fmla="*/ 37 h 38"/>
                <a:gd name="T22" fmla="*/ 19 w 39"/>
                <a:gd name="T23" fmla="*/ 34 h 38"/>
                <a:gd name="T24" fmla="*/ 22 w 39"/>
                <a:gd name="T25" fmla="*/ 27 h 38"/>
                <a:gd name="T26" fmla="*/ 27 w 39"/>
                <a:gd name="T27" fmla="*/ 22 h 38"/>
                <a:gd name="T28" fmla="*/ 29 w 39"/>
                <a:gd name="T29" fmla="*/ 21 h 38"/>
                <a:gd name="T30" fmla="*/ 33 w 39"/>
                <a:gd name="T31" fmla="*/ 21 h 38"/>
                <a:gd name="T32" fmla="*/ 32 w 39"/>
                <a:gd name="T33" fmla="*/ 19 h 38"/>
                <a:gd name="T34" fmla="*/ 32 w 39"/>
                <a:gd name="T35" fmla="*/ 17 h 38"/>
                <a:gd name="T36" fmla="*/ 38 w 39"/>
                <a:gd name="T37" fmla="*/ 9 h 38"/>
                <a:gd name="T38" fmla="*/ 38 w 39"/>
                <a:gd name="T39" fmla="*/ 6 h 38"/>
                <a:gd name="T40" fmla="*/ 38 w 39"/>
                <a:gd name="T41" fmla="*/ 4 h 38"/>
                <a:gd name="T42" fmla="*/ 37 w 39"/>
                <a:gd name="T43" fmla="*/ 4 h 38"/>
                <a:gd name="T44" fmla="*/ 37 w 39"/>
                <a:gd name="T45" fmla="*/ 2 h 38"/>
                <a:gd name="T46" fmla="*/ 33 w 39"/>
                <a:gd name="T47" fmla="*/ 4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9" h="38">
                  <a:moveTo>
                    <a:pt x="33" y="4"/>
                  </a:moveTo>
                  <a:cubicBezTo>
                    <a:pt x="33" y="4"/>
                    <a:pt x="32" y="0"/>
                    <a:pt x="30" y="1"/>
                  </a:cubicBezTo>
                  <a:cubicBezTo>
                    <a:pt x="27" y="3"/>
                    <a:pt x="28" y="5"/>
                    <a:pt x="26" y="8"/>
                  </a:cubicBezTo>
                  <a:cubicBezTo>
                    <a:pt x="25" y="9"/>
                    <a:pt x="24" y="12"/>
                    <a:pt x="22" y="13"/>
                  </a:cubicBezTo>
                  <a:cubicBezTo>
                    <a:pt x="20" y="16"/>
                    <a:pt x="18" y="17"/>
                    <a:pt x="15" y="18"/>
                  </a:cubicBezTo>
                  <a:cubicBezTo>
                    <a:pt x="13" y="19"/>
                    <a:pt x="12" y="21"/>
                    <a:pt x="9" y="22"/>
                  </a:cubicBezTo>
                  <a:cubicBezTo>
                    <a:pt x="7" y="23"/>
                    <a:pt x="7" y="27"/>
                    <a:pt x="4" y="27"/>
                  </a:cubicBezTo>
                  <a:cubicBezTo>
                    <a:pt x="0" y="28"/>
                    <a:pt x="4" y="31"/>
                    <a:pt x="2" y="33"/>
                  </a:cubicBezTo>
                  <a:cubicBezTo>
                    <a:pt x="1" y="33"/>
                    <a:pt x="0" y="33"/>
                    <a:pt x="1" y="34"/>
                  </a:cubicBezTo>
                  <a:cubicBezTo>
                    <a:pt x="1" y="35"/>
                    <a:pt x="1" y="35"/>
                    <a:pt x="3" y="35"/>
                  </a:cubicBezTo>
                  <a:cubicBezTo>
                    <a:pt x="5" y="35"/>
                    <a:pt x="8" y="37"/>
                    <a:pt x="10" y="37"/>
                  </a:cubicBezTo>
                  <a:cubicBezTo>
                    <a:pt x="14" y="38"/>
                    <a:pt x="16" y="36"/>
                    <a:pt x="19" y="34"/>
                  </a:cubicBezTo>
                  <a:cubicBezTo>
                    <a:pt x="21" y="32"/>
                    <a:pt x="22" y="30"/>
                    <a:pt x="22" y="27"/>
                  </a:cubicBezTo>
                  <a:cubicBezTo>
                    <a:pt x="23" y="24"/>
                    <a:pt x="24" y="24"/>
                    <a:pt x="27" y="22"/>
                  </a:cubicBezTo>
                  <a:cubicBezTo>
                    <a:pt x="28" y="22"/>
                    <a:pt x="28" y="21"/>
                    <a:pt x="29" y="21"/>
                  </a:cubicBezTo>
                  <a:cubicBezTo>
                    <a:pt x="30" y="21"/>
                    <a:pt x="31" y="21"/>
                    <a:pt x="33" y="21"/>
                  </a:cubicBezTo>
                  <a:cubicBezTo>
                    <a:pt x="34" y="20"/>
                    <a:pt x="33" y="19"/>
                    <a:pt x="32" y="19"/>
                  </a:cubicBezTo>
                  <a:cubicBezTo>
                    <a:pt x="31" y="18"/>
                    <a:pt x="31" y="18"/>
                    <a:pt x="32" y="17"/>
                  </a:cubicBezTo>
                  <a:cubicBezTo>
                    <a:pt x="34" y="14"/>
                    <a:pt x="36" y="12"/>
                    <a:pt x="38" y="9"/>
                  </a:cubicBezTo>
                  <a:cubicBezTo>
                    <a:pt x="38" y="8"/>
                    <a:pt x="38" y="7"/>
                    <a:pt x="38" y="6"/>
                  </a:cubicBezTo>
                  <a:cubicBezTo>
                    <a:pt x="38" y="5"/>
                    <a:pt x="38" y="5"/>
                    <a:pt x="38" y="4"/>
                  </a:cubicBezTo>
                  <a:cubicBezTo>
                    <a:pt x="39" y="3"/>
                    <a:pt x="37" y="4"/>
                    <a:pt x="37" y="4"/>
                  </a:cubicBezTo>
                  <a:cubicBezTo>
                    <a:pt x="37" y="3"/>
                    <a:pt x="37" y="3"/>
                    <a:pt x="37" y="2"/>
                  </a:cubicBezTo>
                  <a:cubicBezTo>
                    <a:pt x="36" y="3"/>
                    <a:pt x="35" y="5"/>
                    <a:pt x="3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00" name="Freeform 481">
              <a:extLst>
                <a:ext uri="{FF2B5EF4-FFF2-40B4-BE49-F238E27FC236}">
                  <a16:creationId xmlns:a16="http://schemas.microsoft.com/office/drawing/2014/main" id="{4FDD9958-4DD5-6D81-5845-96CB4B93EB8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61594" y="5730523"/>
              <a:ext cx="10730" cy="11355"/>
            </a:xfrm>
            <a:custGeom>
              <a:avLst/>
              <a:gdLst>
                <a:gd name="T0" fmla="*/ 2 w 2"/>
                <a:gd name="T1" fmla="*/ 2 h 2"/>
                <a:gd name="T2" fmla="*/ 1 w 2"/>
                <a:gd name="T3" fmla="*/ 0 h 2"/>
                <a:gd name="T4" fmla="*/ 0 w 2"/>
                <a:gd name="T5" fmla="*/ 2 h 2"/>
                <a:gd name="T6" fmla="*/ 2 w 2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cubicBezTo>
                    <a:pt x="2" y="1"/>
                    <a:pt x="1" y="1"/>
                    <a:pt x="1" y="0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1" y="2"/>
                    <a:pt x="2" y="2"/>
                    <a:pt x="2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01" name="Freeform 482">
              <a:extLst>
                <a:ext uri="{FF2B5EF4-FFF2-40B4-BE49-F238E27FC236}">
                  <a16:creationId xmlns:a16="http://schemas.microsoft.com/office/drawing/2014/main" id="{05108CDC-19BF-D86C-CC88-A7BDBD7A7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9558954" y="5524255"/>
              <a:ext cx="100143" cy="100296"/>
            </a:xfrm>
            <a:custGeom>
              <a:avLst/>
              <a:gdLst>
                <a:gd name="T0" fmla="*/ 0 w 19"/>
                <a:gd name="T1" fmla="*/ 2 h 18"/>
                <a:gd name="T2" fmla="*/ 2 w 19"/>
                <a:gd name="T3" fmla="*/ 7 h 18"/>
                <a:gd name="T4" fmla="*/ 4 w 19"/>
                <a:gd name="T5" fmla="*/ 10 h 18"/>
                <a:gd name="T6" fmla="*/ 3 w 19"/>
                <a:gd name="T7" fmla="*/ 12 h 18"/>
                <a:gd name="T8" fmla="*/ 9 w 19"/>
                <a:gd name="T9" fmla="*/ 18 h 18"/>
                <a:gd name="T10" fmla="*/ 12 w 19"/>
                <a:gd name="T11" fmla="*/ 15 h 18"/>
                <a:gd name="T12" fmla="*/ 13 w 19"/>
                <a:gd name="T13" fmla="*/ 17 h 18"/>
                <a:gd name="T14" fmla="*/ 14 w 19"/>
                <a:gd name="T15" fmla="*/ 14 h 18"/>
                <a:gd name="T16" fmla="*/ 16 w 19"/>
                <a:gd name="T17" fmla="*/ 15 h 18"/>
                <a:gd name="T18" fmla="*/ 18 w 19"/>
                <a:gd name="T19" fmla="*/ 7 h 18"/>
                <a:gd name="T20" fmla="*/ 16 w 19"/>
                <a:gd name="T21" fmla="*/ 1 h 18"/>
                <a:gd name="T22" fmla="*/ 7 w 19"/>
                <a:gd name="T23" fmla="*/ 3 h 18"/>
                <a:gd name="T24" fmla="*/ 0 w 19"/>
                <a:gd name="T25" fmla="*/ 2 h 18"/>
                <a:gd name="T26" fmla="*/ 0 w 19"/>
                <a:gd name="T27" fmla="*/ 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" h="18">
                  <a:moveTo>
                    <a:pt x="0" y="2"/>
                  </a:moveTo>
                  <a:cubicBezTo>
                    <a:pt x="0" y="3"/>
                    <a:pt x="2" y="6"/>
                    <a:pt x="2" y="7"/>
                  </a:cubicBezTo>
                  <a:cubicBezTo>
                    <a:pt x="3" y="8"/>
                    <a:pt x="4" y="9"/>
                    <a:pt x="4" y="10"/>
                  </a:cubicBezTo>
                  <a:cubicBezTo>
                    <a:pt x="4" y="11"/>
                    <a:pt x="3" y="11"/>
                    <a:pt x="3" y="12"/>
                  </a:cubicBezTo>
                  <a:cubicBezTo>
                    <a:pt x="4" y="15"/>
                    <a:pt x="7" y="17"/>
                    <a:pt x="9" y="18"/>
                  </a:cubicBezTo>
                  <a:cubicBezTo>
                    <a:pt x="11" y="18"/>
                    <a:pt x="11" y="16"/>
                    <a:pt x="12" y="15"/>
                  </a:cubicBezTo>
                  <a:cubicBezTo>
                    <a:pt x="12" y="15"/>
                    <a:pt x="13" y="17"/>
                    <a:pt x="13" y="17"/>
                  </a:cubicBezTo>
                  <a:cubicBezTo>
                    <a:pt x="13" y="16"/>
                    <a:pt x="13" y="14"/>
                    <a:pt x="14" y="14"/>
                  </a:cubicBezTo>
                  <a:cubicBezTo>
                    <a:pt x="15" y="13"/>
                    <a:pt x="15" y="15"/>
                    <a:pt x="16" y="15"/>
                  </a:cubicBezTo>
                  <a:cubicBezTo>
                    <a:pt x="15" y="15"/>
                    <a:pt x="18" y="8"/>
                    <a:pt x="18" y="7"/>
                  </a:cubicBezTo>
                  <a:cubicBezTo>
                    <a:pt x="18" y="6"/>
                    <a:pt x="19" y="0"/>
                    <a:pt x="16" y="1"/>
                  </a:cubicBezTo>
                  <a:cubicBezTo>
                    <a:pt x="13" y="2"/>
                    <a:pt x="10" y="4"/>
                    <a:pt x="7" y="3"/>
                  </a:cubicBezTo>
                  <a:cubicBezTo>
                    <a:pt x="6" y="3"/>
                    <a:pt x="1" y="0"/>
                    <a:pt x="0" y="2"/>
                  </a:cubicBezTo>
                  <a:cubicBezTo>
                    <a:pt x="0" y="3"/>
                    <a:pt x="1" y="0"/>
                    <a:pt x="0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02" name="Freeform 483">
              <a:extLst>
                <a:ext uri="{FF2B5EF4-FFF2-40B4-BE49-F238E27FC236}">
                  <a16:creationId xmlns:a16="http://schemas.microsoft.com/office/drawing/2014/main" id="{9B6E91E9-930F-CFB0-0457-1EE58EDABC5C}"/>
                </a:ext>
              </a:extLst>
            </p:cNvPr>
            <p:cNvSpPr>
              <a:spLocks/>
            </p:cNvSpPr>
            <p:nvPr/>
          </p:nvSpPr>
          <p:spPr bwMode="auto">
            <a:xfrm>
              <a:off x="9637637" y="5495869"/>
              <a:ext cx="16094" cy="28387"/>
            </a:xfrm>
            <a:custGeom>
              <a:avLst/>
              <a:gdLst>
                <a:gd name="T0" fmla="*/ 3 w 3"/>
                <a:gd name="T1" fmla="*/ 4 h 5"/>
                <a:gd name="T2" fmla="*/ 1 w 3"/>
                <a:gd name="T3" fmla="*/ 0 h 5"/>
                <a:gd name="T4" fmla="*/ 3 w 3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5">
                  <a:moveTo>
                    <a:pt x="3" y="4"/>
                  </a:moveTo>
                  <a:cubicBezTo>
                    <a:pt x="3" y="5"/>
                    <a:pt x="0" y="1"/>
                    <a:pt x="1" y="0"/>
                  </a:cubicBezTo>
                  <a:cubicBezTo>
                    <a:pt x="2" y="0"/>
                    <a:pt x="3" y="1"/>
                    <a:pt x="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03" name="Freeform 484">
              <a:extLst>
                <a:ext uri="{FF2B5EF4-FFF2-40B4-BE49-F238E27FC236}">
                  <a16:creationId xmlns:a16="http://schemas.microsoft.com/office/drawing/2014/main" id="{1FE31FBB-83EB-367E-D16D-3275ABA08A9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32130" y="5495869"/>
              <a:ext cx="10730" cy="11355"/>
            </a:xfrm>
            <a:custGeom>
              <a:avLst/>
              <a:gdLst>
                <a:gd name="T0" fmla="*/ 1 w 2"/>
                <a:gd name="T1" fmla="*/ 2 h 2"/>
                <a:gd name="T2" fmla="*/ 1 w 2"/>
                <a:gd name="T3" fmla="*/ 0 h 2"/>
                <a:gd name="T4" fmla="*/ 1 w 2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1" y="2"/>
                  </a:moveTo>
                  <a:cubicBezTo>
                    <a:pt x="0" y="2"/>
                    <a:pt x="0" y="0"/>
                    <a:pt x="1" y="0"/>
                  </a:cubicBezTo>
                  <a:cubicBezTo>
                    <a:pt x="2" y="0"/>
                    <a:pt x="2" y="2"/>
                    <a:pt x="1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04" name="Freeform 612">
              <a:extLst>
                <a:ext uri="{FF2B5EF4-FFF2-40B4-BE49-F238E27FC236}">
                  <a16:creationId xmlns:a16="http://schemas.microsoft.com/office/drawing/2014/main" id="{8F574333-0787-F8C7-9F1E-655454A533B7}"/>
                </a:ext>
              </a:extLst>
            </p:cNvPr>
            <p:cNvSpPr>
              <a:spLocks/>
            </p:cNvSpPr>
            <p:nvPr/>
          </p:nvSpPr>
          <p:spPr bwMode="auto">
            <a:xfrm>
              <a:off x="9344362" y="5357725"/>
              <a:ext cx="35765" cy="28387"/>
            </a:xfrm>
            <a:custGeom>
              <a:avLst/>
              <a:gdLst>
                <a:gd name="T0" fmla="*/ 6 w 7"/>
                <a:gd name="T1" fmla="*/ 2 h 5"/>
                <a:gd name="T2" fmla="*/ 1 w 7"/>
                <a:gd name="T3" fmla="*/ 2 h 5"/>
                <a:gd name="T4" fmla="*/ 6 w 7"/>
                <a:gd name="T5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5">
                  <a:moveTo>
                    <a:pt x="6" y="2"/>
                  </a:moveTo>
                  <a:cubicBezTo>
                    <a:pt x="7" y="0"/>
                    <a:pt x="0" y="1"/>
                    <a:pt x="1" y="2"/>
                  </a:cubicBezTo>
                  <a:cubicBezTo>
                    <a:pt x="1" y="3"/>
                    <a:pt x="5" y="5"/>
                    <a:pt x="6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05" name="Freeform 708">
              <a:extLst>
                <a:ext uri="{FF2B5EF4-FFF2-40B4-BE49-F238E27FC236}">
                  <a16:creationId xmlns:a16="http://schemas.microsoft.com/office/drawing/2014/main" id="{325A2040-2D53-BE37-3F28-CB735DDBC364}"/>
                </a:ext>
              </a:extLst>
            </p:cNvPr>
            <p:cNvSpPr>
              <a:spLocks/>
            </p:cNvSpPr>
            <p:nvPr/>
          </p:nvSpPr>
          <p:spPr bwMode="auto">
            <a:xfrm>
              <a:off x="9458810" y="4402083"/>
              <a:ext cx="268238" cy="227083"/>
            </a:xfrm>
            <a:custGeom>
              <a:avLst/>
              <a:gdLst>
                <a:gd name="T0" fmla="*/ 50 w 51"/>
                <a:gd name="T1" fmla="*/ 39 h 41"/>
                <a:gd name="T2" fmla="*/ 45 w 51"/>
                <a:gd name="T3" fmla="*/ 37 h 41"/>
                <a:gd name="T4" fmla="*/ 47 w 51"/>
                <a:gd name="T5" fmla="*/ 36 h 41"/>
                <a:gd name="T6" fmla="*/ 42 w 51"/>
                <a:gd name="T7" fmla="*/ 34 h 41"/>
                <a:gd name="T8" fmla="*/ 38 w 51"/>
                <a:gd name="T9" fmla="*/ 30 h 41"/>
                <a:gd name="T10" fmla="*/ 37 w 51"/>
                <a:gd name="T11" fmla="*/ 28 h 41"/>
                <a:gd name="T12" fmla="*/ 34 w 51"/>
                <a:gd name="T13" fmla="*/ 26 h 41"/>
                <a:gd name="T14" fmla="*/ 29 w 51"/>
                <a:gd name="T15" fmla="*/ 21 h 41"/>
                <a:gd name="T16" fmla="*/ 34 w 51"/>
                <a:gd name="T17" fmla="*/ 21 h 41"/>
                <a:gd name="T18" fmla="*/ 34 w 51"/>
                <a:gd name="T19" fmla="*/ 18 h 41"/>
                <a:gd name="T20" fmla="*/ 31 w 51"/>
                <a:gd name="T21" fmla="*/ 17 h 41"/>
                <a:gd name="T22" fmla="*/ 25 w 51"/>
                <a:gd name="T23" fmla="*/ 12 h 41"/>
                <a:gd name="T24" fmla="*/ 19 w 51"/>
                <a:gd name="T25" fmla="*/ 7 h 41"/>
                <a:gd name="T26" fmla="*/ 16 w 51"/>
                <a:gd name="T27" fmla="*/ 6 h 41"/>
                <a:gd name="T28" fmla="*/ 13 w 51"/>
                <a:gd name="T29" fmla="*/ 4 h 41"/>
                <a:gd name="T30" fmla="*/ 8 w 51"/>
                <a:gd name="T31" fmla="*/ 2 h 41"/>
                <a:gd name="T32" fmla="*/ 1 w 51"/>
                <a:gd name="T33" fmla="*/ 0 h 41"/>
                <a:gd name="T34" fmla="*/ 1 w 51"/>
                <a:gd name="T35" fmla="*/ 10 h 41"/>
                <a:gd name="T36" fmla="*/ 1 w 51"/>
                <a:gd name="T37" fmla="*/ 20 h 41"/>
                <a:gd name="T38" fmla="*/ 1 w 51"/>
                <a:gd name="T39" fmla="*/ 25 h 41"/>
                <a:gd name="T40" fmla="*/ 1 w 51"/>
                <a:gd name="T41" fmla="*/ 30 h 41"/>
                <a:gd name="T42" fmla="*/ 4 w 51"/>
                <a:gd name="T43" fmla="*/ 33 h 41"/>
                <a:gd name="T44" fmla="*/ 13 w 51"/>
                <a:gd name="T45" fmla="*/ 31 h 41"/>
                <a:gd name="T46" fmla="*/ 9 w 51"/>
                <a:gd name="T47" fmla="*/ 28 h 41"/>
                <a:gd name="T48" fmla="*/ 14 w 51"/>
                <a:gd name="T49" fmla="*/ 30 h 41"/>
                <a:gd name="T50" fmla="*/ 13 w 51"/>
                <a:gd name="T51" fmla="*/ 26 h 41"/>
                <a:gd name="T52" fmla="*/ 15 w 51"/>
                <a:gd name="T53" fmla="*/ 27 h 41"/>
                <a:gd name="T54" fmla="*/ 18 w 51"/>
                <a:gd name="T55" fmla="*/ 25 h 41"/>
                <a:gd name="T56" fmla="*/ 26 w 51"/>
                <a:gd name="T57" fmla="*/ 27 h 41"/>
                <a:gd name="T58" fmla="*/ 31 w 51"/>
                <a:gd name="T59" fmla="*/ 33 h 41"/>
                <a:gd name="T60" fmla="*/ 36 w 51"/>
                <a:gd name="T61" fmla="*/ 38 h 41"/>
                <a:gd name="T62" fmla="*/ 45 w 51"/>
                <a:gd name="T63" fmla="*/ 40 h 41"/>
                <a:gd name="T64" fmla="*/ 48 w 51"/>
                <a:gd name="T65" fmla="*/ 40 h 41"/>
                <a:gd name="T66" fmla="*/ 50 w 51"/>
                <a:gd name="T67" fmla="*/ 39 h 41"/>
                <a:gd name="T68" fmla="*/ 50 w 51"/>
                <a:gd name="T69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1" h="41">
                  <a:moveTo>
                    <a:pt x="50" y="39"/>
                  </a:moveTo>
                  <a:cubicBezTo>
                    <a:pt x="48" y="38"/>
                    <a:pt x="46" y="38"/>
                    <a:pt x="45" y="37"/>
                  </a:cubicBezTo>
                  <a:cubicBezTo>
                    <a:pt x="44" y="36"/>
                    <a:pt x="46" y="35"/>
                    <a:pt x="47" y="36"/>
                  </a:cubicBezTo>
                  <a:cubicBezTo>
                    <a:pt x="45" y="35"/>
                    <a:pt x="42" y="36"/>
                    <a:pt x="42" y="34"/>
                  </a:cubicBezTo>
                  <a:cubicBezTo>
                    <a:pt x="42" y="32"/>
                    <a:pt x="39" y="32"/>
                    <a:pt x="38" y="30"/>
                  </a:cubicBezTo>
                  <a:cubicBezTo>
                    <a:pt x="37" y="29"/>
                    <a:pt x="38" y="29"/>
                    <a:pt x="37" y="28"/>
                  </a:cubicBezTo>
                  <a:cubicBezTo>
                    <a:pt x="36" y="27"/>
                    <a:pt x="35" y="27"/>
                    <a:pt x="34" y="26"/>
                  </a:cubicBezTo>
                  <a:cubicBezTo>
                    <a:pt x="34" y="26"/>
                    <a:pt x="30" y="21"/>
                    <a:pt x="29" y="21"/>
                  </a:cubicBezTo>
                  <a:cubicBezTo>
                    <a:pt x="30" y="20"/>
                    <a:pt x="33" y="21"/>
                    <a:pt x="34" y="21"/>
                  </a:cubicBezTo>
                  <a:cubicBezTo>
                    <a:pt x="36" y="21"/>
                    <a:pt x="35" y="20"/>
                    <a:pt x="34" y="18"/>
                  </a:cubicBezTo>
                  <a:cubicBezTo>
                    <a:pt x="34" y="17"/>
                    <a:pt x="32" y="17"/>
                    <a:pt x="31" y="17"/>
                  </a:cubicBezTo>
                  <a:cubicBezTo>
                    <a:pt x="28" y="15"/>
                    <a:pt x="26" y="14"/>
                    <a:pt x="25" y="12"/>
                  </a:cubicBezTo>
                  <a:cubicBezTo>
                    <a:pt x="24" y="10"/>
                    <a:pt x="21" y="8"/>
                    <a:pt x="19" y="7"/>
                  </a:cubicBezTo>
                  <a:cubicBezTo>
                    <a:pt x="18" y="6"/>
                    <a:pt x="17" y="6"/>
                    <a:pt x="16" y="6"/>
                  </a:cubicBezTo>
                  <a:cubicBezTo>
                    <a:pt x="15" y="6"/>
                    <a:pt x="14" y="4"/>
                    <a:pt x="13" y="4"/>
                  </a:cubicBezTo>
                  <a:cubicBezTo>
                    <a:pt x="12" y="3"/>
                    <a:pt x="10" y="3"/>
                    <a:pt x="8" y="2"/>
                  </a:cubicBezTo>
                  <a:cubicBezTo>
                    <a:pt x="6" y="2"/>
                    <a:pt x="4" y="0"/>
                    <a:pt x="1" y="0"/>
                  </a:cubicBezTo>
                  <a:cubicBezTo>
                    <a:pt x="1" y="3"/>
                    <a:pt x="1" y="7"/>
                    <a:pt x="1" y="10"/>
                  </a:cubicBezTo>
                  <a:cubicBezTo>
                    <a:pt x="1" y="13"/>
                    <a:pt x="2" y="17"/>
                    <a:pt x="1" y="20"/>
                  </a:cubicBezTo>
                  <a:cubicBezTo>
                    <a:pt x="0" y="21"/>
                    <a:pt x="1" y="23"/>
                    <a:pt x="1" y="25"/>
                  </a:cubicBezTo>
                  <a:cubicBezTo>
                    <a:pt x="1" y="27"/>
                    <a:pt x="1" y="28"/>
                    <a:pt x="1" y="30"/>
                  </a:cubicBezTo>
                  <a:cubicBezTo>
                    <a:pt x="1" y="33"/>
                    <a:pt x="2" y="33"/>
                    <a:pt x="4" y="33"/>
                  </a:cubicBezTo>
                  <a:cubicBezTo>
                    <a:pt x="7" y="33"/>
                    <a:pt x="10" y="33"/>
                    <a:pt x="13" y="31"/>
                  </a:cubicBezTo>
                  <a:cubicBezTo>
                    <a:pt x="14" y="31"/>
                    <a:pt x="9" y="28"/>
                    <a:pt x="9" y="28"/>
                  </a:cubicBezTo>
                  <a:cubicBezTo>
                    <a:pt x="10" y="28"/>
                    <a:pt x="14" y="31"/>
                    <a:pt x="14" y="30"/>
                  </a:cubicBezTo>
                  <a:cubicBezTo>
                    <a:pt x="14" y="29"/>
                    <a:pt x="13" y="28"/>
                    <a:pt x="13" y="26"/>
                  </a:cubicBezTo>
                  <a:cubicBezTo>
                    <a:pt x="13" y="26"/>
                    <a:pt x="16" y="28"/>
                    <a:pt x="15" y="27"/>
                  </a:cubicBezTo>
                  <a:cubicBezTo>
                    <a:pt x="15" y="25"/>
                    <a:pt x="17" y="25"/>
                    <a:pt x="18" y="25"/>
                  </a:cubicBezTo>
                  <a:cubicBezTo>
                    <a:pt x="19" y="25"/>
                    <a:pt x="26" y="28"/>
                    <a:pt x="26" y="27"/>
                  </a:cubicBezTo>
                  <a:cubicBezTo>
                    <a:pt x="26" y="29"/>
                    <a:pt x="30" y="31"/>
                    <a:pt x="31" y="33"/>
                  </a:cubicBezTo>
                  <a:cubicBezTo>
                    <a:pt x="32" y="35"/>
                    <a:pt x="34" y="38"/>
                    <a:pt x="36" y="38"/>
                  </a:cubicBezTo>
                  <a:cubicBezTo>
                    <a:pt x="39" y="38"/>
                    <a:pt x="42" y="39"/>
                    <a:pt x="45" y="40"/>
                  </a:cubicBezTo>
                  <a:cubicBezTo>
                    <a:pt x="46" y="40"/>
                    <a:pt x="48" y="41"/>
                    <a:pt x="48" y="40"/>
                  </a:cubicBezTo>
                  <a:cubicBezTo>
                    <a:pt x="48" y="39"/>
                    <a:pt x="51" y="39"/>
                    <a:pt x="50" y="39"/>
                  </a:cubicBezTo>
                  <a:cubicBezTo>
                    <a:pt x="49" y="38"/>
                    <a:pt x="51" y="39"/>
                    <a:pt x="50" y="3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A689CFA8-FFA6-46A3-D04A-3296C1F6FC43}"/>
              </a:ext>
            </a:extLst>
          </p:cNvPr>
          <p:cNvGrpSpPr/>
          <p:nvPr/>
        </p:nvGrpSpPr>
        <p:grpSpPr>
          <a:xfrm>
            <a:off x="3650564" y="3972515"/>
            <a:ext cx="1278601" cy="2085385"/>
            <a:chOff x="3650564" y="3972515"/>
            <a:chExt cx="1278601" cy="2085385"/>
          </a:xfrm>
          <a:solidFill>
            <a:schemeClr val="bg2"/>
          </a:solidFill>
        </p:grpSpPr>
        <p:sp>
          <p:nvSpPr>
            <p:cNvPr id="4" name="Freeform 512">
              <a:extLst>
                <a:ext uri="{FF2B5EF4-FFF2-40B4-BE49-F238E27FC236}">
                  <a16:creationId xmlns:a16="http://schemas.microsoft.com/office/drawing/2014/main" id="{AF7F1357-0446-6475-9337-B3D357CEB512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7342" y="5929221"/>
              <a:ext cx="62589" cy="34061"/>
            </a:xfrm>
            <a:custGeom>
              <a:avLst/>
              <a:gdLst>
                <a:gd name="T0" fmla="*/ 10 w 12"/>
                <a:gd name="T1" fmla="*/ 3 h 6"/>
                <a:gd name="T2" fmla="*/ 8 w 12"/>
                <a:gd name="T3" fmla="*/ 2 h 6"/>
                <a:gd name="T4" fmla="*/ 5 w 12"/>
                <a:gd name="T5" fmla="*/ 2 h 6"/>
                <a:gd name="T6" fmla="*/ 3 w 12"/>
                <a:gd name="T7" fmla="*/ 1 h 6"/>
                <a:gd name="T8" fmla="*/ 0 w 12"/>
                <a:gd name="T9" fmla="*/ 3 h 6"/>
                <a:gd name="T10" fmla="*/ 2 w 12"/>
                <a:gd name="T11" fmla="*/ 5 h 6"/>
                <a:gd name="T12" fmla="*/ 6 w 12"/>
                <a:gd name="T13" fmla="*/ 5 h 6"/>
                <a:gd name="T14" fmla="*/ 11 w 12"/>
                <a:gd name="T15" fmla="*/ 3 h 6"/>
                <a:gd name="T16" fmla="*/ 10 w 12"/>
                <a:gd name="T17" fmla="*/ 3 h 6"/>
                <a:gd name="T18" fmla="*/ 10 w 12"/>
                <a:gd name="T19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6">
                  <a:moveTo>
                    <a:pt x="10" y="3"/>
                  </a:moveTo>
                  <a:cubicBezTo>
                    <a:pt x="9" y="3"/>
                    <a:pt x="9" y="2"/>
                    <a:pt x="8" y="2"/>
                  </a:cubicBezTo>
                  <a:cubicBezTo>
                    <a:pt x="7" y="2"/>
                    <a:pt x="6" y="2"/>
                    <a:pt x="5" y="2"/>
                  </a:cubicBezTo>
                  <a:cubicBezTo>
                    <a:pt x="4" y="2"/>
                    <a:pt x="4" y="0"/>
                    <a:pt x="3" y="1"/>
                  </a:cubicBezTo>
                  <a:cubicBezTo>
                    <a:pt x="3" y="1"/>
                    <a:pt x="0" y="3"/>
                    <a:pt x="0" y="3"/>
                  </a:cubicBezTo>
                  <a:cubicBezTo>
                    <a:pt x="0" y="3"/>
                    <a:pt x="2" y="5"/>
                    <a:pt x="2" y="5"/>
                  </a:cubicBezTo>
                  <a:cubicBezTo>
                    <a:pt x="3" y="6"/>
                    <a:pt x="5" y="5"/>
                    <a:pt x="6" y="5"/>
                  </a:cubicBezTo>
                  <a:cubicBezTo>
                    <a:pt x="7" y="5"/>
                    <a:pt x="11" y="4"/>
                    <a:pt x="11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3"/>
                    <a:pt x="12" y="2"/>
                    <a:pt x="10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" name="Freeform 513">
              <a:extLst>
                <a:ext uri="{FF2B5EF4-FFF2-40B4-BE49-F238E27FC236}">
                  <a16:creationId xmlns:a16="http://schemas.microsoft.com/office/drawing/2014/main" id="{AE202524-CA29-68E1-C8B7-F93C5DF30805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1977" y="5963282"/>
              <a:ext cx="46495" cy="34061"/>
            </a:xfrm>
            <a:custGeom>
              <a:avLst/>
              <a:gdLst>
                <a:gd name="T0" fmla="*/ 7 w 9"/>
                <a:gd name="T1" fmla="*/ 3 h 6"/>
                <a:gd name="T2" fmla="*/ 0 w 9"/>
                <a:gd name="T3" fmla="*/ 1 h 6"/>
                <a:gd name="T4" fmla="*/ 2 w 9"/>
                <a:gd name="T5" fmla="*/ 2 h 6"/>
                <a:gd name="T6" fmla="*/ 1 w 9"/>
                <a:gd name="T7" fmla="*/ 5 h 6"/>
                <a:gd name="T8" fmla="*/ 3 w 9"/>
                <a:gd name="T9" fmla="*/ 5 h 6"/>
                <a:gd name="T10" fmla="*/ 4 w 9"/>
                <a:gd name="T11" fmla="*/ 5 h 6"/>
                <a:gd name="T12" fmla="*/ 7 w 9"/>
                <a:gd name="T13" fmla="*/ 3 h 6"/>
                <a:gd name="T14" fmla="*/ 7 w 9"/>
                <a:gd name="T15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6">
                  <a:moveTo>
                    <a:pt x="7" y="3"/>
                  </a:moveTo>
                  <a:cubicBezTo>
                    <a:pt x="7" y="2"/>
                    <a:pt x="0" y="0"/>
                    <a:pt x="0" y="1"/>
                  </a:cubicBezTo>
                  <a:cubicBezTo>
                    <a:pt x="0" y="1"/>
                    <a:pt x="2" y="2"/>
                    <a:pt x="2" y="2"/>
                  </a:cubicBezTo>
                  <a:cubicBezTo>
                    <a:pt x="3" y="3"/>
                    <a:pt x="1" y="4"/>
                    <a:pt x="1" y="5"/>
                  </a:cubicBezTo>
                  <a:cubicBezTo>
                    <a:pt x="1" y="6"/>
                    <a:pt x="3" y="5"/>
                    <a:pt x="3" y="5"/>
                  </a:cubicBezTo>
                  <a:cubicBezTo>
                    <a:pt x="4" y="4"/>
                    <a:pt x="3" y="5"/>
                    <a:pt x="4" y="5"/>
                  </a:cubicBezTo>
                  <a:cubicBezTo>
                    <a:pt x="5" y="6"/>
                    <a:pt x="9" y="4"/>
                    <a:pt x="7" y="3"/>
                  </a:cubicBezTo>
                  <a:cubicBezTo>
                    <a:pt x="6" y="2"/>
                    <a:pt x="8" y="3"/>
                    <a:pt x="7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" name="Freeform 514">
              <a:extLst>
                <a:ext uri="{FF2B5EF4-FFF2-40B4-BE49-F238E27FC236}">
                  <a16:creationId xmlns:a16="http://schemas.microsoft.com/office/drawing/2014/main" id="{F238D4A3-2682-CC09-AE75-B86F1948912C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6614" y="5919759"/>
              <a:ext cx="41130" cy="26493"/>
            </a:xfrm>
            <a:custGeom>
              <a:avLst/>
              <a:gdLst>
                <a:gd name="T0" fmla="*/ 6 w 8"/>
                <a:gd name="T1" fmla="*/ 0 h 5"/>
                <a:gd name="T2" fmla="*/ 3 w 8"/>
                <a:gd name="T3" fmla="*/ 1 h 5"/>
                <a:gd name="T4" fmla="*/ 0 w 8"/>
                <a:gd name="T5" fmla="*/ 1 h 5"/>
                <a:gd name="T6" fmla="*/ 0 w 8"/>
                <a:gd name="T7" fmla="*/ 3 h 5"/>
                <a:gd name="T8" fmla="*/ 5 w 8"/>
                <a:gd name="T9" fmla="*/ 2 h 5"/>
                <a:gd name="T10" fmla="*/ 6 w 8"/>
                <a:gd name="T11" fmla="*/ 0 h 5"/>
                <a:gd name="T12" fmla="*/ 6 w 8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5">
                  <a:moveTo>
                    <a:pt x="6" y="0"/>
                  </a:moveTo>
                  <a:cubicBezTo>
                    <a:pt x="5" y="0"/>
                    <a:pt x="4" y="1"/>
                    <a:pt x="3" y="1"/>
                  </a:cubicBezTo>
                  <a:cubicBezTo>
                    <a:pt x="2" y="0"/>
                    <a:pt x="0" y="1"/>
                    <a:pt x="0" y="1"/>
                  </a:cubicBezTo>
                  <a:cubicBezTo>
                    <a:pt x="1" y="0"/>
                    <a:pt x="0" y="4"/>
                    <a:pt x="0" y="3"/>
                  </a:cubicBezTo>
                  <a:cubicBezTo>
                    <a:pt x="1" y="5"/>
                    <a:pt x="4" y="3"/>
                    <a:pt x="5" y="2"/>
                  </a:cubicBezTo>
                  <a:cubicBezTo>
                    <a:pt x="6" y="2"/>
                    <a:pt x="8" y="0"/>
                    <a:pt x="6" y="0"/>
                  </a:cubicBezTo>
                  <a:cubicBezTo>
                    <a:pt x="5" y="0"/>
                    <a:pt x="8" y="0"/>
                    <a:pt x="6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" name="Freeform 515">
              <a:extLst>
                <a:ext uri="{FF2B5EF4-FFF2-40B4-BE49-F238E27FC236}">
                  <a16:creationId xmlns:a16="http://schemas.microsoft.com/office/drawing/2014/main" id="{DDE5BA5C-AF87-4346-88A6-6151916E46E1}"/>
                </a:ext>
              </a:extLst>
            </p:cNvPr>
            <p:cNvSpPr>
              <a:spLocks/>
            </p:cNvSpPr>
            <p:nvPr/>
          </p:nvSpPr>
          <p:spPr bwMode="auto">
            <a:xfrm>
              <a:off x="3865154" y="5940575"/>
              <a:ext cx="42917" cy="28387"/>
            </a:xfrm>
            <a:custGeom>
              <a:avLst/>
              <a:gdLst>
                <a:gd name="T0" fmla="*/ 7 w 8"/>
                <a:gd name="T1" fmla="*/ 4 h 5"/>
                <a:gd name="T2" fmla="*/ 1 w 8"/>
                <a:gd name="T3" fmla="*/ 1 h 5"/>
                <a:gd name="T4" fmla="*/ 7 w 8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5">
                  <a:moveTo>
                    <a:pt x="7" y="4"/>
                  </a:moveTo>
                  <a:cubicBezTo>
                    <a:pt x="6" y="3"/>
                    <a:pt x="0" y="0"/>
                    <a:pt x="1" y="1"/>
                  </a:cubicBezTo>
                  <a:cubicBezTo>
                    <a:pt x="2" y="2"/>
                    <a:pt x="8" y="5"/>
                    <a:pt x="7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" name="Freeform 516">
              <a:extLst>
                <a:ext uri="{FF2B5EF4-FFF2-40B4-BE49-F238E27FC236}">
                  <a16:creationId xmlns:a16="http://schemas.microsoft.com/office/drawing/2014/main" id="{224C59A3-3881-6E72-C8F6-E0B2C89BB21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4424" y="5902726"/>
              <a:ext cx="16094" cy="17031"/>
            </a:xfrm>
            <a:custGeom>
              <a:avLst/>
              <a:gdLst>
                <a:gd name="T0" fmla="*/ 2 w 3"/>
                <a:gd name="T1" fmla="*/ 2 h 3"/>
                <a:gd name="T2" fmla="*/ 0 w 3"/>
                <a:gd name="T3" fmla="*/ 1 h 3"/>
                <a:gd name="T4" fmla="*/ 2 w 3"/>
                <a:gd name="T5" fmla="*/ 2 h 3"/>
                <a:gd name="T6" fmla="*/ 2 w 3"/>
                <a:gd name="T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">
                  <a:moveTo>
                    <a:pt x="2" y="2"/>
                  </a:moveTo>
                  <a:cubicBezTo>
                    <a:pt x="2" y="3"/>
                    <a:pt x="1" y="2"/>
                    <a:pt x="0" y="1"/>
                  </a:cubicBezTo>
                  <a:cubicBezTo>
                    <a:pt x="0" y="0"/>
                    <a:pt x="3" y="0"/>
                    <a:pt x="2" y="2"/>
                  </a:cubicBezTo>
                  <a:cubicBezTo>
                    <a:pt x="2" y="3"/>
                    <a:pt x="2" y="1"/>
                    <a:pt x="2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" name="Freeform 517">
              <a:extLst>
                <a:ext uri="{FF2B5EF4-FFF2-40B4-BE49-F238E27FC236}">
                  <a16:creationId xmlns:a16="http://schemas.microsoft.com/office/drawing/2014/main" id="{6ACFCE2B-9A9D-D023-A434-97853D8504EE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4424" y="5857310"/>
              <a:ext cx="37553" cy="39739"/>
            </a:xfrm>
            <a:custGeom>
              <a:avLst/>
              <a:gdLst>
                <a:gd name="T0" fmla="*/ 5 w 7"/>
                <a:gd name="T1" fmla="*/ 2 h 7"/>
                <a:gd name="T2" fmla="*/ 4 w 7"/>
                <a:gd name="T3" fmla="*/ 0 h 7"/>
                <a:gd name="T4" fmla="*/ 2 w 7"/>
                <a:gd name="T5" fmla="*/ 1 h 7"/>
                <a:gd name="T6" fmla="*/ 0 w 7"/>
                <a:gd name="T7" fmla="*/ 1 h 7"/>
                <a:gd name="T8" fmla="*/ 2 w 7"/>
                <a:gd name="T9" fmla="*/ 4 h 7"/>
                <a:gd name="T10" fmla="*/ 0 w 7"/>
                <a:gd name="T11" fmla="*/ 6 h 7"/>
                <a:gd name="T12" fmla="*/ 3 w 7"/>
                <a:gd name="T13" fmla="*/ 5 h 7"/>
                <a:gd name="T14" fmla="*/ 4 w 7"/>
                <a:gd name="T15" fmla="*/ 2 h 7"/>
                <a:gd name="T16" fmla="*/ 4 w 7"/>
                <a:gd name="T17" fmla="*/ 4 h 7"/>
                <a:gd name="T18" fmla="*/ 6 w 7"/>
                <a:gd name="T19" fmla="*/ 2 h 7"/>
                <a:gd name="T20" fmla="*/ 5 w 7"/>
                <a:gd name="T21" fmla="*/ 2 h 7"/>
                <a:gd name="T22" fmla="*/ 5 w 7"/>
                <a:gd name="T23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" h="7">
                  <a:moveTo>
                    <a:pt x="5" y="2"/>
                  </a:moveTo>
                  <a:cubicBezTo>
                    <a:pt x="5" y="1"/>
                    <a:pt x="4" y="1"/>
                    <a:pt x="4" y="0"/>
                  </a:cubicBezTo>
                  <a:cubicBezTo>
                    <a:pt x="3" y="0"/>
                    <a:pt x="1" y="0"/>
                    <a:pt x="2" y="1"/>
                  </a:cubicBezTo>
                  <a:cubicBezTo>
                    <a:pt x="4" y="3"/>
                    <a:pt x="1" y="2"/>
                    <a:pt x="0" y="1"/>
                  </a:cubicBezTo>
                  <a:cubicBezTo>
                    <a:pt x="1" y="3"/>
                    <a:pt x="2" y="3"/>
                    <a:pt x="2" y="4"/>
                  </a:cubicBezTo>
                  <a:cubicBezTo>
                    <a:pt x="3" y="6"/>
                    <a:pt x="1" y="5"/>
                    <a:pt x="0" y="6"/>
                  </a:cubicBezTo>
                  <a:cubicBezTo>
                    <a:pt x="0" y="7"/>
                    <a:pt x="4" y="6"/>
                    <a:pt x="3" y="5"/>
                  </a:cubicBezTo>
                  <a:cubicBezTo>
                    <a:pt x="3" y="5"/>
                    <a:pt x="4" y="3"/>
                    <a:pt x="4" y="2"/>
                  </a:cubicBezTo>
                  <a:cubicBezTo>
                    <a:pt x="4" y="2"/>
                    <a:pt x="4" y="3"/>
                    <a:pt x="4" y="4"/>
                  </a:cubicBezTo>
                  <a:cubicBezTo>
                    <a:pt x="4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1"/>
                    <a:pt x="7" y="2"/>
                    <a:pt x="5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" name="Freeform 518">
              <a:extLst>
                <a:ext uri="{FF2B5EF4-FFF2-40B4-BE49-F238E27FC236}">
                  <a16:creationId xmlns:a16="http://schemas.microsoft.com/office/drawing/2014/main" id="{79E99F1F-8316-185C-6226-1622179765AE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9059" y="5785401"/>
              <a:ext cx="26823" cy="60555"/>
            </a:xfrm>
            <a:custGeom>
              <a:avLst/>
              <a:gdLst>
                <a:gd name="T0" fmla="*/ 5 w 5"/>
                <a:gd name="T1" fmla="*/ 7 h 11"/>
                <a:gd name="T2" fmla="*/ 2 w 5"/>
                <a:gd name="T3" fmla="*/ 2 h 11"/>
                <a:gd name="T4" fmla="*/ 1 w 5"/>
                <a:gd name="T5" fmla="*/ 6 h 11"/>
                <a:gd name="T6" fmla="*/ 0 w 5"/>
                <a:gd name="T7" fmla="*/ 9 h 11"/>
                <a:gd name="T8" fmla="*/ 2 w 5"/>
                <a:gd name="T9" fmla="*/ 7 h 11"/>
                <a:gd name="T10" fmla="*/ 5 w 5"/>
                <a:gd name="T11" fmla="*/ 7 h 11"/>
                <a:gd name="T12" fmla="*/ 5 w 5"/>
                <a:gd name="T13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11">
                  <a:moveTo>
                    <a:pt x="5" y="7"/>
                  </a:moveTo>
                  <a:cubicBezTo>
                    <a:pt x="5" y="6"/>
                    <a:pt x="4" y="0"/>
                    <a:pt x="2" y="2"/>
                  </a:cubicBezTo>
                  <a:cubicBezTo>
                    <a:pt x="2" y="3"/>
                    <a:pt x="3" y="6"/>
                    <a:pt x="1" y="6"/>
                  </a:cubicBezTo>
                  <a:cubicBezTo>
                    <a:pt x="0" y="6"/>
                    <a:pt x="0" y="7"/>
                    <a:pt x="0" y="9"/>
                  </a:cubicBezTo>
                  <a:cubicBezTo>
                    <a:pt x="1" y="9"/>
                    <a:pt x="2" y="7"/>
                    <a:pt x="2" y="7"/>
                  </a:cubicBezTo>
                  <a:cubicBezTo>
                    <a:pt x="1" y="7"/>
                    <a:pt x="5" y="11"/>
                    <a:pt x="5" y="7"/>
                  </a:cubicBezTo>
                  <a:cubicBezTo>
                    <a:pt x="5" y="6"/>
                    <a:pt x="5" y="8"/>
                    <a:pt x="5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3" name="Freeform 519">
              <a:extLst>
                <a:ext uri="{FF2B5EF4-FFF2-40B4-BE49-F238E27FC236}">
                  <a16:creationId xmlns:a16="http://schemas.microsoft.com/office/drawing/2014/main" id="{7C8160A1-4F07-EC79-361B-09FE2CDC84F9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3695" y="5834601"/>
              <a:ext cx="16094" cy="34061"/>
            </a:xfrm>
            <a:custGeom>
              <a:avLst/>
              <a:gdLst>
                <a:gd name="T0" fmla="*/ 3 w 3"/>
                <a:gd name="T1" fmla="*/ 2 h 6"/>
                <a:gd name="T2" fmla="*/ 1 w 3"/>
                <a:gd name="T3" fmla="*/ 6 h 6"/>
                <a:gd name="T4" fmla="*/ 3 w 3"/>
                <a:gd name="T5" fmla="*/ 2 h 6"/>
                <a:gd name="T6" fmla="*/ 3 w 3"/>
                <a:gd name="T7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6">
                  <a:moveTo>
                    <a:pt x="3" y="2"/>
                  </a:moveTo>
                  <a:cubicBezTo>
                    <a:pt x="2" y="0"/>
                    <a:pt x="0" y="5"/>
                    <a:pt x="1" y="6"/>
                  </a:cubicBezTo>
                  <a:cubicBezTo>
                    <a:pt x="0" y="5"/>
                    <a:pt x="3" y="3"/>
                    <a:pt x="3" y="2"/>
                  </a:cubicBezTo>
                  <a:cubicBezTo>
                    <a:pt x="2" y="1"/>
                    <a:pt x="3" y="2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4" name="Freeform 520">
              <a:extLst>
                <a:ext uri="{FF2B5EF4-FFF2-40B4-BE49-F238E27FC236}">
                  <a16:creationId xmlns:a16="http://schemas.microsoft.com/office/drawing/2014/main" id="{EC9CD5BB-97EC-D3AE-987A-64923CD143A4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3695" y="5762692"/>
              <a:ext cx="26823" cy="39739"/>
            </a:xfrm>
            <a:custGeom>
              <a:avLst/>
              <a:gdLst>
                <a:gd name="T0" fmla="*/ 4 w 5"/>
                <a:gd name="T1" fmla="*/ 2 h 7"/>
                <a:gd name="T2" fmla="*/ 3 w 5"/>
                <a:gd name="T3" fmla="*/ 0 h 7"/>
                <a:gd name="T4" fmla="*/ 2 w 5"/>
                <a:gd name="T5" fmla="*/ 3 h 7"/>
                <a:gd name="T6" fmla="*/ 1 w 5"/>
                <a:gd name="T7" fmla="*/ 2 h 7"/>
                <a:gd name="T8" fmla="*/ 0 w 5"/>
                <a:gd name="T9" fmla="*/ 5 h 7"/>
                <a:gd name="T10" fmla="*/ 2 w 5"/>
                <a:gd name="T11" fmla="*/ 7 h 7"/>
                <a:gd name="T12" fmla="*/ 5 w 5"/>
                <a:gd name="T13" fmla="*/ 5 h 7"/>
                <a:gd name="T14" fmla="*/ 4 w 5"/>
                <a:gd name="T15" fmla="*/ 2 h 7"/>
                <a:gd name="T16" fmla="*/ 4 w 5"/>
                <a:gd name="T17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" h="7">
                  <a:moveTo>
                    <a:pt x="4" y="2"/>
                  </a:moveTo>
                  <a:cubicBezTo>
                    <a:pt x="3" y="3"/>
                    <a:pt x="3" y="0"/>
                    <a:pt x="3" y="0"/>
                  </a:cubicBezTo>
                  <a:cubicBezTo>
                    <a:pt x="3" y="0"/>
                    <a:pt x="3" y="3"/>
                    <a:pt x="2" y="3"/>
                  </a:cubicBezTo>
                  <a:cubicBezTo>
                    <a:pt x="2" y="3"/>
                    <a:pt x="2" y="2"/>
                    <a:pt x="1" y="2"/>
                  </a:cubicBezTo>
                  <a:cubicBezTo>
                    <a:pt x="2" y="2"/>
                    <a:pt x="0" y="5"/>
                    <a:pt x="0" y="5"/>
                  </a:cubicBezTo>
                  <a:cubicBezTo>
                    <a:pt x="0" y="4"/>
                    <a:pt x="4" y="5"/>
                    <a:pt x="2" y="7"/>
                  </a:cubicBezTo>
                  <a:cubicBezTo>
                    <a:pt x="3" y="6"/>
                    <a:pt x="5" y="6"/>
                    <a:pt x="5" y="5"/>
                  </a:cubicBezTo>
                  <a:cubicBezTo>
                    <a:pt x="5" y="4"/>
                    <a:pt x="4" y="1"/>
                    <a:pt x="4" y="2"/>
                  </a:cubicBezTo>
                  <a:cubicBezTo>
                    <a:pt x="3" y="3"/>
                    <a:pt x="4" y="1"/>
                    <a:pt x="4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5" name="Freeform 521">
              <a:extLst>
                <a:ext uri="{FF2B5EF4-FFF2-40B4-BE49-F238E27FC236}">
                  <a16:creationId xmlns:a16="http://schemas.microsoft.com/office/drawing/2014/main" id="{F370D882-D5A2-7AF3-5268-18C6047119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0520" y="5652934"/>
              <a:ext cx="26823" cy="26493"/>
            </a:xfrm>
            <a:custGeom>
              <a:avLst/>
              <a:gdLst>
                <a:gd name="T0" fmla="*/ 3 w 5"/>
                <a:gd name="T1" fmla="*/ 4 h 5"/>
                <a:gd name="T2" fmla="*/ 3 w 5"/>
                <a:gd name="T3" fmla="*/ 0 h 5"/>
                <a:gd name="T4" fmla="*/ 0 w 5"/>
                <a:gd name="T5" fmla="*/ 0 h 5"/>
                <a:gd name="T6" fmla="*/ 2 w 5"/>
                <a:gd name="T7" fmla="*/ 1 h 5"/>
                <a:gd name="T8" fmla="*/ 3 w 5"/>
                <a:gd name="T9" fmla="*/ 4 h 5"/>
                <a:gd name="T10" fmla="*/ 3 w 5"/>
                <a:gd name="T11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5">
                  <a:moveTo>
                    <a:pt x="3" y="4"/>
                  </a:moveTo>
                  <a:cubicBezTo>
                    <a:pt x="5" y="2"/>
                    <a:pt x="2" y="2"/>
                    <a:pt x="3" y="0"/>
                  </a:cubicBezTo>
                  <a:cubicBezTo>
                    <a:pt x="3" y="0"/>
                    <a:pt x="1" y="0"/>
                    <a:pt x="0" y="0"/>
                  </a:cubicBezTo>
                  <a:cubicBezTo>
                    <a:pt x="0" y="0"/>
                    <a:pt x="2" y="1"/>
                    <a:pt x="2" y="1"/>
                  </a:cubicBezTo>
                  <a:cubicBezTo>
                    <a:pt x="2" y="2"/>
                    <a:pt x="3" y="4"/>
                    <a:pt x="3" y="4"/>
                  </a:cubicBezTo>
                  <a:cubicBezTo>
                    <a:pt x="4" y="3"/>
                    <a:pt x="2" y="5"/>
                    <a:pt x="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6" name="Freeform 522">
              <a:extLst>
                <a:ext uri="{FF2B5EF4-FFF2-40B4-BE49-F238E27FC236}">
                  <a16:creationId xmlns:a16="http://schemas.microsoft.com/office/drawing/2014/main" id="{FC2CAB91-E852-47FB-C2AE-36AA66169D77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5884" y="5552640"/>
              <a:ext cx="32188" cy="60555"/>
            </a:xfrm>
            <a:custGeom>
              <a:avLst/>
              <a:gdLst>
                <a:gd name="T0" fmla="*/ 3 w 6"/>
                <a:gd name="T1" fmla="*/ 10 h 11"/>
                <a:gd name="T2" fmla="*/ 0 w 6"/>
                <a:gd name="T3" fmla="*/ 9 h 11"/>
                <a:gd name="T4" fmla="*/ 1 w 6"/>
                <a:gd name="T5" fmla="*/ 2 h 11"/>
                <a:gd name="T6" fmla="*/ 4 w 6"/>
                <a:gd name="T7" fmla="*/ 3 h 11"/>
                <a:gd name="T8" fmla="*/ 3 w 6"/>
                <a:gd name="T9" fmla="*/ 10 h 11"/>
                <a:gd name="T10" fmla="*/ 3 w 6"/>
                <a:gd name="T11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1">
                  <a:moveTo>
                    <a:pt x="3" y="10"/>
                  </a:moveTo>
                  <a:cubicBezTo>
                    <a:pt x="1" y="11"/>
                    <a:pt x="0" y="11"/>
                    <a:pt x="0" y="9"/>
                  </a:cubicBezTo>
                  <a:cubicBezTo>
                    <a:pt x="1" y="7"/>
                    <a:pt x="1" y="4"/>
                    <a:pt x="1" y="2"/>
                  </a:cubicBezTo>
                  <a:cubicBezTo>
                    <a:pt x="1" y="0"/>
                    <a:pt x="5" y="0"/>
                    <a:pt x="4" y="3"/>
                  </a:cubicBezTo>
                  <a:cubicBezTo>
                    <a:pt x="4" y="5"/>
                    <a:pt x="6" y="8"/>
                    <a:pt x="3" y="10"/>
                  </a:cubicBezTo>
                  <a:cubicBezTo>
                    <a:pt x="2" y="10"/>
                    <a:pt x="4" y="9"/>
                    <a:pt x="3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7" name="Freeform 523">
              <a:extLst>
                <a:ext uri="{FF2B5EF4-FFF2-40B4-BE49-F238E27FC236}">
                  <a16:creationId xmlns:a16="http://schemas.microsoft.com/office/drawing/2014/main" id="{91039E03-1117-BF66-08B0-CDE62D9D0299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1390" y="3978192"/>
              <a:ext cx="25036" cy="22709"/>
            </a:xfrm>
            <a:custGeom>
              <a:avLst/>
              <a:gdLst>
                <a:gd name="T0" fmla="*/ 3 w 5"/>
                <a:gd name="T1" fmla="*/ 3 h 4"/>
                <a:gd name="T2" fmla="*/ 1 w 5"/>
                <a:gd name="T3" fmla="*/ 1 h 4"/>
                <a:gd name="T4" fmla="*/ 3 w 5"/>
                <a:gd name="T5" fmla="*/ 3 h 4"/>
                <a:gd name="T6" fmla="*/ 3 w 5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4">
                  <a:moveTo>
                    <a:pt x="3" y="3"/>
                  </a:moveTo>
                  <a:cubicBezTo>
                    <a:pt x="2" y="4"/>
                    <a:pt x="0" y="3"/>
                    <a:pt x="1" y="1"/>
                  </a:cubicBezTo>
                  <a:cubicBezTo>
                    <a:pt x="1" y="0"/>
                    <a:pt x="5" y="2"/>
                    <a:pt x="3" y="3"/>
                  </a:cubicBezTo>
                  <a:cubicBezTo>
                    <a:pt x="2" y="4"/>
                    <a:pt x="5" y="2"/>
                    <a:pt x="3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8" name="Freeform 524">
              <a:extLst>
                <a:ext uri="{FF2B5EF4-FFF2-40B4-BE49-F238E27FC236}">
                  <a16:creationId xmlns:a16="http://schemas.microsoft.com/office/drawing/2014/main" id="{69563BE0-3D8E-58FF-8D80-5D5E83075D73}"/>
                </a:ext>
              </a:extLst>
            </p:cNvPr>
            <p:cNvSpPr>
              <a:spLocks/>
            </p:cNvSpPr>
            <p:nvPr/>
          </p:nvSpPr>
          <p:spPr bwMode="auto">
            <a:xfrm>
              <a:off x="4206710" y="4012255"/>
              <a:ext cx="30400" cy="43525"/>
            </a:xfrm>
            <a:custGeom>
              <a:avLst/>
              <a:gdLst>
                <a:gd name="T0" fmla="*/ 1 w 6"/>
                <a:gd name="T1" fmla="*/ 5 h 8"/>
                <a:gd name="T2" fmla="*/ 2 w 6"/>
                <a:gd name="T3" fmla="*/ 4 h 8"/>
                <a:gd name="T4" fmla="*/ 4 w 6"/>
                <a:gd name="T5" fmla="*/ 2 h 8"/>
                <a:gd name="T6" fmla="*/ 1 w 6"/>
                <a:gd name="T7" fmla="*/ 5 h 8"/>
                <a:gd name="T8" fmla="*/ 1 w 6"/>
                <a:gd name="T9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">
                  <a:moveTo>
                    <a:pt x="1" y="5"/>
                  </a:moveTo>
                  <a:cubicBezTo>
                    <a:pt x="0" y="4"/>
                    <a:pt x="2" y="4"/>
                    <a:pt x="2" y="4"/>
                  </a:cubicBezTo>
                  <a:cubicBezTo>
                    <a:pt x="3" y="4"/>
                    <a:pt x="3" y="0"/>
                    <a:pt x="4" y="2"/>
                  </a:cubicBezTo>
                  <a:cubicBezTo>
                    <a:pt x="6" y="4"/>
                    <a:pt x="2" y="8"/>
                    <a:pt x="1" y="5"/>
                  </a:cubicBezTo>
                  <a:cubicBezTo>
                    <a:pt x="0" y="4"/>
                    <a:pt x="1" y="6"/>
                    <a:pt x="1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9" name="Freeform 525">
              <a:extLst>
                <a:ext uri="{FF2B5EF4-FFF2-40B4-BE49-F238E27FC236}">
                  <a16:creationId xmlns:a16="http://schemas.microsoft.com/office/drawing/2014/main" id="{3B53CB1F-D9F1-5D27-6487-6B174F14A169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4620" y="4313141"/>
              <a:ext cx="73319" cy="71909"/>
            </a:xfrm>
            <a:custGeom>
              <a:avLst/>
              <a:gdLst>
                <a:gd name="T0" fmla="*/ 12 w 14"/>
                <a:gd name="T1" fmla="*/ 4 h 13"/>
                <a:gd name="T2" fmla="*/ 10 w 14"/>
                <a:gd name="T3" fmla="*/ 3 h 13"/>
                <a:gd name="T4" fmla="*/ 6 w 14"/>
                <a:gd name="T5" fmla="*/ 1 h 13"/>
                <a:gd name="T6" fmla="*/ 2 w 14"/>
                <a:gd name="T7" fmla="*/ 1 h 13"/>
                <a:gd name="T8" fmla="*/ 1 w 14"/>
                <a:gd name="T9" fmla="*/ 2 h 13"/>
                <a:gd name="T10" fmla="*/ 2 w 14"/>
                <a:gd name="T11" fmla="*/ 4 h 13"/>
                <a:gd name="T12" fmla="*/ 1 w 14"/>
                <a:gd name="T13" fmla="*/ 7 h 13"/>
                <a:gd name="T14" fmla="*/ 2 w 14"/>
                <a:gd name="T15" fmla="*/ 10 h 13"/>
                <a:gd name="T16" fmla="*/ 4 w 14"/>
                <a:gd name="T17" fmla="*/ 10 h 13"/>
                <a:gd name="T18" fmla="*/ 7 w 14"/>
                <a:gd name="T19" fmla="*/ 12 h 13"/>
                <a:gd name="T20" fmla="*/ 10 w 14"/>
                <a:gd name="T21" fmla="*/ 10 h 13"/>
                <a:gd name="T22" fmla="*/ 12 w 14"/>
                <a:gd name="T23" fmla="*/ 4 h 13"/>
                <a:gd name="T24" fmla="*/ 12 w 14"/>
                <a:gd name="T25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" h="13">
                  <a:moveTo>
                    <a:pt x="12" y="4"/>
                  </a:moveTo>
                  <a:cubicBezTo>
                    <a:pt x="12" y="3"/>
                    <a:pt x="11" y="3"/>
                    <a:pt x="10" y="3"/>
                  </a:cubicBezTo>
                  <a:cubicBezTo>
                    <a:pt x="8" y="2"/>
                    <a:pt x="8" y="1"/>
                    <a:pt x="6" y="1"/>
                  </a:cubicBezTo>
                  <a:cubicBezTo>
                    <a:pt x="5" y="0"/>
                    <a:pt x="3" y="0"/>
                    <a:pt x="2" y="1"/>
                  </a:cubicBezTo>
                  <a:cubicBezTo>
                    <a:pt x="2" y="1"/>
                    <a:pt x="2" y="2"/>
                    <a:pt x="1" y="2"/>
                  </a:cubicBezTo>
                  <a:cubicBezTo>
                    <a:pt x="0" y="4"/>
                    <a:pt x="1" y="3"/>
                    <a:pt x="2" y="4"/>
                  </a:cubicBezTo>
                  <a:cubicBezTo>
                    <a:pt x="2" y="4"/>
                    <a:pt x="1" y="7"/>
                    <a:pt x="1" y="7"/>
                  </a:cubicBezTo>
                  <a:cubicBezTo>
                    <a:pt x="1" y="9"/>
                    <a:pt x="1" y="9"/>
                    <a:pt x="2" y="10"/>
                  </a:cubicBezTo>
                  <a:cubicBezTo>
                    <a:pt x="3" y="11"/>
                    <a:pt x="3" y="10"/>
                    <a:pt x="4" y="10"/>
                  </a:cubicBezTo>
                  <a:cubicBezTo>
                    <a:pt x="6" y="10"/>
                    <a:pt x="5" y="12"/>
                    <a:pt x="7" y="12"/>
                  </a:cubicBezTo>
                  <a:cubicBezTo>
                    <a:pt x="9" y="13"/>
                    <a:pt x="8" y="11"/>
                    <a:pt x="10" y="10"/>
                  </a:cubicBezTo>
                  <a:cubicBezTo>
                    <a:pt x="12" y="8"/>
                    <a:pt x="14" y="7"/>
                    <a:pt x="12" y="4"/>
                  </a:cubicBezTo>
                  <a:cubicBezTo>
                    <a:pt x="12" y="2"/>
                    <a:pt x="14" y="8"/>
                    <a:pt x="12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0" name="Freeform 614">
              <a:extLst>
                <a:ext uri="{FF2B5EF4-FFF2-40B4-BE49-F238E27FC236}">
                  <a16:creationId xmlns:a16="http://schemas.microsoft.com/office/drawing/2014/main" id="{D59BC4A6-B636-6EBB-28C6-C59303B221D6}"/>
                </a:ext>
              </a:extLst>
            </p:cNvPr>
            <p:cNvSpPr>
              <a:spLocks/>
            </p:cNvSpPr>
            <p:nvPr/>
          </p:nvSpPr>
          <p:spPr bwMode="auto">
            <a:xfrm>
              <a:off x="4457066" y="5191198"/>
              <a:ext cx="53647" cy="49203"/>
            </a:xfrm>
            <a:custGeom>
              <a:avLst/>
              <a:gdLst>
                <a:gd name="T0" fmla="*/ 4 w 10"/>
                <a:gd name="T1" fmla="*/ 4 h 9"/>
                <a:gd name="T2" fmla="*/ 0 w 10"/>
                <a:gd name="T3" fmla="*/ 8 h 9"/>
                <a:gd name="T4" fmla="*/ 2 w 10"/>
                <a:gd name="T5" fmla="*/ 8 h 9"/>
                <a:gd name="T6" fmla="*/ 5 w 10"/>
                <a:gd name="T7" fmla="*/ 5 h 9"/>
                <a:gd name="T8" fmla="*/ 8 w 10"/>
                <a:gd name="T9" fmla="*/ 0 h 9"/>
                <a:gd name="T10" fmla="*/ 4 w 10"/>
                <a:gd name="T11" fmla="*/ 4 h 9"/>
                <a:gd name="T12" fmla="*/ 4 w 10"/>
                <a:gd name="T13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9">
                  <a:moveTo>
                    <a:pt x="4" y="4"/>
                  </a:moveTo>
                  <a:cubicBezTo>
                    <a:pt x="4" y="5"/>
                    <a:pt x="1" y="7"/>
                    <a:pt x="0" y="8"/>
                  </a:cubicBezTo>
                  <a:cubicBezTo>
                    <a:pt x="0" y="9"/>
                    <a:pt x="2" y="8"/>
                    <a:pt x="2" y="8"/>
                  </a:cubicBezTo>
                  <a:cubicBezTo>
                    <a:pt x="3" y="7"/>
                    <a:pt x="4" y="6"/>
                    <a:pt x="5" y="5"/>
                  </a:cubicBezTo>
                  <a:cubicBezTo>
                    <a:pt x="6" y="4"/>
                    <a:pt x="10" y="0"/>
                    <a:pt x="8" y="0"/>
                  </a:cubicBezTo>
                  <a:cubicBezTo>
                    <a:pt x="7" y="0"/>
                    <a:pt x="4" y="3"/>
                    <a:pt x="4" y="4"/>
                  </a:cubicBezTo>
                  <a:cubicBezTo>
                    <a:pt x="4" y="5"/>
                    <a:pt x="4" y="3"/>
                    <a:pt x="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1" name="Freeform 616">
              <a:extLst>
                <a:ext uri="{FF2B5EF4-FFF2-40B4-BE49-F238E27FC236}">
                  <a16:creationId xmlns:a16="http://schemas.microsoft.com/office/drawing/2014/main" id="{FA6DCB0A-4AA1-92A4-2CC2-F9E7CB2D4D0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2519" y="5940572"/>
              <a:ext cx="94778" cy="88941"/>
            </a:xfrm>
            <a:custGeom>
              <a:avLst/>
              <a:gdLst>
                <a:gd name="T0" fmla="*/ 17 w 18"/>
                <a:gd name="T1" fmla="*/ 14 h 16"/>
                <a:gd name="T2" fmla="*/ 8 w 18"/>
                <a:gd name="T3" fmla="*/ 9 h 16"/>
                <a:gd name="T4" fmla="*/ 4 w 18"/>
                <a:gd name="T5" fmla="*/ 5 h 16"/>
                <a:gd name="T6" fmla="*/ 1 w 18"/>
                <a:gd name="T7" fmla="*/ 3 h 16"/>
                <a:gd name="T8" fmla="*/ 2 w 18"/>
                <a:gd name="T9" fmla="*/ 2 h 16"/>
                <a:gd name="T10" fmla="*/ 0 w 18"/>
                <a:gd name="T11" fmla="*/ 0 h 16"/>
                <a:gd name="T12" fmla="*/ 0 w 18"/>
                <a:gd name="T13" fmla="*/ 14 h 16"/>
                <a:gd name="T14" fmla="*/ 7 w 18"/>
                <a:gd name="T15" fmla="*/ 15 h 16"/>
                <a:gd name="T16" fmla="*/ 10 w 18"/>
                <a:gd name="T17" fmla="*/ 16 h 16"/>
                <a:gd name="T18" fmla="*/ 13 w 18"/>
                <a:gd name="T19" fmla="*/ 15 h 16"/>
                <a:gd name="T20" fmla="*/ 18 w 18"/>
                <a:gd name="T21" fmla="*/ 14 h 16"/>
                <a:gd name="T22" fmla="*/ 17 w 18"/>
                <a:gd name="T23" fmla="*/ 1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" h="16">
                  <a:moveTo>
                    <a:pt x="17" y="14"/>
                  </a:moveTo>
                  <a:cubicBezTo>
                    <a:pt x="13" y="14"/>
                    <a:pt x="11" y="11"/>
                    <a:pt x="8" y="9"/>
                  </a:cubicBezTo>
                  <a:cubicBezTo>
                    <a:pt x="7" y="7"/>
                    <a:pt x="5" y="6"/>
                    <a:pt x="4" y="5"/>
                  </a:cubicBezTo>
                  <a:cubicBezTo>
                    <a:pt x="3" y="5"/>
                    <a:pt x="1" y="4"/>
                    <a:pt x="1" y="3"/>
                  </a:cubicBezTo>
                  <a:cubicBezTo>
                    <a:pt x="1" y="3"/>
                    <a:pt x="2" y="3"/>
                    <a:pt x="2" y="2"/>
                  </a:cubicBezTo>
                  <a:cubicBezTo>
                    <a:pt x="3" y="2"/>
                    <a:pt x="1" y="0"/>
                    <a:pt x="0" y="0"/>
                  </a:cubicBezTo>
                  <a:cubicBezTo>
                    <a:pt x="0" y="5"/>
                    <a:pt x="0" y="10"/>
                    <a:pt x="0" y="14"/>
                  </a:cubicBezTo>
                  <a:cubicBezTo>
                    <a:pt x="0" y="15"/>
                    <a:pt x="6" y="15"/>
                    <a:pt x="7" y="15"/>
                  </a:cubicBezTo>
                  <a:cubicBezTo>
                    <a:pt x="8" y="15"/>
                    <a:pt x="9" y="15"/>
                    <a:pt x="10" y="16"/>
                  </a:cubicBezTo>
                  <a:cubicBezTo>
                    <a:pt x="12" y="16"/>
                    <a:pt x="12" y="16"/>
                    <a:pt x="13" y="15"/>
                  </a:cubicBezTo>
                  <a:cubicBezTo>
                    <a:pt x="14" y="15"/>
                    <a:pt x="18" y="15"/>
                    <a:pt x="18" y="14"/>
                  </a:cubicBezTo>
                  <a:cubicBezTo>
                    <a:pt x="18" y="14"/>
                    <a:pt x="18" y="13"/>
                    <a:pt x="17" y="1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2" name="Freeform 617">
              <a:extLst>
                <a:ext uri="{FF2B5EF4-FFF2-40B4-BE49-F238E27FC236}">
                  <a16:creationId xmlns:a16="http://schemas.microsoft.com/office/drawing/2014/main" id="{B2E6FF17-ABD4-0D4C-93CF-4268F98B97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2379" y="5929221"/>
              <a:ext cx="157367" cy="128679"/>
            </a:xfrm>
            <a:custGeom>
              <a:avLst/>
              <a:gdLst>
                <a:gd name="T0" fmla="*/ 19 w 30"/>
                <a:gd name="T1" fmla="*/ 17 h 23"/>
                <a:gd name="T2" fmla="*/ 19 w 30"/>
                <a:gd name="T3" fmla="*/ 7 h 23"/>
                <a:gd name="T4" fmla="*/ 19 w 30"/>
                <a:gd name="T5" fmla="*/ 3 h 23"/>
                <a:gd name="T6" fmla="*/ 15 w 30"/>
                <a:gd name="T7" fmla="*/ 1 h 23"/>
                <a:gd name="T8" fmla="*/ 12 w 30"/>
                <a:gd name="T9" fmla="*/ 3 h 23"/>
                <a:gd name="T10" fmla="*/ 13 w 30"/>
                <a:gd name="T11" fmla="*/ 6 h 23"/>
                <a:gd name="T12" fmla="*/ 15 w 30"/>
                <a:gd name="T13" fmla="*/ 6 h 23"/>
                <a:gd name="T14" fmla="*/ 14 w 30"/>
                <a:gd name="T15" fmla="*/ 8 h 23"/>
                <a:gd name="T16" fmla="*/ 13 w 30"/>
                <a:gd name="T17" fmla="*/ 11 h 23"/>
                <a:gd name="T18" fmla="*/ 16 w 30"/>
                <a:gd name="T19" fmla="*/ 13 h 23"/>
                <a:gd name="T20" fmla="*/ 12 w 30"/>
                <a:gd name="T21" fmla="*/ 13 h 23"/>
                <a:gd name="T22" fmla="*/ 9 w 30"/>
                <a:gd name="T23" fmla="*/ 12 h 23"/>
                <a:gd name="T24" fmla="*/ 10 w 30"/>
                <a:gd name="T25" fmla="*/ 12 h 23"/>
                <a:gd name="T26" fmla="*/ 10 w 30"/>
                <a:gd name="T27" fmla="*/ 9 h 23"/>
                <a:gd name="T28" fmla="*/ 8 w 30"/>
                <a:gd name="T29" fmla="*/ 11 h 23"/>
                <a:gd name="T30" fmla="*/ 5 w 30"/>
                <a:gd name="T31" fmla="*/ 11 h 23"/>
                <a:gd name="T32" fmla="*/ 0 w 30"/>
                <a:gd name="T33" fmla="*/ 12 h 23"/>
                <a:gd name="T34" fmla="*/ 2 w 30"/>
                <a:gd name="T35" fmla="*/ 12 h 23"/>
                <a:gd name="T36" fmla="*/ 3 w 30"/>
                <a:gd name="T37" fmla="*/ 12 h 23"/>
                <a:gd name="T38" fmla="*/ 5 w 30"/>
                <a:gd name="T39" fmla="*/ 12 h 23"/>
                <a:gd name="T40" fmla="*/ 6 w 30"/>
                <a:gd name="T41" fmla="*/ 13 h 23"/>
                <a:gd name="T42" fmla="*/ 4 w 30"/>
                <a:gd name="T43" fmla="*/ 15 h 23"/>
                <a:gd name="T44" fmla="*/ 6 w 30"/>
                <a:gd name="T45" fmla="*/ 15 h 23"/>
                <a:gd name="T46" fmla="*/ 8 w 30"/>
                <a:gd name="T47" fmla="*/ 16 h 23"/>
                <a:gd name="T48" fmla="*/ 7 w 30"/>
                <a:gd name="T49" fmla="*/ 16 h 23"/>
                <a:gd name="T50" fmla="*/ 10 w 30"/>
                <a:gd name="T51" fmla="*/ 17 h 23"/>
                <a:gd name="T52" fmla="*/ 12 w 30"/>
                <a:gd name="T53" fmla="*/ 17 h 23"/>
                <a:gd name="T54" fmla="*/ 17 w 30"/>
                <a:gd name="T55" fmla="*/ 21 h 23"/>
                <a:gd name="T56" fmla="*/ 16 w 30"/>
                <a:gd name="T57" fmla="*/ 20 h 23"/>
                <a:gd name="T58" fmla="*/ 23 w 30"/>
                <a:gd name="T59" fmla="*/ 23 h 23"/>
                <a:gd name="T60" fmla="*/ 19 w 30"/>
                <a:gd name="T61" fmla="*/ 18 h 23"/>
                <a:gd name="T62" fmla="*/ 24 w 30"/>
                <a:gd name="T63" fmla="*/ 19 h 23"/>
                <a:gd name="T64" fmla="*/ 30 w 30"/>
                <a:gd name="T65" fmla="*/ 18 h 23"/>
                <a:gd name="T66" fmla="*/ 19 w 30"/>
                <a:gd name="T67" fmla="*/ 17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0" h="23">
                  <a:moveTo>
                    <a:pt x="19" y="17"/>
                  </a:moveTo>
                  <a:cubicBezTo>
                    <a:pt x="19" y="13"/>
                    <a:pt x="19" y="10"/>
                    <a:pt x="19" y="7"/>
                  </a:cubicBezTo>
                  <a:cubicBezTo>
                    <a:pt x="19" y="6"/>
                    <a:pt x="19" y="4"/>
                    <a:pt x="19" y="3"/>
                  </a:cubicBezTo>
                  <a:cubicBezTo>
                    <a:pt x="19" y="2"/>
                    <a:pt x="16" y="0"/>
                    <a:pt x="15" y="1"/>
                  </a:cubicBezTo>
                  <a:cubicBezTo>
                    <a:pt x="14" y="2"/>
                    <a:pt x="12" y="1"/>
                    <a:pt x="12" y="3"/>
                  </a:cubicBezTo>
                  <a:cubicBezTo>
                    <a:pt x="11" y="5"/>
                    <a:pt x="9" y="7"/>
                    <a:pt x="13" y="6"/>
                  </a:cubicBezTo>
                  <a:cubicBezTo>
                    <a:pt x="13" y="6"/>
                    <a:pt x="15" y="6"/>
                    <a:pt x="15" y="6"/>
                  </a:cubicBezTo>
                  <a:cubicBezTo>
                    <a:pt x="16" y="6"/>
                    <a:pt x="14" y="8"/>
                    <a:pt x="14" y="8"/>
                  </a:cubicBezTo>
                  <a:cubicBezTo>
                    <a:pt x="13" y="8"/>
                    <a:pt x="11" y="10"/>
                    <a:pt x="13" y="11"/>
                  </a:cubicBezTo>
                  <a:cubicBezTo>
                    <a:pt x="13" y="12"/>
                    <a:pt x="16" y="12"/>
                    <a:pt x="16" y="13"/>
                  </a:cubicBezTo>
                  <a:cubicBezTo>
                    <a:pt x="16" y="13"/>
                    <a:pt x="12" y="13"/>
                    <a:pt x="12" y="13"/>
                  </a:cubicBezTo>
                  <a:cubicBezTo>
                    <a:pt x="11" y="13"/>
                    <a:pt x="9" y="12"/>
                    <a:pt x="9" y="12"/>
                  </a:cubicBezTo>
                  <a:cubicBezTo>
                    <a:pt x="9" y="12"/>
                    <a:pt x="10" y="13"/>
                    <a:pt x="10" y="12"/>
                  </a:cubicBezTo>
                  <a:cubicBezTo>
                    <a:pt x="10" y="11"/>
                    <a:pt x="11" y="10"/>
                    <a:pt x="10" y="9"/>
                  </a:cubicBezTo>
                  <a:cubicBezTo>
                    <a:pt x="10" y="9"/>
                    <a:pt x="8" y="11"/>
                    <a:pt x="8" y="11"/>
                  </a:cubicBezTo>
                  <a:cubicBezTo>
                    <a:pt x="7" y="12"/>
                    <a:pt x="6" y="11"/>
                    <a:pt x="5" y="11"/>
                  </a:cubicBezTo>
                  <a:cubicBezTo>
                    <a:pt x="4" y="11"/>
                    <a:pt x="0" y="10"/>
                    <a:pt x="0" y="12"/>
                  </a:cubicBezTo>
                  <a:cubicBezTo>
                    <a:pt x="0" y="13"/>
                    <a:pt x="2" y="12"/>
                    <a:pt x="2" y="12"/>
                  </a:cubicBezTo>
                  <a:cubicBezTo>
                    <a:pt x="3" y="11"/>
                    <a:pt x="2" y="12"/>
                    <a:pt x="3" y="12"/>
                  </a:cubicBezTo>
                  <a:cubicBezTo>
                    <a:pt x="4" y="13"/>
                    <a:pt x="4" y="11"/>
                    <a:pt x="5" y="12"/>
                  </a:cubicBezTo>
                  <a:cubicBezTo>
                    <a:pt x="5" y="12"/>
                    <a:pt x="6" y="13"/>
                    <a:pt x="6" y="13"/>
                  </a:cubicBezTo>
                  <a:cubicBezTo>
                    <a:pt x="6" y="13"/>
                    <a:pt x="2" y="14"/>
                    <a:pt x="4" y="15"/>
                  </a:cubicBezTo>
                  <a:cubicBezTo>
                    <a:pt x="5" y="16"/>
                    <a:pt x="6" y="14"/>
                    <a:pt x="6" y="15"/>
                  </a:cubicBezTo>
                  <a:cubicBezTo>
                    <a:pt x="7" y="15"/>
                    <a:pt x="8" y="16"/>
                    <a:pt x="8" y="16"/>
                  </a:cubicBezTo>
                  <a:cubicBezTo>
                    <a:pt x="8" y="16"/>
                    <a:pt x="8" y="16"/>
                    <a:pt x="7" y="16"/>
                  </a:cubicBezTo>
                  <a:cubicBezTo>
                    <a:pt x="7" y="17"/>
                    <a:pt x="9" y="17"/>
                    <a:pt x="10" y="17"/>
                  </a:cubicBezTo>
                  <a:cubicBezTo>
                    <a:pt x="11" y="17"/>
                    <a:pt x="11" y="15"/>
                    <a:pt x="12" y="17"/>
                  </a:cubicBezTo>
                  <a:cubicBezTo>
                    <a:pt x="12" y="17"/>
                    <a:pt x="16" y="22"/>
                    <a:pt x="17" y="21"/>
                  </a:cubicBezTo>
                  <a:cubicBezTo>
                    <a:pt x="17" y="21"/>
                    <a:pt x="16" y="20"/>
                    <a:pt x="16" y="20"/>
                  </a:cubicBezTo>
                  <a:cubicBezTo>
                    <a:pt x="16" y="19"/>
                    <a:pt x="22" y="23"/>
                    <a:pt x="23" y="23"/>
                  </a:cubicBezTo>
                  <a:cubicBezTo>
                    <a:pt x="23" y="22"/>
                    <a:pt x="19" y="19"/>
                    <a:pt x="19" y="18"/>
                  </a:cubicBezTo>
                  <a:cubicBezTo>
                    <a:pt x="20" y="18"/>
                    <a:pt x="24" y="19"/>
                    <a:pt x="24" y="19"/>
                  </a:cubicBezTo>
                  <a:cubicBezTo>
                    <a:pt x="26" y="19"/>
                    <a:pt x="28" y="19"/>
                    <a:pt x="30" y="18"/>
                  </a:cubicBezTo>
                  <a:cubicBezTo>
                    <a:pt x="27" y="16"/>
                    <a:pt x="23" y="17"/>
                    <a:pt x="19" y="1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3" name="Freeform 618">
              <a:extLst>
                <a:ext uri="{FF2B5EF4-FFF2-40B4-BE49-F238E27FC236}">
                  <a16:creationId xmlns:a16="http://schemas.microsoft.com/office/drawing/2014/main" id="{B1AFE91E-35BF-5CF1-158F-6EF74FC382C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7342" y="4000900"/>
              <a:ext cx="398782" cy="306562"/>
            </a:xfrm>
            <a:custGeom>
              <a:avLst/>
              <a:gdLst>
                <a:gd name="T0" fmla="*/ 63 w 76"/>
                <a:gd name="T1" fmla="*/ 28 h 55"/>
                <a:gd name="T2" fmla="*/ 66 w 76"/>
                <a:gd name="T3" fmla="*/ 24 h 55"/>
                <a:gd name="T4" fmla="*/ 67 w 76"/>
                <a:gd name="T5" fmla="*/ 22 h 55"/>
                <a:gd name="T6" fmla="*/ 67 w 76"/>
                <a:gd name="T7" fmla="*/ 18 h 55"/>
                <a:gd name="T8" fmla="*/ 61 w 76"/>
                <a:gd name="T9" fmla="*/ 15 h 55"/>
                <a:gd name="T10" fmla="*/ 63 w 76"/>
                <a:gd name="T11" fmla="*/ 14 h 55"/>
                <a:gd name="T12" fmla="*/ 64 w 76"/>
                <a:gd name="T13" fmla="*/ 11 h 55"/>
                <a:gd name="T14" fmla="*/ 60 w 76"/>
                <a:gd name="T15" fmla="*/ 9 h 55"/>
                <a:gd name="T16" fmla="*/ 59 w 76"/>
                <a:gd name="T17" fmla="*/ 8 h 55"/>
                <a:gd name="T18" fmla="*/ 57 w 76"/>
                <a:gd name="T19" fmla="*/ 9 h 55"/>
                <a:gd name="T20" fmla="*/ 57 w 76"/>
                <a:gd name="T21" fmla="*/ 7 h 55"/>
                <a:gd name="T22" fmla="*/ 54 w 76"/>
                <a:gd name="T23" fmla="*/ 8 h 55"/>
                <a:gd name="T24" fmla="*/ 54 w 76"/>
                <a:gd name="T25" fmla="*/ 6 h 55"/>
                <a:gd name="T26" fmla="*/ 58 w 76"/>
                <a:gd name="T27" fmla="*/ 5 h 55"/>
                <a:gd name="T28" fmla="*/ 55 w 76"/>
                <a:gd name="T29" fmla="*/ 4 h 55"/>
                <a:gd name="T30" fmla="*/ 49 w 76"/>
                <a:gd name="T31" fmla="*/ 4 h 55"/>
                <a:gd name="T32" fmla="*/ 44 w 76"/>
                <a:gd name="T33" fmla="*/ 7 h 55"/>
                <a:gd name="T34" fmla="*/ 38 w 76"/>
                <a:gd name="T35" fmla="*/ 5 h 55"/>
                <a:gd name="T36" fmla="*/ 29 w 76"/>
                <a:gd name="T37" fmla="*/ 5 h 55"/>
                <a:gd name="T38" fmla="*/ 26 w 76"/>
                <a:gd name="T39" fmla="*/ 2 h 55"/>
                <a:gd name="T40" fmla="*/ 20 w 76"/>
                <a:gd name="T41" fmla="*/ 0 h 55"/>
                <a:gd name="T42" fmla="*/ 11 w 76"/>
                <a:gd name="T43" fmla="*/ 4 h 55"/>
                <a:gd name="T44" fmla="*/ 13 w 76"/>
                <a:gd name="T45" fmla="*/ 12 h 55"/>
                <a:gd name="T46" fmla="*/ 8 w 76"/>
                <a:gd name="T47" fmla="*/ 8 h 55"/>
                <a:gd name="T48" fmla="*/ 10 w 76"/>
                <a:gd name="T49" fmla="*/ 5 h 55"/>
                <a:gd name="T50" fmla="*/ 8 w 76"/>
                <a:gd name="T51" fmla="*/ 1 h 55"/>
                <a:gd name="T52" fmla="*/ 4 w 76"/>
                <a:gd name="T53" fmla="*/ 7 h 55"/>
                <a:gd name="T54" fmla="*/ 3 w 76"/>
                <a:gd name="T55" fmla="*/ 12 h 55"/>
                <a:gd name="T56" fmla="*/ 5 w 76"/>
                <a:gd name="T57" fmla="*/ 13 h 55"/>
                <a:gd name="T58" fmla="*/ 7 w 76"/>
                <a:gd name="T59" fmla="*/ 16 h 55"/>
                <a:gd name="T60" fmla="*/ 10 w 76"/>
                <a:gd name="T61" fmla="*/ 23 h 55"/>
                <a:gd name="T62" fmla="*/ 13 w 76"/>
                <a:gd name="T63" fmla="*/ 23 h 55"/>
                <a:gd name="T64" fmla="*/ 15 w 76"/>
                <a:gd name="T65" fmla="*/ 22 h 55"/>
                <a:gd name="T66" fmla="*/ 21 w 76"/>
                <a:gd name="T67" fmla="*/ 27 h 55"/>
                <a:gd name="T68" fmla="*/ 23 w 76"/>
                <a:gd name="T69" fmla="*/ 27 h 55"/>
                <a:gd name="T70" fmla="*/ 26 w 76"/>
                <a:gd name="T71" fmla="*/ 27 h 55"/>
                <a:gd name="T72" fmla="*/ 31 w 76"/>
                <a:gd name="T73" fmla="*/ 29 h 55"/>
                <a:gd name="T74" fmla="*/ 31 w 76"/>
                <a:gd name="T75" fmla="*/ 38 h 55"/>
                <a:gd name="T76" fmla="*/ 32 w 76"/>
                <a:gd name="T77" fmla="*/ 41 h 55"/>
                <a:gd name="T78" fmla="*/ 30 w 76"/>
                <a:gd name="T79" fmla="*/ 44 h 55"/>
                <a:gd name="T80" fmla="*/ 40 w 76"/>
                <a:gd name="T81" fmla="*/ 53 h 55"/>
                <a:gd name="T82" fmla="*/ 42 w 76"/>
                <a:gd name="T83" fmla="*/ 54 h 55"/>
                <a:gd name="T84" fmla="*/ 45 w 76"/>
                <a:gd name="T85" fmla="*/ 52 h 55"/>
                <a:gd name="T86" fmla="*/ 51 w 76"/>
                <a:gd name="T87" fmla="*/ 47 h 55"/>
                <a:gd name="T88" fmla="*/ 49 w 76"/>
                <a:gd name="T89" fmla="*/ 44 h 55"/>
                <a:gd name="T90" fmla="*/ 48 w 76"/>
                <a:gd name="T91" fmla="*/ 41 h 55"/>
                <a:gd name="T92" fmla="*/ 45 w 76"/>
                <a:gd name="T93" fmla="*/ 38 h 55"/>
                <a:gd name="T94" fmla="*/ 52 w 76"/>
                <a:gd name="T95" fmla="*/ 38 h 55"/>
                <a:gd name="T96" fmla="*/ 54 w 76"/>
                <a:gd name="T97" fmla="*/ 40 h 55"/>
                <a:gd name="T98" fmla="*/ 56 w 76"/>
                <a:gd name="T99" fmla="*/ 38 h 55"/>
                <a:gd name="T100" fmla="*/ 62 w 76"/>
                <a:gd name="T101" fmla="*/ 36 h 55"/>
                <a:gd name="T102" fmla="*/ 67 w 76"/>
                <a:gd name="T103" fmla="*/ 33 h 55"/>
                <a:gd name="T104" fmla="*/ 63 w 76"/>
                <a:gd name="T105" fmla="*/ 28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76" h="55">
                  <a:moveTo>
                    <a:pt x="63" y="28"/>
                  </a:moveTo>
                  <a:cubicBezTo>
                    <a:pt x="63" y="26"/>
                    <a:pt x="63" y="25"/>
                    <a:pt x="66" y="24"/>
                  </a:cubicBezTo>
                  <a:cubicBezTo>
                    <a:pt x="66" y="23"/>
                    <a:pt x="68" y="23"/>
                    <a:pt x="67" y="22"/>
                  </a:cubicBezTo>
                  <a:cubicBezTo>
                    <a:pt x="66" y="21"/>
                    <a:pt x="65" y="19"/>
                    <a:pt x="67" y="18"/>
                  </a:cubicBezTo>
                  <a:cubicBezTo>
                    <a:pt x="76" y="14"/>
                    <a:pt x="61" y="15"/>
                    <a:pt x="61" y="15"/>
                  </a:cubicBezTo>
                  <a:cubicBezTo>
                    <a:pt x="61" y="14"/>
                    <a:pt x="62" y="14"/>
                    <a:pt x="63" y="14"/>
                  </a:cubicBezTo>
                  <a:cubicBezTo>
                    <a:pt x="64" y="14"/>
                    <a:pt x="64" y="12"/>
                    <a:pt x="64" y="11"/>
                  </a:cubicBezTo>
                  <a:cubicBezTo>
                    <a:pt x="64" y="10"/>
                    <a:pt x="60" y="8"/>
                    <a:pt x="60" y="9"/>
                  </a:cubicBezTo>
                  <a:cubicBezTo>
                    <a:pt x="60" y="10"/>
                    <a:pt x="59" y="8"/>
                    <a:pt x="59" y="8"/>
                  </a:cubicBezTo>
                  <a:cubicBezTo>
                    <a:pt x="58" y="8"/>
                    <a:pt x="58" y="10"/>
                    <a:pt x="57" y="9"/>
                  </a:cubicBezTo>
                  <a:cubicBezTo>
                    <a:pt x="57" y="9"/>
                    <a:pt x="57" y="8"/>
                    <a:pt x="57" y="7"/>
                  </a:cubicBezTo>
                  <a:cubicBezTo>
                    <a:pt x="56" y="6"/>
                    <a:pt x="55" y="8"/>
                    <a:pt x="54" y="8"/>
                  </a:cubicBezTo>
                  <a:cubicBezTo>
                    <a:pt x="54" y="8"/>
                    <a:pt x="54" y="6"/>
                    <a:pt x="54" y="6"/>
                  </a:cubicBezTo>
                  <a:cubicBezTo>
                    <a:pt x="54" y="4"/>
                    <a:pt x="57" y="5"/>
                    <a:pt x="58" y="5"/>
                  </a:cubicBezTo>
                  <a:cubicBezTo>
                    <a:pt x="59" y="4"/>
                    <a:pt x="55" y="4"/>
                    <a:pt x="55" y="4"/>
                  </a:cubicBezTo>
                  <a:cubicBezTo>
                    <a:pt x="53" y="4"/>
                    <a:pt x="51" y="3"/>
                    <a:pt x="49" y="4"/>
                  </a:cubicBezTo>
                  <a:cubicBezTo>
                    <a:pt x="47" y="5"/>
                    <a:pt x="46" y="8"/>
                    <a:pt x="44" y="7"/>
                  </a:cubicBezTo>
                  <a:cubicBezTo>
                    <a:pt x="41" y="7"/>
                    <a:pt x="40" y="7"/>
                    <a:pt x="38" y="5"/>
                  </a:cubicBezTo>
                  <a:cubicBezTo>
                    <a:pt x="36" y="3"/>
                    <a:pt x="32" y="5"/>
                    <a:pt x="29" y="5"/>
                  </a:cubicBezTo>
                  <a:cubicBezTo>
                    <a:pt x="27" y="5"/>
                    <a:pt x="27" y="4"/>
                    <a:pt x="26" y="2"/>
                  </a:cubicBezTo>
                  <a:cubicBezTo>
                    <a:pt x="25" y="0"/>
                    <a:pt x="23" y="0"/>
                    <a:pt x="20" y="0"/>
                  </a:cubicBezTo>
                  <a:cubicBezTo>
                    <a:pt x="19" y="0"/>
                    <a:pt x="11" y="1"/>
                    <a:pt x="11" y="4"/>
                  </a:cubicBezTo>
                  <a:cubicBezTo>
                    <a:pt x="11" y="7"/>
                    <a:pt x="15" y="8"/>
                    <a:pt x="13" y="12"/>
                  </a:cubicBezTo>
                  <a:cubicBezTo>
                    <a:pt x="11" y="14"/>
                    <a:pt x="7" y="10"/>
                    <a:pt x="8" y="8"/>
                  </a:cubicBezTo>
                  <a:cubicBezTo>
                    <a:pt x="8" y="7"/>
                    <a:pt x="10" y="6"/>
                    <a:pt x="10" y="5"/>
                  </a:cubicBezTo>
                  <a:cubicBezTo>
                    <a:pt x="11" y="3"/>
                    <a:pt x="8" y="2"/>
                    <a:pt x="8" y="1"/>
                  </a:cubicBezTo>
                  <a:cubicBezTo>
                    <a:pt x="5" y="3"/>
                    <a:pt x="4" y="4"/>
                    <a:pt x="4" y="7"/>
                  </a:cubicBezTo>
                  <a:cubicBezTo>
                    <a:pt x="3" y="8"/>
                    <a:pt x="0" y="12"/>
                    <a:pt x="3" y="12"/>
                  </a:cubicBezTo>
                  <a:cubicBezTo>
                    <a:pt x="3" y="12"/>
                    <a:pt x="4" y="12"/>
                    <a:pt x="5" y="13"/>
                  </a:cubicBezTo>
                  <a:cubicBezTo>
                    <a:pt x="5" y="14"/>
                    <a:pt x="6" y="15"/>
                    <a:pt x="7" y="16"/>
                  </a:cubicBezTo>
                  <a:cubicBezTo>
                    <a:pt x="9" y="18"/>
                    <a:pt x="5" y="22"/>
                    <a:pt x="10" y="23"/>
                  </a:cubicBezTo>
                  <a:cubicBezTo>
                    <a:pt x="10" y="23"/>
                    <a:pt x="12" y="23"/>
                    <a:pt x="13" y="23"/>
                  </a:cubicBezTo>
                  <a:cubicBezTo>
                    <a:pt x="14" y="23"/>
                    <a:pt x="14" y="22"/>
                    <a:pt x="15" y="22"/>
                  </a:cubicBezTo>
                  <a:cubicBezTo>
                    <a:pt x="18" y="22"/>
                    <a:pt x="19" y="25"/>
                    <a:pt x="21" y="27"/>
                  </a:cubicBezTo>
                  <a:cubicBezTo>
                    <a:pt x="21" y="27"/>
                    <a:pt x="22" y="28"/>
                    <a:pt x="23" y="27"/>
                  </a:cubicBezTo>
                  <a:cubicBezTo>
                    <a:pt x="23" y="26"/>
                    <a:pt x="24" y="27"/>
                    <a:pt x="26" y="27"/>
                  </a:cubicBezTo>
                  <a:cubicBezTo>
                    <a:pt x="28" y="28"/>
                    <a:pt x="33" y="25"/>
                    <a:pt x="31" y="29"/>
                  </a:cubicBezTo>
                  <a:cubicBezTo>
                    <a:pt x="29" y="32"/>
                    <a:pt x="29" y="35"/>
                    <a:pt x="31" y="38"/>
                  </a:cubicBezTo>
                  <a:cubicBezTo>
                    <a:pt x="31" y="39"/>
                    <a:pt x="32" y="40"/>
                    <a:pt x="32" y="41"/>
                  </a:cubicBezTo>
                  <a:cubicBezTo>
                    <a:pt x="32" y="42"/>
                    <a:pt x="29" y="43"/>
                    <a:pt x="30" y="44"/>
                  </a:cubicBezTo>
                  <a:cubicBezTo>
                    <a:pt x="33" y="47"/>
                    <a:pt x="34" y="55"/>
                    <a:pt x="40" y="53"/>
                  </a:cubicBezTo>
                  <a:cubicBezTo>
                    <a:pt x="41" y="53"/>
                    <a:pt x="41" y="54"/>
                    <a:pt x="42" y="54"/>
                  </a:cubicBezTo>
                  <a:cubicBezTo>
                    <a:pt x="43" y="54"/>
                    <a:pt x="44" y="53"/>
                    <a:pt x="45" y="52"/>
                  </a:cubicBezTo>
                  <a:cubicBezTo>
                    <a:pt x="47" y="51"/>
                    <a:pt x="48" y="49"/>
                    <a:pt x="51" y="47"/>
                  </a:cubicBezTo>
                  <a:cubicBezTo>
                    <a:pt x="53" y="46"/>
                    <a:pt x="49" y="46"/>
                    <a:pt x="49" y="44"/>
                  </a:cubicBezTo>
                  <a:cubicBezTo>
                    <a:pt x="49" y="43"/>
                    <a:pt x="48" y="42"/>
                    <a:pt x="48" y="41"/>
                  </a:cubicBezTo>
                  <a:cubicBezTo>
                    <a:pt x="48" y="40"/>
                    <a:pt x="45" y="39"/>
                    <a:pt x="45" y="38"/>
                  </a:cubicBezTo>
                  <a:cubicBezTo>
                    <a:pt x="45" y="37"/>
                    <a:pt x="51" y="38"/>
                    <a:pt x="52" y="38"/>
                  </a:cubicBezTo>
                  <a:cubicBezTo>
                    <a:pt x="54" y="38"/>
                    <a:pt x="53" y="39"/>
                    <a:pt x="54" y="40"/>
                  </a:cubicBezTo>
                  <a:cubicBezTo>
                    <a:pt x="55" y="40"/>
                    <a:pt x="55" y="38"/>
                    <a:pt x="56" y="38"/>
                  </a:cubicBezTo>
                  <a:cubicBezTo>
                    <a:pt x="57" y="37"/>
                    <a:pt x="60" y="37"/>
                    <a:pt x="62" y="36"/>
                  </a:cubicBezTo>
                  <a:cubicBezTo>
                    <a:pt x="63" y="35"/>
                    <a:pt x="65" y="34"/>
                    <a:pt x="67" y="33"/>
                  </a:cubicBezTo>
                  <a:cubicBezTo>
                    <a:pt x="66" y="31"/>
                    <a:pt x="63" y="30"/>
                    <a:pt x="63" y="2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4" name="Freeform 619">
              <a:extLst>
                <a:ext uri="{FF2B5EF4-FFF2-40B4-BE49-F238E27FC236}">
                  <a16:creationId xmlns:a16="http://schemas.microsoft.com/office/drawing/2014/main" id="{C823B03D-DB40-BDDD-F080-63750800296B}"/>
                </a:ext>
              </a:extLst>
            </p:cNvPr>
            <p:cNvSpPr>
              <a:spLocks/>
            </p:cNvSpPr>
            <p:nvPr/>
          </p:nvSpPr>
          <p:spPr bwMode="auto">
            <a:xfrm>
              <a:off x="4217440" y="4084164"/>
              <a:ext cx="135906" cy="211945"/>
            </a:xfrm>
            <a:custGeom>
              <a:avLst/>
              <a:gdLst>
                <a:gd name="T0" fmla="*/ 22 w 26"/>
                <a:gd name="T1" fmla="*/ 29 h 38"/>
                <a:gd name="T2" fmla="*/ 18 w 26"/>
                <a:gd name="T3" fmla="*/ 21 h 38"/>
                <a:gd name="T4" fmla="*/ 20 w 26"/>
                <a:gd name="T5" fmla="*/ 18 h 38"/>
                <a:gd name="T6" fmla="*/ 22 w 26"/>
                <a:gd name="T7" fmla="*/ 15 h 38"/>
                <a:gd name="T8" fmla="*/ 22 w 26"/>
                <a:gd name="T9" fmla="*/ 13 h 38"/>
                <a:gd name="T10" fmla="*/ 20 w 26"/>
                <a:gd name="T11" fmla="*/ 11 h 38"/>
                <a:gd name="T12" fmla="*/ 16 w 26"/>
                <a:gd name="T13" fmla="*/ 7 h 38"/>
                <a:gd name="T14" fmla="*/ 9 w 26"/>
                <a:gd name="T15" fmla="*/ 0 h 38"/>
                <a:gd name="T16" fmla="*/ 5 w 26"/>
                <a:gd name="T17" fmla="*/ 5 h 38"/>
                <a:gd name="T18" fmla="*/ 6 w 26"/>
                <a:gd name="T19" fmla="*/ 8 h 38"/>
                <a:gd name="T20" fmla="*/ 3 w 26"/>
                <a:gd name="T21" fmla="*/ 10 h 38"/>
                <a:gd name="T22" fmla="*/ 4 w 26"/>
                <a:gd name="T23" fmla="*/ 16 h 38"/>
                <a:gd name="T24" fmla="*/ 7 w 26"/>
                <a:gd name="T25" fmla="*/ 18 h 38"/>
                <a:gd name="T26" fmla="*/ 8 w 26"/>
                <a:gd name="T27" fmla="*/ 20 h 38"/>
                <a:gd name="T28" fmla="*/ 8 w 26"/>
                <a:gd name="T29" fmla="*/ 27 h 38"/>
                <a:gd name="T30" fmla="*/ 11 w 26"/>
                <a:gd name="T31" fmla="*/ 35 h 38"/>
                <a:gd name="T32" fmla="*/ 17 w 26"/>
                <a:gd name="T33" fmla="*/ 35 h 38"/>
                <a:gd name="T34" fmla="*/ 21 w 26"/>
                <a:gd name="T35" fmla="*/ 34 h 38"/>
                <a:gd name="T36" fmla="*/ 26 w 26"/>
                <a:gd name="T37" fmla="*/ 34 h 38"/>
                <a:gd name="T38" fmla="*/ 22 w 26"/>
                <a:gd name="T39" fmla="*/ 29 h 38"/>
                <a:gd name="T40" fmla="*/ 22 w 26"/>
                <a:gd name="T41" fmla="*/ 2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6" h="38">
                  <a:moveTo>
                    <a:pt x="22" y="29"/>
                  </a:moveTo>
                  <a:cubicBezTo>
                    <a:pt x="22" y="28"/>
                    <a:pt x="17" y="22"/>
                    <a:pt x="18" y="21"/>
                  </a:cubicBezTo>
                  <a:cubicBezTo>
                    <a:pt x="19" y="20"/>
                    <a:pt x="18" y="19"/>
                    <a:pt x="20" y="18"/>
                  </a:cubicBezTo>
                  <a:cubicBezTo>
                    <a:pt x="23" y="18"/>
                    <a:pt x="22" y="16"/>
                    <a:pt x="22" y="15"/>
                  </a:cubicBezTo>
                  <a:cubicBezTo>
                    <a:pt x="22" y="14"/>
                    <a:pt x="22" y="13"/>
                    <a:pt x="22" y="13"/>
                  </a:cubicBezTo>
                  <a:cubicBezTo>
                    <a:pt x="22" y="12"/>
                    <a:pt x="21" y="12"/>
                    <a:pt x="20" y="11"/>
                  </a:cubicBezTo>
                  <a:cubicBezTo>
                    <a:pt x="19" y="9"/>
                    <a:pt x="16" y="9"/>
                    <a:pt x="16" y="7"/>
                  </a:cubicBezTo>
                  <a:cubicBezTo>
                    <a:pt x="15" y="4"/>
                    <a:pt x="11" y="1"/>
                    <a:pt x="9" y="0"/>
                  </a:cubicBezTo>
                  <a:cubicBezTo>
                    <a:pt x="9" y="3"/>
                    <a:pt x="4" y="3"/>
                    <a:pt x="5" y="5"/>
                  </a:cubicBezTo>
                  <a:cubicBezTo>
                    <a:pt x="5" y="6"/>
                    <a:pt x="7" y="7"/>
                    <a:pt x="6" y="8"/>
                  </a:cubicBezTo>
                  <a:cubicBezTo>
                    <a:pt x="5" y="8"/>
                    <a:pt x="3" y="9"/>
                    <a:pt x="3" y="10"/>
                  </a:cubicBezTo>
                  <a:cubicBezTo>
                    <a:pt x="0" y="11"/>
                    <a:pt x="2" y="14"/>
                    <a:pt x="4" y="16"/>
                  </a:cubicBezTo>
                  <a:cubicBezTo>
                    <a:pt x="5" y="17"/>
                    <a:pt x="5" y="18"/>
                    <a:pt x="7" y="18"/>
                  </a:cubicBezTo>
                  <a:cubicBezTo>
                    <a:pt x="8" y="18"/>
                    <a:pt x="7" y="19"/>
                    <a:pt x="8" y="20"/>
                  </a:cubicBezTo>
                  <a:cubicBezTo>
                    <a:pt x="10" y="23"/>
                    <a:pt x="9" y="24"/>
                    <a:pt x="8" y="27"/>
                  </a:cubicBezTo>
                  <a:cubicBezTo>
                    <a:pt x="8" y="30"/>
                    <a:pt x="10" y="33"/>
                    <a:pt x="11" y="35"/>
                  </a:cubicBezTo>
                  <a:cubicBezTo>
                    <a:pt x="14" y="38"/>
                    <a:pt x="15" y="35"/>
                    <a:pt x="17" y="35"/>
                  </a:cubicBezTo>
                  <a:cubicBezTo>
                    <a:pt x="19" y="35"/>
                    <a:pt x="20" y="34"/>
                    <a:pt x="21" y="34"/>
                  </a:cubicBezTo>
                  <a:cubicBezTo>
                    <a:pt x="23" y="33"/>
                    <a:pt x="24" y="33"/>
                    <a:pt x="26" y="34"/>
                  </a:cubicBezTo>
                  <a:cubicBezTo>
                    <a:pt x="25" y="32"/>
                    <a:pt x="24" y="30"/>
                    <a:pt x="22" y="29"/>
                  </a:cubicBezTo>
                  <a:cubicBezTo>
                    <a:pt x="21" y="27"/>
                    <a:pt x="23" y="29"/>
                    <a:pt x="22" y="2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5" name="Freeform 620">
              <a:extLst>
                <a:ext uri="{FF2B5EF4-FFF2-40B4-BE49-F238E27FC236}">
                  <a16:creationId xmlns:a16="http://schemas.microsoft.com/office/drawing/2014/main" id="{88E93C90-3611-422E-8E73-41A3B13499B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5064" y="4150397"/>
              <a:ext cx="116236" cy="128679"/>
            </a:xfrm>
            <a:custGeom>
              <a:avLst/>
              <a:gdLst>
                <a:gd name="T0" fmla="*/ 19 w 22"/>
                <a:gd name="T1" fmla="*/ 7 h 23"/>
                <a:gd name="T2" fmla="*/ 22 w 22"/>
                <a:gd name="T3" fmla="*/ 2 h 23"/>
                <a:gd name="T4" fmla="*/ 12 w 22"/>
                <a:gd name="T5" fmla="*/ 2 h 23"/>
                <a:gd name="T6" fmla="*/ 9 w 22"/>
                <a:gd name="T7" fmla="*/ 0 h 23"/>
                <a:gd name="T8" fmla="*/ 5 w 22"/>
                <a:gd name="T9" fmla="*/ 1 h 23"/>
                <a:gd name="T10" fmla="*/ 4 w 22"/>
                <a:gd name="T11" fmla="*/ 6 h 23"/>
                <a:gd name="T12" fmla="*/ 1 w 22"/>
                <a:gd name="T13" fmla="*/ 10 h 23"/>
                <a:gd name="T14" fmla="*/ 4 w 22"/>
                <a:gd name="T15" fmla="*/ 15 h 23"/>
                <a:gd name="T16" fmla="*/ 9 w 22"/>
                <a:gd name="T17" fmla="*/ 22 h 23"/>
                <a:gd name="T18" fmla="*/ 12 w 22"/>
                <a:gd name="T19" fmla="*/ 19 h 23"/>
                <a:gd name="T20" fmla="*/ 16 w 22"/>
                <a:gd name="T21" fmla="*/ 18 h 23"/>
                <a:gd name="T22" fmla="*/ 19 w 22"/>
                <a:gd name="T23" fmla="*/ 19 h 23"/>
                <a:gd name="T24" fmla="*/ 20 w 22"/>
                <a:gd name="T25" fmla="*/ 14 h 23"/>
                <a:gd name="T26" fmla="*/ 19 w 22"/>
                <a:gd name="T27" fmla="*/ 7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" h="23">
                  <a:moveTo>
                    <a:pt x="19" y="7"/>
                  </a:moveTo>
                  <a:cubicBezTo>
                    <a:pt x="19" y="5"/>
                    <a:pt x="21" y="3"/>
                    <a:pt x="22" y="2"/>
                  </a:cubicBezTo>
                  <a:cubicBezTo>
                    <a:pt x="19" y="1"/>
                    <a:pt x="14" y="0"/>
                    <a:pt x="12" y="2"/>
                  </a:cubicBezTo>
                  <a:cubicBezTo>
                    <a:pt x="10" y="3"/>
                    <a:pt x="9" y="1"/>
                    <a:pt x="9" y="0"/>
                  </a:cubicBezTo>
                  <a:cubicBezTo>
                    <a:pt x="8" y="0"/>
                    <a:pt x="7" y="2"/>
                    <a:pt x="5" y="1"/>
                  </a:cubicBezTo>
                  <a:cubicBezTo>
                    <a:pt x="5" y="2"/>
                    <a:pt x="7" y="6"/>
                    <a:pt x="4" y="6"/>
                  </a:cubicBezTo>
                  <a:cubicBezTo>
                    <a:pt x="2" y="7"/>
                    <a:pt x="0" y="8"/>
                    <a:pt x="1" y="10"/>
                  </a:cubicBezTo>
                  <a:cubicBezTo>
                    <a:pt x="2" y="12"/>
                    <a:pt x="3" y="13"/>
                    <a:pt x="4" y="15"/>
                  </a:cubicBezTo>
                  <a:cubicBezTo>
                    <a:pt x="5" y="17"/>
                    <a:pt x="7" y="19"/>
                    <a:pt x="9" y="22"/>
                  </a:cubicBezTo>
                  <a:cubicBezTo>
                    <a:pt x="12" y="23"/>
                    <a:pt x="10" y="19"/>
                    <a:pt x="12" y="19"/>
                  </a:cubicBezTo>
                  <a:cubicBezTo>
                    <a:pt x="14" y="19"/>
                    <a:pt x="15" y="19"/>
                    <a:pt x="16" y="18"/>
                  </a:cubicBezTo>
                  <a:cubicBezTo>
                    <a:pt x="17" y="18"/>
                    <a:pt x="17" y="20"/>
                    <a:pt x="19" y="19"/>
                  </a:cubicBezTo>
                  <a:cubicBezTo>
                    <a:pt x="20" y="17"/>
                    <a:pt x="21" y="16"/>
                    <a:pt x="20" y="14"/>
                  </a:cubicBezTo>
                  <a:cubicBezTo>
                    <a:pt x="20" y="12"/>
                    <a:pt x="19" y="9"/>
                    <a:pt x="19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6" name="Freeform 621">
              <a:extLst>
                <a:ext uri="{FF2B5EF4-FFF2-40B4-BE49-F238E27FC236}">
                  <a16:creationId xmlns:a16="http://schemas.microsoft.com/office/drawing/2014/main" id="{D345AB7F-AF4A-3F11-70BF-C4D97238F713}"/>
                </a:ext>
              </a:extLst>
            </p:cNvPr>
            <p:cNvSpPr>
              <a:spLocks/>
            </p:cNvSpPr>
            <p:nvPr/>
          </p:nvSpPr>
          <p:spPr bwMode="auto">
            <a:xfrm>
              <a:off x="4399842" y="4161753"/>
              <a:ext cx="84048" cy="100297"/>
            </a:xfrm>
            <a:custGeom>
              <a:avLst/>
              <a:gdLst>
                <a:gd name="T0" fmla="*/ 12 w 16"/>
                <a:gd name="T1" fmla="*/ 5 h 18"/>
                <a:gd name="T2" fmla="*/ 5 w 16"/>
                <a:gd name="T3" fmla="*/ 1 h 18"/>
                <a:gd name="T4" fmla="*/ 1 w 16"/>
                <a:gd name="T5" fmla="*/ 6 h 18"/>
                <a:gd name="T6" fmla="*/ 2 w 16"/>
                <a:gd name="T7" fmla="*/ 12 h 18"/>
                <a:gd name="T8" fmla="*/ 0 w 16"/>
                <a:gd name="T9" fmla="*/ 17 h 18"/>
                <a:gd name="T10" fmla="*/ 4 w 16"/>
                <a:gd name="T11" fmla="*/ 17 h 18"/>
                <a:gd name="T12" fmla="*/ 9 w 16"/>
                <a:gd name="T13" fmla="*/ 17 h 18"/>
                <a:gd name="T14" fmla="*/ 16 w 16"/>
                <a:gd name="T15" fmla="*/ 8 h 18"/>
                <a:gd name="T16" fmla="*/ 12 w 16"/>
                <a:gd name="T17" fmla="*/ 5 h 18"/>
                <a:gd name="T18" fmla="*/ 12 w 16"/>
                <a:gd name="T19" fmla="*/ 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8">
                  <a:moveTo>
                    <a:pt x="12" y="5"/>
                  </a:moveTo>
                  <a:cubicBezTo>
                    <a:pt x="10" y="3"/>
                    <a:pt x="8" y="1"/>
                    <a:pt x="5" y="1"/>
                  </a:cubicBezTo>
                  <a:cubicBezTo>
                    <a:pt x="3" y="0"/>
                    <a:pt x="0" y="4"/>
                    <a:pt x="1" y="6"/>
                  </a:cubicBezTo>
                  <a:cubicBezTo>
                    <a:pt x="1" y="8"/>
                    <a:pt x="2" y="10"/>
                    <a:pt x="2" y="12"/>
                  </a:cubicBezTo>
                  <a:cubicBezTo>
                    <a:pt x="3" y="14"/>
                    <a:pt x="1" y="16"/>
                    <a:pt x="0" y="17"/>
                  </a:cubicBezTo>
                  <a:cubicBezTo>
                    <a:pt x="1" y="18"/>
                    <a:pt x="3" y="17"/>
                    <a:pt x="4" y="17"/>
                  </a:cubicBezTo>
                  <a:cubicBezTo>
                    <a:pt x="6" y="17"/>
                    <a:pt x="7" y="18"/>
                    <a:pt x="9" y="17"/>
                  </a:cubicBezTo>
                  <a:cubicBezTo>
                    <a:pt x="12" y="16"/>
                    <a:pt x="13" y="10"/>
                    <a:pt x="16" y="8"/>
                  </a:cubicBezTo>
                  <a:cubicBezTo>
                    <a:pt x="14" y="7"/>
                    <a:pt x="13" y="6"/>
                    <a:pt x="12" y="5"/>
                  </a:cubicBezTo>
                  <a:cubicBezTo>
                    <a:pt x="10" y="4"/>
                    <a:pt x="13" y="6"/>
                    <a:pt x="12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7" name="Freeform 622">
              <a:extLst>
                <a:ext uri="{FF2B5EF4-FFF2-40B4-BE49-F238E27FC236}">
                  <a16:creationId xmlns:a16="http://schemas.microsoft.com/office/drawing/2014/main" id="{F4CD2C74-8BC4-C1E7-A696-2752E038B33D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0564" y="3972515"/>
              <a:ext cx="423817" cy="467415"/>
            </a:xfrm>
            <a:custGeom>
              <a:avLst/>
              <a:gdLst>
                <a:gd name="T0" fmla="*/ 76 w 81"/>
                <a:gd name="T1" fmla="*/ 39 h 84"/>
                <a:gd name="T2" fmla="*/ 74 w 81"/>
                <a:gd name="T3" fmla="*/ 32 h 84"/>
                <a:gd name="T4" fmla="*/ 69 w 81"/>
                <a:gd name="T5" fmla="*/ 33 h 84"/>
                <a:gd name="T6" fmla="*/ 58 w 81"/>
                <a:gd name="T7" fmla="*/ 28 h 84"/>
                <a:gd name="T8" fmla="*/ 53 w 81"/>
                <a:gd name="T9" fmla="*/ 20 h 84"/>
                <a:gd name="T10" fmla="*/ 50 w 81"/>
                <a:gd name="T11" fmla="*/ 15 h 84"/>
                <a:gd name="T12" fmla="*/ 56 w 81"/>
                <a:gd name="T13" fmla="*/ 5 h 84"/>
                <a:gd name="T14" fmla="*/ 56 w 81"/>
                <a:gd name="T15" fmla="*/ 1 h 84"/>
                <a:gd name="T16" fmla="*/ 44 w 81"/>
                <a:gd name="T17" fmla="*/ 8 h 84"/>
                <a:gd name="T18" fmla="*/ 36 w 81"/>
                <a:gd name="T19" fmla="*/ 16 h 84"/>
                <a:gd name="T20" fmla="*/ 31 w 81"/>
                <a:gd name="T21" fmla="*/ 23 h 84"/>
                <a:gd name="T22" fmla="*/ 25 w 81"/>
                <a:gd name="T23" fmla="*/ 17 h 84"/>
                <a:gd name="T24" fmla="*/ 7 w 81"/>
                <a:gd name="T25" fmla="*/ 18 h 84"/>
                <a:gd name="T26" fmla="*/ 1 w 81"/>
                <a:gd name="T27" fmla="*/ 16 h 84"/>
                <a:gd name="T28" fmla="*/ 1 w 81"/>
                <a:gd name="T29" fmla="*/ 21 h 84"/>
                <a:gd name="T30" fmla="*/ 8 w 81"/>
                <a:gd name="T31" fmla="*/ 24 h 84"/>
                <a:gd name="T32" fmla="*/ 11 w 81"/>
                <a:gd name="T33" fmla="*/ 26 h 84"/>
                <a:gd name="T34" fmla="*/ 13 w 81"/>
                <a:gd name="T35" fmla="*/ 23 h 84"/>
                <a:gd name="T36" fmla="*/ 20 w 81"/>
                <a:gd name="T37" fmla="*/ 18 h 84"/>
                <a:gd name="T38" fmla="*/ 24 w 81"/>
                <a:gd name="T39" fmla="*/ 20 h 84"/>
                <a:gd name="T40" fmla="*/ 25 w 81"/>
                <a:gd name="T41" fmla="*/ 26 h 84"/>
                <a:gd name="T42" fmla="*/ 28 w 81"/>
                <a:gd name="T43" fmla="*/ 42 h 84"/>
                <a:gd name="T44" fmla="*/ 28 w 81"/>
                <a:gd name="T45" fmla="*/ 47 h 84"/>
                <a:gd name="T46" fmla="*/ 22 w 81"/>
                <a:gd name="T47" fmla="*/ 53 h 84"/>
                <a:gd name="T48" fmla="*/ 26 w 81"/>
                <a:gd name="T49" fmla="*/ 58 h 84"/>
                <a:gd name="T50" fmla="*/ 34 w 81"/>
                <a:gd name="T51" fmla="*/ 61 h 84"/>
                <a:gd name="T52" fmla="*/ 41 w 81"/>
                <a:gd name="T53" fmla="*/ 64 h 84"/>
                <a:gd name="T54" fmla="*/ 54 w 81"/>
                <a:gd name="T55" fmla="*/ 76 h 84"/>
                <a:gd name="T56" fmla="*/ 60 w 81"/>
                <a:gd name="T57" fmla="*/ 75 h 84"/>
                <a:gd name="T58" fmla="*/ 64 w 81"/>
                <a:gd name="T59" fmla="*/ 80 h 84"/>
                <a:gd name="T60" fmla="*/ 65 w 81"/>
                <a:gd name="T61" fmla="*/ 84 h 84"/>
                <a:gd name="T62" fmla="*/ 65 w 81"/>
                <a:gd name="T63" fmla="*/ 63 h 84"/>
                <a:gd name="T64" fmla="*/ 70 w 81"/>
                <a:gd name="T65" fmla="*/ 58 h 84"/>
                <a:gd name="T66" fmla="*/ 66 w 81"/>
                <a:gd name="T67" fmla="*/ 55 h 84"/>
                <a:gd name="T68" fmla="*/ 79 w 81"/>
                <a:gd name="T69" fmla="*/ 53 h 84"/>
                <a:gd name="T70" fmla="*/ 77 w 81"/>
                <a:gd name="T71" fmla="*/ 48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81" h="84">
                  <a:moveTo>
                    <a:pt x="77" y="48"/>
                  </a:moveTo>
                  <a:cubicBezTo>
                    <a:pt x="81" y="45"/>
                    <a:pt x="76" y="42"/>
                    <a:pt x="76" y="39"/>
                  </a:cubicBezTo>
                  <a:cubicBezTo>
                    <a:pt x="76" y="37"/>
                    <a:pt x="78" y="35"/>
                    <a:pt x="78" y="33"/>
                  </a:cubicBezTo>
                  <a:cubicBezTo>
                    <a:pt x="79" y="30"/>
                    <a:pt x="75" y="32"/>
                    <a:pt x="74" y="32"/>
                  </a:cubicBezTo>
                  <a:cubicBezTo>
                    <a:pt x="73" y="32"/>
                    <a:pt x="72" y="32"/>
                    <a:pt x="71" y="32"/>
                  </a:cubicBezTo>
                  <a:cubicBezTo>
                    <a:pt x="70" y="32"/>
                    <a:pt x="70" y="33"/>
                    <a:pt x="69" y="33"/>
                  </a:cubicBezTo>
                  <a:cubicBezTo>
                    <a:pt x="68" y="33"/>
                    <a:pt x="67" y="30"/>
                    <a:pt x="66" y="30"/>
                  </a:cubicBezTo>
                  <a:cubicBezTo>
                    <a:pt x="64" y="26"/>
                    <a:pt x="62" y="28"/>
                    <a:pt x="58" y="28"/>
                  </a:cubicBezTo>
                  <a:cubicBezTo>
                    <a:pt x="56" y="28"/>
                    <a:pt x="55" y="28"/>
                    <a:pt x="54" y="26"/>
                  </a:cubicBezTo>
                  <a:cubicBezTo>
                    <a:pt x="53" y="24"/>
                    <a:pt x="56" y="22"/>
                    <a:pt x="53" y="20"/>
                  </a:cubicBezTo>
                  <a:cubicBezTo>
                    <a:pt x="52" y="19"/>
                    <a:pt x="52" y="17"/>
                    <a:pt x="50" y="17"/>
                  </a:cubicBezTo>
                  <a:cubicBezTo>
                    <a:pt x="48" y="17"/>
                    <a:pt x="49" y="17"/>
                    <a:pt x="50" y="15"/>
                  </a:cubicBezTo>
                  <a:cubicBezTo>
                    <a:pt x="51" y="13"/>
                    <a:pt x="50" y="11"/>
                    <a:pt x="51" y="9"/>
                  </a:cubicBezTo>
                  <a:cubicBezTo>
                    <a:pt x="52" y="7"/>
                    <a:pt x="54" y="6"/>
                    <a:pt x="56" y="5"/>
                  </a:cubicBezTo>
                  <a:cubicBezTo>
                    <a:pt x="57" y="4"/>
                    <a:pt x="59" y="4"/>
                    <a:pt x="60" y="2"/>
                  </a:cubicBezTo>
                  <a:cubicBezTo>
                    <a:pt x="60" y="0"/>
                    <a:pt x="56" y="0"/>
                    <a:pt x="56" y="1"/>
                  </a:cubicBezTo>
                  <a:cubicBezTo>
                    <a:pt x="54" y="3"/>
                    <a:pt x="51" y="6"/>
                    <a:pt x="48" y="6"/>
                  </a:cubicBezTo>
                  <a:cubicBezTo>
                    <a:pt x="45" y="6"/>
                    <a:pt x="45" y="6"/>
                    <a:pt x="44" y="8"/>
                  </a:cubicBezTo>
                  <a:cubicBezTo>
                    <a:pt x="43" y="10"/>
                    <a:pt x="43" y="7"/>
                    <a:pt x="41" y="7"/>
                  </a:cubicBezTo>
                  <a:cubicBezTo>
                    <a:pt x="37" y="8"/>
                    <a:pt x="39" y="14"/>
                    <a:pt x="36" y="16"/>
                  </a:cubicBezTo>
                  <a:cubicBezTo>
                    <a:pt x="35" y="17"/>
                    <a:pt x="33" y="18"/>
                    <a:pt x="32" y="20"/>
                  </a:cubicBezTo>
                  <a:cubicBezTo>
                    <a:pt x="32" y="20"/>
                    <a:pt x="32" y="23"/>
                    <a:pt x="31" y="23"/>
                  </a:cubicBezTo>
                  <a:cubicBezTo>
                    <a:pt x="30" y="21"/>
                    <a:pt x="29" y="20"/>
                    <a:pt x="28" y="19"/>
                  </a:cubicBezTo>
                  <a:cubicBezTo>
                    <a:pt x="27" y="17"/>
                    <a:pt x="26" y="17"/>
                    <a:pt x="25" y="17"/>
                  </a:cubicBezTo>
                  <a:cubicBezTo>
                    <a:pt x="21" y="16"/>
                    <a:pt x="19" y="13"/>
                    <a:pt x="15" y="16"/>
                  </a:cubicBezTo>
                  <a:cubicBezTo>
                    <a:pt x="13" y="17"/>
                    <a:pt x="9" y="20"/>
                    <a:pt x="7" y="18"/>
                  </a:cubicBezTo>
                  <a:cubicBezTo>
                    <a:pt x="6" y="17"/>
                    <a:pt x="5" y="17"/>
                    <a:pt x="4" y="16"/>
                  </a:cubicBezTo>
                  <a:cubicBezTo>
                    <a:pt x="2" y="16"/>
                    <a:pt x="3" y="14"/>
                    <a:pt x="1" y="16"/>
                  </a:cubicBezTo>
                  <a:cubicBezTo>
                    <a:pt x="0" y="17"/>
                    <a:pt x="1" y="17"/>
                    <a:pt x="2" y="18"/>
                  </a:cubicBezTo>
                  <a:cubicBezTo>
                    <a:pt x="2" y="19"/>
                    <a:pt x="1" y="20"/>
                    <a:pt x="1" y="21"/>
                  </a:cubicBezTo>
                  <a:cubicBezTo>
                    <a:pt x="3" y="21"/>
                    <a:pt x="5" y="22"/>
                    <a:pt x="6" y="22"/>
                  </a:cubicBezTo>
                  <a:cubicBezTo>
                    <a:pt x="7" y="23"/>
                    <a:pt x="8" y="23"/>
                    <a:pt x="8" y="24"/>
                  </a:cubicBezTo>
                  <a:cubicBezTo>
                    <a:pt x="9" y="25"/>
                    <a:pt x="9" y="24"/>
                    <a:pt x="10" y="24"/>
                  </a:cubicBezTo>
                  <a:cubicBezTo>
                    <a:pt x="10" y="23"/>
                    <a:pt x="10" y="26"/>
                    <a:pt x="11" y="26"/>
                  </a:cubicBezTo>
                  <a:cubicBezTo>
                    <a:pt x="12" y="27"/>
                    <a:pt x="13" y="26"/>
                    <a:pt x="15" y="25"/>
                  </a:cubicBezTo>
                  <a:cubicBezTo>
                    <a:pt x="16" y="25"/>
                    <a:pt x="13" y="23"/>
                    <a:pt x="13" y="23"/>
                  </a:cubicBezTo>
                  <a:cubicBezTo>
                    <a:pt x="13" y="22"/>
                    <a:pt x="16" y="20"/>
                    <a:pt x="16" y="19"/>
                  </a:cubicBezTo>
                  <a:cubicBezTo>
                    <a:pt x="17" y="18"/>
                    <a:pt x="19" y="17"/>
                    <a:pt x="20" y="18"/>
                  </a:cubicBezTo>
                  <a:cubicBezTo>
                    <a:pt x="21" y="18"/>
                    <a:pt x="23" y="19"/>
                    <a:pt x="23" y="19"/>
                  </a:cubicBezTo>
                  <a:cubicBezTo>
                    <a:pt x="23" y="20"/>
                    <a:pt x="23" y="20"/>
                    <a:pt x="24" y="20"/>
                  </a:cubicBezTo>
                  <a:cubicBezTo>
                    <a:pt x="24" y="21"/>
                    <a:pt x="23" y="22"/>
                    <a:pt x="23" y="22"/>
                  </a:cubicBezTo>
                  <a:cubicBezTo>
                    <a:pt x="23" y="23"/>
                    <a:pt x="25" y="25"/>
                    <a:pt x="25" y="26"/>
                  </a:cubicBezTo>
                  <a:cubicBezTo>
                    <a:pt x="27" y="29"/>
                    <a:pt x="29" y="29"/>
                    <a:pt x="29" y="33"/>
                  </a:cubicBezTo>
                  <a:cubicBezTo>
                    <a:pt x="29" y="36"/>
                    <a:pt x="29" y="39"/>
                    <a:pt x="28" y="42"/>
                  </a:cubicBezTo>
                  <a:cubicBezTo>
                    <a:pt x="28" y="43"/>
                    <a:pt x="30" y="43"/>
                    <a:pt x="30" y="44"/>
                  </a:cubicBezTo>
                  <a:cubicBezTo>
                    <a:pt x="29" y="45"/>
                    <a:pt x="28" y="46"/>
                    <a:pt x="28" y="47"/>
                  </a:cubicBezTo>
                  <a:cubicBezTo>
                    <a:pt x="27" y="48"/>
                    <a:pt x="27" y="50"/>
                    <a:pt x="26" y="50"/>
                  </a:cubicBezTo>
                  <a:cubicBezTo>
                    <a:pt x="24" y="51"/>
                    <a:pt x="22" y="50"/>
                    <a:pt x="22" y="53"/>
                  </a:cubicBezTo>
                  <a:cubicBezTo>
                    <a:pt x="22" y="55"/>
                    <a:pt x="19" y="55"/>
                    <a:pt x="22" y="56"/>
                  </a:cubicBezTo>
                  <a:cubicBezTo>
                    <a:pt x="23" y="57"/>
                    <a:pt x="24" y="57"/>
                    <a:pt x="26" y="58"/>
                  </a:cubicBezTo>
                  <a:cubicBezTo>
                    <a:pt x="27" y="59"/>
                    <a:pt x="28" y="60"/>
                    <a:pt x="29" y="61"/>
                  </a:cubicBezTo>
                  <a:cubicBezTo>
                    <a:pt x="31" y="62"/>
                    <a:pt x="32" y="61"/>
                    <a:pt x="34" y="61"/>
                  </a:cubicBezTo>
                  <a:cubicBezTo>
                    <a:pt x="35" y="61"/>
                    <a:pt x="36" y="62"/>
                    <a:pt x="38" y="63"/>
                  </a:cubicBezTo>
                  <a:cubicBezTo>
                    <a:pt x="39" y="63"/>
                    <a:pt x="40" y="63"/>
                    <a:pt x="41" y="64"/>
                  </a:cubicBezTo>
                  <a:cubicBezTo>
                    <a:pt x="44" y="66"/>
                    <a:pt x="46" y="68"/>
                    <a:pt x="48" y="71"/>
                  </a:cubicBezTo>
                  <a:cubicBezTo>
                    <a:pt x="49" y="74"/>
                    <a:pt x="50" y="75"/>
                    <a:pt x="54" y="76"/>
                  </a:cubicBezTo>
                  <a:cubicBezTo>
                    <a:pt x="55" y="76"/>
                    <a:pt x="56" y="75"/>
                    <a:pt x="57" y="74"/>
                  </a:cubicBezTo>
                  <a:cubicBezTo>
                    <a:pt x="58" y="74"/>
                    <a:pt x="59" y="76"/>
                    <a:pt x="60" y="75"/>
                  </a:cubicBezTo>
                  <a:cubicBezTo>
                    <a:pt x="62" y="74"/>
                    <a:pt x="64" y="75"/>
                    <a:pt x="65" y="76"/>
                  </a:cubicBezTo>
                  <a:cubicBezTo>
                    <a:pt x="65" y="77"/>
                    <a:pt x="64" y="79"/>
                    <a:pt x="64" y="80"/>
                  </a:cubicBezTo>
                  <a:cubicBezTo>
                    <a:pt x="63" y="81"/>
                    <a:pt x="62" y="81"/>
                    <a:pt x="64" y="82"/>
                  </a:cubicBezTo>
                  <a:cubicBezTo>
                    <a:pt x="64" y="82"/>
                    <a:pt x="66" y="84"/>
                    <a:pt x="65" y="84"/>
                  </a:cubicBezTo>
                  <a:cubicBezTo>
                    <a:pt x="67" y="84"/>
                    <a:pt x="68" y="73"/>
                    <a:pt x="69" y="71"/>
                  </a:cubicBezTo>
                  <a:cubicBezTo>
                    <a:pt x="69" y="67"/>
                    <a:pt x="66" y="66"/>
                    <a:pt x="65" y="63"/>
                  </a:cubicBezTo>
                  <a:cubicBezTo>
                    <a:pt x="65" y="61"/>
                    <a:pt x="65" y="60"/>
                    <a:pt x="66" y="60"/>
                  </a:cubicBezTo>
                  <a:cubicBezTo>
                    <a:pt x="67" y="60"/>
                    <a:pt x="70" y="59"/>
                    <a:pt x="70" y="58"/>
                  </a:cubicBezTo>
                  <a:cubicBezTo>
                    <a:pt x="69" y="58"/>
                    <a:pt x="67" y="58"/>
                    <a:pt x="67" y="57"/>
                  </a:cubicBezTo>
                  <a:cubicBezTo>
                    <a:pt x="66" y="57"/>
                    <a:pt x="66" y="55"/>
                    <a:pt x="66" y="55"/>
                  </a:cubicBezTo>
                  <a:cubicBezTo>
                    <a:pt x="68" y="55"/>
                    <a:pt x="70" y="55"/>
                    <a:pt x="72" y="55"/>
                  </a:cubicBezTo>
                  <a:cubicBezTo>
                    <a:pt x="73" y="55"/>
                    <a:pt x="79" y="52"/>
                    <a:pt x="79" y="53"/>
                  </a:cubicBezTo>
                  <a:cubicBezTo>
                    <a:pt x="79" y="51"/>
                    <a:pt x="76" y="48"/>
                    <a:pt x="77" y="48"/>
                  </a:cubicBezTo>
                  <a:cubicBezTo>
                    <a:pt x="78" y="47"/>
                    <a:pt x="76" y="48"/>
                    <a:pt x="77" y="4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8" name="Freeform 623">
              <a:extLst>
                <a:ext uri="{FF2B5EF4-FFF2-40B4-BE49-F238E27FC236}">
                  <a16:creationId xmlns:a16="http://schemas.microsoft.com/office/drawing/2014/main" id="{30A06EC6-D67B-3A35-335E-CE62FD93556D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7787" y="4284754"/>
              <a:ext cx="146636" cy="183561"/>
            </a:xfrm>
            <a:custGeom>
              <a:avLst/>
              <a:gdLst>
                <a:gd name="T0" fmla="*/ 20 w 28"/>
                <a:gd name="T1" fmla="*/ 6 h 33"/>
                <a:gd name="T2" fmla="*/ 15 w 28"/>
                <a:gd name="T3" fmla="*/ 3 h 33"/>
                <a:gd name="T4" fmla="*/ 10 w 28"/>
                <a:gd name="T5" fmla="*/ 0 h 33"/>
                <a:gd name="T6" fmla="*/ 4 w 28"/>
                <a:gd name="T7" fmla="*/ 4 h 33"/>
                <a:gd name="T8" fmla="*/ 3 w 28"/>
                <a:gd name="T9" fmla="*/ 7 h 33"/>
                <a:gd name="T10" fmla="*/ 2 w 28"/>
                <a:gd name="T11" fmla="*/ 10 h 33"/>
                <a:gd name="T12" fmla="*/ 0 w 28"/>
                <a:gd name="T13" fmla="*/ 13 h 33"/>
                <a:gd name="T14" fmla="*/ 0 w 28"/>
                <a:gd name="T15" fmla="*/ 15 h 33"/>
                <a:gd name="T16" fmla="*/ 0 w 28"/>
                <a:gd name="T17" fmla="*/ 18 h 33"/>
                <a:gd name="T18" fmla="*/ 2 w 28"/>
                <a:gd name="T19" fmla="*/ 20 h 33"/>
                <a:gd name="T20" fmla="*/ 5 w 28"/>
                <a:gd name="T21" fmla="*/ 18 h 33"/>
                <a:gd name="T22" fmla="*/ 5 w 28"/>
                <a:gd name="T23" fmla="*/ 20 h 33"/>
                <a:gd name="T24" fmla="*/ 3 w 28"/>
                <a:gd name="T25" fmla="*/ 24 h 33"/>
                <a:gd name="T26" fmla="*/ 3 w 28"/>
                <a:gd name="T27" fmla="*/ 26 h 33"/>
                <a:gd name="T28" fmla="*/ 3 w 28"/>
                <a:gd name="T29" fmla="*/ 28 h 33"/>
                <a:gd name="T30" fmla="*/ 8 w 28"/>
                <a:gd name="T31" fmla="*/ 32 h 33"/>
                <a:gd name="T32" fmla="*/ 11 w 28"/>
                <a:gd name="T33" fmla="*/ 29 h 33"/>
                <a:gd name="T34" fmla="*/ 16 w 28"/>
                <a:gd name="T35" fmla="*/ 22 h 33"/>
                <a:gd name="T36" fmla="*/ 22 w 28"/>
                <a:gd name="T37" fmla="*/ 19 h 33"/>
                <a:gd name="T38" fmla="*/ 27 w 28"/>
                <a:gd name="T39" fmla="*/ 13 h 33"/>
                <a:gd name="T40" fmla="*/ 27 w 28"/>
                <a:gd name="T41" fmla="*/ 8 h 33"/>
                <a:gd name="T42" fmla="*/ 24 w 28"/>
                <a:gd name="T43" fmla="*/ 5 h 33"/>
                <a:gd name="T44" fmla="*/ 20 w 28"/>
                <a:gd name="T45" fmla="*/ 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8" h="33">
                  <a:moveTo>
                    <a:pt x="20" y="6"/>
                  </a:moveTo>
                  <a:cubicBezTo>
                    <a:pt x="18" y="6"/>
                    <a:pt x="17" y="4"/>
                    <a:pt x="15" y="3"/>
                  </a:cubicBezTo>
                  <a:cubicBezTo>
                    <a:pt x="14" y="2"/>
                    <a:pt x="12" y="0"/>
                    <a:pt x="10" y="0"/>
                  </a:cubicBezTo>
                  <a:cubicBezTo>
                    <a:pt x="10" y="3"/>
                    <a:pt x="4" y="1"/>
                    <a:pt x="4" y="4"/>
                  </a:cubicBezTo>
                  <a:cubicBezTo>
                    <a:pt x="4" y="6"/>
                    <a:pt x="4" y="6"/>
                    <a:pt x="3" y="7"/>
                  </a:cubicBezTo>
                  <a:cubicBezTo>
                    <a:pt x="1" y="8"/>
                    <a:pt x="2" y="9"/>
                    <a:pt x="2" y="10"/>
                  </a:cubicBezTo>
                  <a:cubicBezTo>
                    <a:pt x="2" y="11"/>
                    <a:pt x="1" y="12"/>
                    <a:pt x="0" y="13"/>
                  </a:cubicBezTo>
                  <a:cubicBezTo>
                    <a:pt x="0" y="13"/>
                    <a:pt x="0" y="14"/>
                    <a:pt x="0" y="15"/>
                  </a:cubicBezTo>
                  <a:cubicBezTo>
                    <a:pt x="1" y="16"/>
                    <a:pt x="0" y="17"/>
                    <a:pt x="0" y="18"/>
                  </a:cubicBezTo>
                  <a:cubicBezTo>
                    <a:pt x="0" y="18"/>
                    <a:pt x="1" y="21"/>
                    <a:pt x="2" y="20"/>
                  </a:cubicBezTo>
                  <a:cubicBezTo>
                    <a:pt x="4" y="20"/>
                    <a:pt x="4" y="18"/>
                    <a:pt x="5" y="18"/>
                  </a:cubicBezTo>
                  <a:cubicBezTo>
                    <a:pt x="4" y="18"/>
                    <a:pt x="6" y="20"/>
                    <a:pt x="5" y="20"/>
                  </a:cubicBezTo>
                  <a:cubicBezTo>
                    <a:pt x="5" y="22"/>
                    <a:pt x="5" y="23"/>
                    <a:pt x="3" y="24"/>
                  </a:cubicBezTo>
                  <a:cubicBezTo>
                    <a:pt x="3" y="24"/>
                    <a:pt x="4" y="26"/>
                    <a:pt x="3" y="26"/>
                  </a:cubicBezTo>
                  <a:cubicBezTo>
                    <a:pt x="3" y="27"/>
                    <a:pt x="2" y="27"/>
                    <a:pt x="3" y="28"/>
                  </a:cubicBezTo>
                  <a:cubicBezTo>
                    <a:pt x="5" y="29"/>
                    <a:pt x="6" y="29"/>
                    <a:pt x="8" y="32"/>
                  </a:cubicBezTo>
                  <a:cubicBezTo>
                    <a:pt x="9" y="33"/>
                    <a:pt x="10" y="29"/>
                    <a:pt x="11" y="29"/>
                  </a:cubicBezTo>
                  <a:cubicBezTo>
                    <a:pt x="12" y="26"/>
                    <a:pt x="13" y="23"/>
                    <a:pt x="16" y="22"/>
                  </a:cubicBezTo>
                  <a:cubicBezTo>
                    <a:pt x="18" y="21"/>
                    <a:pt x="20" y="21"/>
                    <a:pt x="22" y="19"/>
                  </a:cubicBezTo>
                  <a:cubicBezTo>
                    <a:pt x="24" y="18"/>
                    <a:pt x="26" y="16"/>
                    <a:pt x="27" y="13"/>
                  </a:cubicBezTo>
                  <a:cubicBezTo>
                    <a:pt x="27" y="11"/>
                    <a:pt x="28" y="10"/>
                    <a:pt x="27" y="8"/>
                  </a:cubicBezTo>
                  <a:cubicBezTo>
                    <a:pt x="26" y="7"/>
                    <a:pt x="25" y="6"/>
                    <a:pt x="24" y="5"/>
                  </a:cubicBezTo>
                  <a:cubicBezTo>
                    <a:pt x="23" y="5"/>
                    <a:pt x="21" y="6"/>
                    <a:pt x="20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9" name="Freeform 624">
              <a:extLst>
                <a:ext uri="{FF2B5EF4-FFF2-40B4-BE49-F238E27FC236}">
                  <a16:creationId xmlns:a16="http://schemas.microsoft.com/office/drawing/2014/main" id="{2FFF71F4-7541-F2F0-1AB6-3C506CA155A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1693" y="4318817"/>
              <a:ext cx="336192" cy="527971"/>
            </a:xfrm>
            <a:custGeom>
              <a:avLst/>
              <a:gdLst>
                <a:gd name="T0" fmla="*/ 57 w 64"/>
                <a:gd name="T1" fmla="*/ 21 h 95"/>
                <a:gd name="T2" fmla="*/ 56 w 64"/>
                <a:gd name="T3" fmla="*/ 14 h 95"/>
                <a:gd name="T4" fmla="*/ 50 w 64"/>
                <a:gd name="T5" fmla="*/ 13 h 95"/>
                <a:gd name="T6" fmla="*/ 46 w 64"/>
                <a:gd name="T7" fmla="*/ 14 h 95"/>
                <a:gd name="T8" fmla="*/ 41 w 64"/>
                <a:gd name="T9" fmla="*/ 11 h 95"/>
                <a:gd name="T10" fmla="*/ 38 w 64"/>
                <a:gd name="T11" fmla="*/ 6 h 95"/>
                <a:gd name="T12" fmla="*/ 33 w 64"/>
                <a:gd name="T13" fmla="*/ 2 h 95"/>
                <a:gd name="T14" fmla="*/ 28 w 64"/>
                <a:gd name="T15" fmla="*/ 0 h 95"/>
                <a:gd name="T16" fmla="*/ 31 w 64"/>
                <a:gd name="T17" fmla="*/ 5 h 95"/>
                <a:gd name="T18" fmla="*/ 28 w 64"/>
                <a:gd name="T19" fmla="*/ 10 h 95"/>
                <a:gd name="T20" fmla="*/ 23 w 64"/>
                <a:gd name="T21" fmla="*/ 14 h 95"/>
                <a:gd name="T22" fmla="*/ 17 w 64"/>
                <a:gd name="T23" fmla="*/ 17 h 95"/>
                <a:gd name="T24" fmla="*/ 11 w 64"/>
                <a:gd name="T25" fmla="*/ 26 h 95"/>
                <a:gd name="T26" fmla="*/ 6 w 64"/>
                <a:gd name="T27" fmla="*/ 22 h 95"/>
                <a:gd name="T28" fmla="*/ 6 w 64"/>
                <a:gd name="T29" fmla="*/ 21 h 95"/>
                <a:gd name="T30" fmla="*/ 6 w 64"/>
                <a:gd name="T31" fmla="*/ 18 h 95"/>
                <a:gd name="T32" fmla="*/ 2 w 64"/>
                <a:gd name="T33" fmla="*/ 26 h 95"/>
                <a:gd name="T34" fmla="*/ 3 w 64"/>
                <a:gd name="T35" fmla="*/ 30 h 95"/>
                <a:gd name="T36" fmla="*/ 3 w 64"/>
                <a:gd name="T37" fmla="*/ 32 h 95"/>
                <a:gd name="T38" fmla="*/ 14 w 64"/>
                <a:gd name="T39" fmla="*/ 47 h 95"/>
                <a:gd name="T40" fmla="*/ 23 w 64"/>
                <a:gd name="T41" fmla="*/ 63 h 95"/>
                <a:gd name="T42" fmla="*/ 26 w 64"/>
                <a:gd name="T43" fmla="*/ 70 h 95"/>
                <a:gd name="T44" fmla="*/ 25 w 64"/>
                <a:gd name="T45" fmla="*/ 71 h 95"/>
                <a:gd name="T46" fmla="*/ 28 w 64"/>
                <a:gd name="T47" fmla="*/ 74 h 95"/>
                <a:gd name="T48" fmla="*/ 32 w 64"/>
                <a:gd name="T49" fmla="*/ 79 h 95"/>
                <a:gd name="T50" fmla="*/ 41 w 64"/>
                <a:gd name="T51" fmla="*/ 83 h 95"/>
                <a:gd name="T52" fmla="*/ 48 w 64"/>
                <a:gd name="T53" fmla="*/ 87 h 95"/>
                <a:gd name="T54" fmla="*/ 54 w 64"/>
                <a:gd name="T55" fmla="*/ 93 h 95"/>
                <a:gd name="T56" fmla="*/ 59 w 64"/>
                <a:gd name="T57" fmla="*/ 90 h 95"/>
                <a:gd name="T58" fmla="*/ 61 w 64"/>
                <a:gd name="T59" fmla="*/ 86 h 95"/>
                <a:gd name="T60" fmla="*/ 63 w 64"/>
                <a:gd name="T61" fmla="*/ 82 h 95"/>
                <a:gd name="T62" fmla="*/ 61 w 64"/>
                <a:gd name="T63" fmla="*/ 78 h 95"/>
                <a:gd name="T64" fmla="*/ 61 w 64"/>
                <a:gd name="T65" fmla="*/ 76 h 95"/>
                <a:gd name="T66" fmla="*/ 63 w 64"/>
                <a:gd name="T67" fmla="*/ 74 h 95"/>
                <a:gd name="T68" fmla="*/ 64 w 64"/>
                <a:gd name="T69" fmla="*/ 64 h 95"/>
                <a:gd name="T70" fmla="*/ 62 w 64"/>
                <a:gd name="T71" fmla="*/ 59 h 95"/>
                <a:gd name="T72" fmla="*/ 57 w 64"/>
                <a:gd name="T73" fmla="*/ 57 h 95"/>
                <a:gd name="T74" fmla="*/ 55 w 64"/>
                <a:gd name="T75" fmla="*/ 48 h 95"/>
                <a:gd name="T76" fmla="*/ 50 w 64"/>
                <a:gd name="T77" fmla="*/ 51 h 95"/>
                <a:gd name="T78" fmla="*/ 46 w 64"/>
                <a:gd name="T79" fmla="*/ 51 h 95"/>
                <a:gd name="T80" fmla="*/ 44 w 64"/>
                <a:gd name="T81" fmla="*/ 48 h 95"/>
                <a:gd name="T82" fmla="*/ 40 w 64"/>
                <a:gd name="T83" fmla="*/ 42 h 95"/>
                <a:gd name="T84" fmla="*/ 39 w 64"/>
                <a:gd name="T85" fmla="*/ 35 h 95"/>
                <a:gd name="T86" fmla="*/ 42 w 64"/>
                <a:gd name="T87" fmla="*/ 33 h 95"/>
                <a:gd name="T88" fmla="*/ 42 w 64"/>
                <a:gd name="T89" fmla="*/ 30 h 95"/>
                <a:gd name="T90" fmla="*/ 45 w 64"/>
                <a:gd name="T91" fmla="*/ 25 h 95"/>
                <a:gd name="T92" fmla="*/ 50 w 64"/>
                <a:gd name="T93" fmla="*/ 24 h 95"/>
                <a:gd name="T94" fmla="*/ 53 w 64"/>
                <a:gd name="T95" fmla="*/ 22 h 95"/>
                <a:gd name="T96" fmla="*/ 57 w 64"/>
                <a:gd name="T97" fmla="*/ 21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4" h="95">
                  <a:moveTo>
                    <a:pt x="57" y="21"/>
                  </a:moveTo>
                  <a:cubicBezTo>
                    <a:pt x="53" y="19"/>
                    <a:pt x="59" y="15"/>
                    <a:pt x="56" y="14"/>
                  </a:cubicBezTo>
                  <a:cubicBezTo>
                    <a:pt x="54" y="12"/>
                    <a:pt x="52" y="13"/>
                    <a:pt x="50" y="13"/>
                  </a:cubicBezTo>
                  <a:cubicBezTo>
                    <a:pt x="48" y="12"/>
                    <a:pt x="48" y="14"/>
                    <a:pt x="46" y="14"/>
                  </a:cubicBezTo>
                  <a:cubicBezTo>
                    <a:pt x="44" y="13"/>
                    <a:pt x="42" y="13"/>
                    <a:pt x="41" y="11"/>
                  </a:cubicBezTo>
                  <a:cubicBezTo>
                    <a:pt x="40" y="10"/>
                    <a:pt x="39" y="7"/>
                    <a:pt x="38" y="6"/>
                  </a:cubicBezTo>
                  <a:cubicBezTo>
                    <a:pt x="36" y="5"/>
                    <a:pt x="35" y="3"/>
                    <a:pt x="33" y="2"/>
                  </a:cubicBezTo>
                  <a:cubicBezTo>
                    <a:pt x="32" y="0"/>
                    <a:pt x="30" y="1"/>
                    <a:pt x="28" y="0"/>
                  </a:cubicBezTo>
                  <a:cubicBezTo>
                    <a:pt x="30" y="2"/>
                    <a:pt x="31" y="3"/>
                    <a:pt x="31" y="5"/>
                  </a:cubicBezTo>
                  <a:cubicBezTo>
                    <a:pt x="30" y="7"/>
                    <a:pt x="30" y="9"/>
                    <a:pt x="28" y="10"/>
                  </a:cubicBezTo>
                  <a:cubicBezTo>
                    <a:pt x="26" y="12"/>
                    <a:pt x="25" y="14"/>
                    <a:pt x="23" y="14"/>
                  </a:cubicBezTo>
                  <a:cubicBezTo>
                    <a:pt x="21" y="15"/>
                    <a:pt x="19" y="15"/>
                    <a:pt x="17" y="17"/>
                  </a:cubicBezTo>
                  <a:cubicBezTo>
                    <a:pt x="16" y="18"/>
                    <a:pt x="12" y="27"/>
                    <a:pt x="11" y="26"/>
                  </a:cubicBezTo>
                  <a:cubicBezTo>
                    <a:pt x="9" y="23"/>
                    <a:pt x="8" y="23"/>
                    <a:pt x="6" y="22"/>
                  </a:cubicBezTo>
                  <a:cubicBezTo>
                    <a:pt x="5" y="22"/>
                    <a:pt x="5" y="22"/>
                    <a:pt x="6" y="21"/>
                  </a:cubicBezTo>
                  <a:cubicBezTo>
                    <a:pt x="7" y="20"/>
                    <a:pt x="7" y="19"/>
                    <a:pt x="6" y="18"/>
                  </a:cubicBezTo>
                  <a:cubicBezTo>
                    <a:pt x="4" y="19"/>
                    <a:pt x="0" y="23"/>
                    <a:pt x="2" y="26"/>
                  </a:cubicBezTo>
                  <a:cubicBezTo>
                    <a:pt x="2" y="26"/>
                    <a:pt x="4" y="29"/>
                    <a:pt x="3" y="30"/>
                  </a:cubicBezTo>
                  <a:cubicBezTo>
                    <a:pt x="2" y="30"/>
                    <a:pt x="1" y="31"/>
                    <a:pt x="3" y="32"/>
                  </a:cubicBezTo>
                  <a:cubicBezTo>
                    <a:pt x="8" y="35"/>
                    <a:pt x="12" y="41"/>
                    <a:pt x="14" y="47"/>
                  </a:cubicBezTo>
                  <a:cubicBezTo>
                    <a:pt x="17" y="52"/>
                    <a:pt x="19" y="58"/>
                    <a:pt x="23" y="63"/>
                  </a:cubicBezTo>
                  <a:cubicBezTo>
                    <a:pt x="24" y="65"/>
                    <a:pt x="26" y="67"/>
                    <a:pt x="26" y="70"/>
                  </a:cubicBezTo>
                  <a:cubicBezTo>
                    <a:pt x="26" y="71"/>
                    <a:pt x="25" y="70"/>
                    <a:pt x="25" y="71"/>
                  </a:cubicBezTo>
                  <a:cubicBezTo>
                    <a:pt x="26" y="72"/>
                    <a:pt x="27" y="73"/>
                    <a:pt x="28" y="74"/>
                  </a:cubicBezTo>
                  <a:cubicBezTo>
                    <a:pt x="29" y="76"/>
                    <a:pt x="30" y="78"/>
                    <a:pt x="32" y="79"/>
                  </a:cubicBezTo>
                  <a:cubicBezTo>
                    <a:pt x="35" y="80"/>
                    <a:pt x="38" y="82"/>
                    <a:pt x="41" y="83"/>
                  </a:cubicBezTo>
                  <a:cubicBezTo>
                    <a:pt x="43" y="84"/>
                    <a:pt x="45" y="86"/>
                    <a:pt x="48" y="87"/>
                  </a:cubicBezTo>
                  <a:cubicBezTo>
                    <a:pt x="50" y="89"/>
                    <a:pt x="52" y="91"/>
                    <a:pt x="54" y="93"/>
                  </a:cubicBezTo>
                  <a:cubicBezTo>
                    <a:pt x="58" y="95"/>
                    <a:pt x="57" y="91"/>
                    <a:pt x="59" y="90"/>
                  </a:cubicBezTo>
                  <a:cubicBezTo>
                    <a:pt x="60" y="89"/>
                    <a:pt x="60" y="87"/>
                    <a:pt x="61" y="86"/>
                  </a:cubicBezTo>
                  <a:cubicBezTo>
                    <a:pt x="61" y="85"/>
                    <a:pt x="64" y="83"/>
                    <a:pt x="63" y="82"/>
                  </a:cubicBezTo>
                  <a:cubicBezTo>
                    <a:pt x="61" y="81"/>
                    <a:pt x="60" y="81"/>
                    <a:pt x="61" y="78"/>
                  </a:cubicBezTo>
                  <a:cubicBezTo>
                    <a:pt x="61" y="77"/>
                    <a:pt x="61" y="76"/>
                    <a:pt x="61" y="76"/>
                  </a:cubicBezTo>
                  <a:cubicBezTo>
                    <a:pt x="62" y="75"/>
                    <a:pt x="63" y="74"/>
                    <a:pt x="63" y="74"/>
                  </a:cubicBezTo>
                  <a:cubicBezTo>
                    <a:pt x="64" y="71"/>
                    <a:pt x="62" y="66"/>
                    <a:pt x="64" y="64"/>
                  </a:cubicBezTo>
                  <a:cubicBezTo>
                    <a:pt x="64" y="63"/>
                    <a:pt x="63" y="61"/>
                    <a:pt x="62" y="59"/>
                  </a:cubicBezTo>
                  <a:cubicBezTo>
                    <a:pt x="61" y="56"/>
                    <a:pt x="60" y="56"/>
                    <a:pt x="57" y="57"/>
                  </a:cubicBezTo>
                  <a:cubicBezTo>
                    <a:pt x="53" y="57"/>
                    <a:pt x="55" y="50"/>
                    <a:pt x="55" y="48"/>
                  </a:cubicBezTo>
                  <a:cubicBezTo>
                    <a:pt x="53" y="49"/>
                    <a:pt x="52" y="51"/>
                    <a:pt x="50" y="51"/>
                  </a:cubicBezTo>
                  <a:cubicBezTo>
                    <a:pt x="49" y="51"/>
                    <a:pt x="47" y="51"/>
                    <a:pt x="46" y="51"/>
                  </a:cubicBezTo>
                  <a:cubicBezTo>
                    <a:pt x="45" y="50"/>
                    <a:pt x="45" y="48"/>
                    <a:pt x="44" y="48"/>
                  </a:cubicBezTo>
                  <a:cubicBezTo>
                    <a:pt x="41" y="48"/>
                    <a:pt x="41" y="44"/>
                    <a:pt x="40" y="42"/>
                  </a:cubicBezTo>
                  <a:cubicBezTo>
                    <a:pt x="38" y="40"/>
                    <a:pt x="37" y="37"/>
                    <a:pt x="39" y="35"/>
                  </a:cubicBezTo>
                  <a:cubicBezTo>
                    <a:pt x="40" y="34"/>
                    <a:pt x="42" y="34"/>
                    <a:pt x="42" y="33"/>
                  </a:cubicBezTo>
                  <a:cubicBezTo>
                    <a:pt x="42" y="32"/>
                    <a:pt x="42" y="31"/>
                    <a:pt x="42" y="30"/>
                  </a:cubicBezTo>
                  <a:cubicBezTo>
                    <a:pt x="42" y="27"/>
                    <a:pt x="42" y="26"/>
                    <a:pt x="45" y="25"/>
                  </a:cubicBezTo>
                  <a:cubicBezTo>
                    <a:pt x="47" y="24"/>
                    <a:pt x="48" y="24"/>
                    <a:pt x="50" y="24"/>
                  </a:cubicBezTo>
                  <a:cubicBezTo>
                    <a:pt x="51" y="24"/>
                    <a:pt x="52" y="23"/>
                    <a:pt x="53" y="22"/>
                  </a:cubicBezTo>
                  <a:cubicBezTo>
                    <a:pt x="54" y="22"/>
                    <a:pt x="59" y="23"/>
                    <a:pt x="57" y="2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0" name="Freeform 625">
              <a:extLst>
                <a:ext uri="{FF2B5EF4-FFF2-40B4-BE49-F238E27FC236}">
                  <a16:creationId xmlns:a16="http://schemas.microsoft.com/office/drawing/2014/main" id="{27966353-7FF1-E3BA-BFAE-6B670096CDA9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0119" y="4812725"/>
              <a:ext cx="228896" cy="1178944"/>
            </a:xfrm>
            <a:custGeom>
              <a:avLst/>
              <a:gdLst>
                <a:gd name="T0" fmla="*/ 38 w 44"/>
                <a:gd name="T1" fmla="*/ 20 h 212"/>
                <a:gd name="T2" fmla="*/ 36 w 44"/>
                <a:gd name="T3" fmla="*/ 12 h 212"/>
                <a:gd name="T4" fmla="*/ 34 w 44"/>
                <a:gd name="T5" fmla="*/ 5 h 212"/>
                <a:gd name="T6" fmla="*/ 30 w 44"/>
                <a:gd name="T7" fmla="*/ 3 h 212"/>
                <a:gd name="T8" fmla="*/ 28 w 44"/>
                <a:gd name="T9" fmla="*/ 15 h 212"/>
                <a:gd name="T10" fmla="*/ 26 w 44"/>
                <a:gd name="T11" fmla="*/ 31 h 212"/>
                <a:gd name="T12" fmla="*/ 23 w 44"/>
                <a:gd name="T13" fmla="*/ 56 h 212"/>
                <a:gd name="T14" fmla="*/ 21 w 44"/>
                <a:gd name="T15" fmla="*/ 68 h 212"/>
                <a:gd name="T16" fmla="*/ 21 w 44"/>
                <a:gd name="T17" fmla="*/ 80 h 212"/>
                <a:gd name="T18" fmla="*/ 20 w 44"/>
                <a:gd name="T19" fmla="*/ 88 h 212"/>
                <a:gd name="T20" fmla="*/ 11 w 44"/>
                <a:gd name="T21" fmla="*/ 110 h 212"/>
                <a:gd name="T22" fmla="*/ 10 w 44"/>
                <a:gd name="T23" fmla="*/ 132 h 212"/>
                <a:gd name="T24" fmla="*/ 17 w 44"/>
                <a:gd name="T25" fmla="*/ 133 h 212"/>
                <a:gd name="T26" fmla="*/ 16 w 44"/>
                <a:gd name="T27" fmla="*/ 136 h 212"/>
                <a:gd name="T28" fmla="*/ 14 w 44"/>
                <a:gd name="T29" fmla="*/ 145 h 212"/>
                <a:gd name="T30" fmla="*/ 15 w 44"/>
                <a:gd name="T31" fmla="*/ 150 h 212"/>
                <a:gd name="T32" fmla="*/ 13 w 44"/>
                <a:gd name="T33" fmla="*/ 152 h 212"/>
                <a:gd name="T34" fmla="*/ 11 w 44"/>
                <a:gd name="T35" fmla="*/ 158 h 212"/>
                <a:gd name="T36" fmla="*/ 8 w 44"/>
                <a:gd name="T37" fmla="*/ 159 h 212"/>
                <a:gd name="T38" fmla="*/ 4 w 44"/>
                <a:gd name="T39" fmla="*/ 159 h 212"/>
                <a:gd name="T40" fmla="*/ 0 w 44"/>
                <a:gd name="T41" fmla="*/ 164 h 212"/>
                <a:gd name="T42" fmla="*/ 2 w 44"/>
                <a:gd name="T43" fmla="*/ 163 h 212"/>
                <a:gd name="T44" fmla="*/ 7 w 44"/>
                <a:gd name="T45" fmla="*/ 171 h 212"/>
                <a:gd name="T46" fmla="*/ 11 w 44"/>
                <a:gd name="T47" fmla="*/ 173 h 212"/>
                <a:gd name="T48" fmla="*/ 7 w 44"/>
                <a:gd name="T49" fmla="*/ 174 h 212"/>
                <a:gd name="T50" fmla="*/ 7 w 44"/>
                <a:gd name="T51" fmla="*/ 179 h 212"/>
                <a:gd name="T52" fmla="*/ 9 w 44"/>
                <a:gd name="T53" fmla="*/ 182 h 212"/>
                <a:gd name="T54" fmla="*/ 9 w 44"/>
                <a:gd name="T55" fmla="*/ 185 h 212"/>
                <a:gd name="T56" fmla="*/ 7 w 44"/>
                <a:gd name="T57" fmla="*/ 187 h 212"/>
                <a:gd name="T58" fmla="*/ 10 w 44"/>
                <a:gd name="T59" fmla="*/ 190 h 212"/>
                <a:gd name="T60" fmla="*/ 8 w 44"/>
                <a:gd name="T61" fmla="*/ 193 h 212"/>
                <a:gd name="T62" fmla="*/ 11 w 44"/>
                <a:gd name="T63" fmla="*/ 194 h 212"/>
                <a:gd name="T64" fmla="*/ 11 w 44"/>
                <a:gd name="T65" fmla="*/ 198 h 212"/>
                <a:gd name="T66" fmla="*/ 15 w 44"/>
                <a:gd name="T67" fmla="*/ 197 h 212"/>
                <a:gd name="T68" fmla="*/ 15 w 44"/>
                <a:gd name="T69" fmla="*/ 197 h 212"/>
                <a:gd name="T70" fmla="*/ 16 w 44"/>
                <a:gd name="T71" fmla="*/ 198 h 212"/>
                <a:gd name="T72" fmla="*/ 18 w 44"/>
                <a:gd name="T73" fmla="*/ 202 h 212"/>
                <a:gd name="T74" fmla="*/ 16 w 44"/>
                <a:gd name="T75" fmla="*/ 207 h 212"/>
                <a:gd name="T76" fmla="*/ 18 w 44"/>
                <a:gd name="T77" fmla="*/ 209 h 212"/>
                <a:gd name="T78" fmla="*/ 25 w 44"/>
                <a:gd name="T79" fmla="*/ 204 h 212"/>
                <a:gd name="T80" fmla="*/ 26 w 44"/>
                <a:gd name="T81" fmla="*/ 199 h 212"/>
                <a:gd name="T82" fmla="*/ 17 w 44"/>
                <a:gd name="T83" fmla="*/ 192 h 212"/>
                <a:gd name="T84" fmla="*/ 12 w 44"/>
                <a:gd name="T85" fmla="*/ 185 h 212"/>
                <a:gd name="T86" fmla="*/ 15 w 44"/>
                <a:gd name="T87" fmla="*/ 177 h 212"/>
                <a:gd name="T88" fmla="*/ 17 w 44"/>
                <a:gd name="T89" fmla="*/ 169 h 212"/>
                <a:gd name="T90" fmla="*/ 21 w 44"/>
                <a:gd name="T91" fmla="*/ 158 h 212"/>
                <a:gd name="T92" fmla="*/ 21 w 44"/>
                <a:gd name="T93" fmla="*/ 152 h 212"/>
                <a:gd name="T94" fmla="*/ 19 w 44"/>
                <a:gd name="T95" fmla="*/ 140 h 212"/>
                <a:gd name="T96" fmla="*/ 23 w 44"/>
                <a:gd name="T97" fmla="*/ 117 h 212"/>
                <a:gd name="T98" fmla="*/ 26 w 44"/>
                <a:gd name="T99" fmla="*/ 102 h 212"/>
                <a:gd name="T100" fmla="*/ 29 w 44"/>
                <a:gd name="T101" fmla="*/ 85 h 212"/>
                <a:gd name="T102" fmla="*/ 27 w 44"/>
                <a:gd name="T103" fmla="*/ 73 h 212"/>
                <a:gd name="T104" fmla="*/ 30 w 44"/>
                <a:gd name="T105" fmla="*/ 62 h 212"/>
                <a:gd name="T106" fmla="*/ 34 w 44"/>
                <a:gd name="T107" fmla="*/ 54 h 212"/>
                <a:gd name="T108" fmla="*/ 36 w 44"/>
                <a:gd name="T109" fmla="*/ 44 h 212"/>
                <a:gd name="T110" fmla="*/ 40 w 44"/>
                <a:gd name="T111" fmla="*/ 35 h 212"/>
                <a:gd name="T112" fmla="*/ 40 w 44"/>
                <a:gd name="T113" fmla="*/ 28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4" h="212">
                  <a:moveTo>
                    <a:pt x="40" y="28"/>
                  </a:moveTo>
                  <a:cubicBezTo>
                    <a:pt x="38" y="27"/>
                    <a:pt x="40" y="22"/>
                    <a:pt x="38" y="20"/>
                  </a:cubicBezTo>
                  <a:cubicBezTo>
                    <a:pt x="37" y="19"/>
                    <a:pt x="35" y="16"/>
                    <a:pt x="36" y="14"/>
                  </a:cubicBezTo>
                  <a:cubicBezTo>
                    <a:pt x="38" y="13"/>
                    <a:pt x="35" y="13"/>
                    <a:pt x="36" y="12"/>
                  </a:cubicBezTo>
                  <a:cubicBezTo>
                    <a:pt x="37" y="11"/>
                    <a:pt x="36" y="10"/>
                    <a:pt x="35" y="9"/>
                  </a:cubicBezTo>
                  <a:cubicBezTo>
                    <a:pt x="34" y="8"/>
                    <a:pt x="34" y="7"/>
                    <a:pt x="34" y="5"/>
                  </a:cubicBezTo>
                  <a:cubicBezTo>
                    <a:pt x="34" y="3"/>
                    <a:pt x="33" y="2"/>
                    <a:pt x="32" y="0"/>
                  </a:cubicBezTo>
                  <a:cubicBezTo>
                    <a:pt x="31" y="1"/>
                    <a:pt x="30" y="2"/>
                    <a:pt x="30" y="3"/>
                  </a:cubicBezTo>
                  <a:cubicBezTo>
                    <a:pt x="29" y="5"/>
                    <a:pt x="27" y="4"/>
                    <a:pt x="28" y="6"/>
                  </a:cubicBezTo>
                  <a:cubicBezTo>
                    <a:pt x="28" y="9"/>
                    <a:pt x="28" y="12"/>
                    <a:pt x="28" y="15"/>
                  </a:cubicBezTo>
                  <a:cubicBezTo>
                    <a:pt x="28" y="19"/>
                    <a:pt x="29" y="24"/>
                    <a:pt x="28" y="28"/>
                  </a:cubicBezTo>
                  <a:cubicBezTo>
                    <a:pt x="27" y="29"/>
                    <a:pt x="26" y="30"/>
                    <a:pt x="26" y="31"/>
                  </a:cubicBezTo>
                  <a:cubicBezTo>
                    <a:pt x="26" y="33"/>
                    <a:pt x="27" y="35"/>
                    <a:pt x="27" y="37"/>
                  </a:cubicBezTo>
                  <a:cubicBezTo>
                    <a:pt x="27" y="43"/>
                    <a:pt x="25" y="50"/>
                    <a:pt x="23" y="56"/>
                  </a:cubicBezTo>
                  <a:cubicBezTo>
                    <a:pt x="22" y="59"/>
                    <a:pt x="22" y="61"/>
                    <a:pt x="23" y="64"/>
                  </a:cubicBezTo>
                  <a:cubicBezTo>
                    <a:pt x="23" y="66"/>
                    <a:pt x="23" y="67"/>
                    <a:pt x="21" y="68"/>
                  </a:cubicBezTo>
                  <a:cubicBezTo>
                    <a:pt x="20" y="69"/>
                    <a:pt x="21" y="70"/>
                    <a:pt x="21" y="71"/>
                  </a:cubicBezTo>
                  <a:cubicBezTo>
                    <a:pt x="21" y="74"/>
                    <a:pt x="21" y="77"/>
                    <a:pt x="21" y="80"/>
                  </a:cubicBezTo>
                  <a:cubicBezTo>
                    <a:pt x="21" y="81"/>
                    <a:pt x="21" y="83"/>
                    <a:pt x="21" y="84"/>
                  </a:cubicBezTo>
                  <a:cubicBezTo>
                    <a:pt x="20" y="85"/>
                    <a:pt x="21" y="87"/>
                    <a:pt x="20" y="88"/>
                  </a:cubicBezTo>
                  <a:cubicBezTo>
                    <a:pt x="18" y="93"/>
                    <a:pt x="16" y="98"/>
                    <a:pt x="14" y="103"/>
                  </a:cubicBezTo>
                  <a:cubicBezTo>
                    <a:pt x="13" y="106"/>
                    <a:pt x="10" y="107"/>
                    <a:pt x="11" y="110"/>
                  </a:cubicBezTo>
                  <a:cubicBezTo>
                    <a:pt x="12" y="113"/>
                    <a:pt x="14" y="118"/>
                    <a:pt x="12" y="122"/>
                  </a:cubicBezTo>
                  <a:cubicBezTo>
                    <a:pt x="10" y="124"/>
                    <a:pt x="8" y="129"/>
                    <a:pt x="10" y="132"/>
                  </a:cubicBezTo>
                  <a:cubicBezTo>
                    <a:pt x="11" y="134"/>
                    <a:pt x="12" y="134"/>
                    <a:pt x="13" y="133"/>
                  </a:cubicBezTo>
                  <a:cubicBezTo>
                    <a:pt x="14" y="132"/>
                    <a:pt x="18" y="132"/>
                    <a:pt x="17" y="133"/>
                  </a:cubicBezTo>
                  <a:cubicBezTo>
                    <a:pt x="17" y="133"/>
                    <a:pt x="16" y="133"/>
                    <a:pt x="15" y="134"/>
                  </a:cubicBezTo>
                  <a:cubicBezTo>
                    <a:pt x="15" y="135"/>
                    <a:pt x="15" y="135"/>
                    <a:pt x="16" y="136"/>
                  </a:cubicBezTo>
                  <a:cubicBezTo>
                    <a:pt x="16" y="136"/>
                    <a:pt x="15" y="137"/>
                    <a:pt x="15" y="137"/>
                  </a:cubicBezTo>
                  <a:cubicBezTo>
                    <a:pt x="14" y="139"/>
                    <a:pt x="13" y="143"/>
                    <a:pt x="14" y="145"/>
                  </a:cubicBezTo>
                  <a:cubicBezTo>
                    <a:pt x="14" y="146"/>
                    <a:pt x="14" y="146"/>
                    <a:pt x="13" y="148"/>
                  </a:cubicBezTo>
                  <a:cubicBezTo>
                    <a:pt x="12" y="149"/>
                    <a:pt x="14" y="149"/>
                    <a:pt x="15" y="150"/>
                  </a:cubicBezTo>
                  <a:cubicBezTo>
                    <a:pt x="15" y="150"/>
                    <a:pt x="15" y="150"/>
                    <a:pt x="14" y="151"/>
                  </a:cubicBezTo>
                  <a:cubicBezTo>
                    <a:pt x="13" y="151"/>
                    <a:pt x="11" y="152"/>
                    <a:pt x="13" y="152"/>
                  </a:cubicBezTo>
                  <a:cubicBezTo>
                    <a:pt x="12" y="153"/>
                    <a:pt x="13" y="156"/>
                    <a:pt x="14" y="156"/>
                  </a:cubicBezTo>
                  <a:cubicBezTo>
                    <a:pt x="13" y="156"/>
                    <a:pt x="10" y="155"/>
                    <a:pt x="11" y="158"/>
                  </a:cubicBezTo>
                  <a:cubicBezTo>
                    <a:pt x="11" y="158"/>
                    <a:pt x="12" y="163"/>
                    <a:pt x="10" y="162"/>
                  </a:cubicBezTo>
                  <a:cubicBezTo>
                    <a:pt x="10" y="162"/>
                    <a:pt x="8" y="160"/>
                    <a:pt x="8" y="159"/>
                  </a:cubicBezTo>
                  <a:cubicBezTo>
                    <a:pt x="6" y="158"/>
                    <a:pt x="7" y="157"/>
                    <a:pt x="5" y="158"/>
                  </a:cubicBezTo>
                  <a:cubicBezTo>
                    <a:pt x="5" y="158"/>
                    <a:pt x="4" y="159"/>
                    <a:pt x="4" y="159"/>
                  </a:cubicBezTo>
                  <a:cubicBezTo>
                    <a:pt x="4" y="160"/>
                    <a:pt x="5" y="160"/>
                    <a:pt x="4" y="161"/>
                  </a:cubicBezTo>
                  <a:cubicBezTo>
                    <a:pt x="4" y="162"/>
                    <a:pt x="0" y="162"/>
                    <a:pt x="0" y="164"/>
                  </a:cubicBezTo>
                  <a:cubicBezTo>
                    <a:pt x="0" y="164"/>
                    <a:pt x="1" y="165"/>
                    <a:pt x="2" y="165"/>
                  </a:cubicBezTo>
                  <a:cubicBezTo>
                    <a:pt x="2" y="165"/>
                    <a:pt x="1" y="164"/>
                    <a:pt x="2" y="163"/>
                  </a:cubicBezTo>
                  <a:cubicBezTo>
                    <a:pt x="2" y="163"/>
                    <a:pt x="5" y="165"/>
                    <a:pt x="7" y="164"/>
                  </a:cubicBezTo>
                  <a:cubicBezTo>
                    <a:pt x="11" y="163"/>
                    <a:pt x="5" y="170"/>
                    <a:pt x="7" y="171"/>
                  </a:cubicBezTo>
                  <a:cubicBezTo>
                    <a:pt x="8" y="171"/>
                    <a:pt x="10" y="170"/>
                    <a:pt x="11" y="171"/>
                  </a:cubicBezTo>
                  <a:cubicBezTo>
                    <a:pt x="12" y="171"/>
                    <a:pt x="12" y="174"/>
                    <a:pt x="11" y="173"/>
                  </a:cubicBezTo>
                  <a:cubicBezTo>
                    <a:pt x="11" y="173"/>
                    <a:pt x="8" y="171"/>
                    <a:pt x="8" y="172"/>
                  </a:cubicBezTo>
                  <a:cubicBezTo>
                    <a:pt x="7" y="173"/>
                    <a:pt x="6" y="173"/>
                    <a:pt x="7" y="174"/>
                  </a:cubicBezTo>
                  <a:cubicBezTo>
                    <a:pt x="7" y="174"/>
                    <a:pt x="9" y="176"/>
                    <a:pt x="8" y="176"/>
                  </a:cubicBezTo>
                  <a:cubicBezTo>
                    <a:pt x="7" y="176"/>
                    <a:pt x="7" y="179"/>
                    <a:pt x="7" y="179"/>
                  </a:cubicBezTo>
                  <a:cubicBezTo>
                    <a:pt x="6" y="182"/>
                    <a:pt x="9" y="178"/>
                    <a:pt x="9" y="178"/>
                  </a:cubicBezTo>
                  <a:cubicBezTo>
                    <a:pt x="9" y="178"/>
                    <a:pt x="8" y="183"/>
                    <a:pt x="9" y="182"/>
                  </a:cubicBezTo>
                  <a:cubicBezTo>
                    <a:pt x="9" y="182"/>
                    <a:pt x="8" y="182"/>
                    <a:pt x="8" y="183"/>
                  </a:cubicBezTo>
                  <a:cubicBezTo>
                    <a:pt x="7" y="184"/>
                    <a:pt x="8" y="184"/>
                    <a:pt x="9" y="185"/>
                  </a:cubicBezTo>
                  <a:cubicBezTo>
                    <a:pt x="9" y="185"/>
                    <a:pt x="7" y="186"/>
                    <a:pt x="7" y="186"/>
                  </a:cubicBezTo>
                  <a:cubicBezTo>
                    <a:pt x="6" y="186"/>
                    <a:pt x="7" y="186"/>
                    <a:pt x="7" y="187"/>
                  </a:cubicBezTo>
                  <a:cubicBezTo>
                    <a:pt x="6" y="189"/>
                    <a:pt x="10" y="189"/>
                    <a:pt x="10" y="188"/>
                  </a:cubicBezTo>
                  <a:cubicBezTo>
                    <a:pt x="10" y="189"/>
                    <a:pt x="9" y="189"/>
                    <a:pt x="10" y="190"/>
                  </a:cubicBezTo>
                  <a:cubicBezTo>
                    <a:pt x="10" y="190"/>
                    <a:pt x="10" y="190"/>
                    <a:pt x="10" y="190"/>
                  </a:cubicBezTo>
                  <a:cubicBezTo>
                    <a:pt x="10" y="191"/>
                    <a:pt x="8" y="192"/>
                    <a:pt x="8" y="193"/>
                  </a:cubicBezTo>
                  <a:cubicBezTo>
                    <a:pt x="7" y="195"/>
                    <a:pt x="10" y="192"/>
                    <a:pt x="11" y="192"/>
                  </a:cubicBezTo>
                  <a:cubicBezTo>
                    <a:pt x="10" y="193"/>
                    <a:pt x="11" y="194"/>
                    <a:pt x="11" y="194"/>
                  </a:cubicBezTo>
                  <a:cubicBezTo>
                    <a:pt x="11" y="195"/>
                    <a:pt x="8" y="196"/>
                    <a:pt x="8" y="196"/>
                  </a:cubicBezTo>
                  <a:cubicBezTo>
                    <a:pt x="10" y="197"/>
                    <a:pt x="10" y="196"/>
                    <a:pt x="11" y="198"/>
                  </a:cubicBezTo>
                  <a:cubicBezTo>
                    <a:pt x="12" y="200"/>
                    <a:pt x="14" y="195"/>
                    <a:pt x="13" y="195"/>
                  </a:cubicBezTo>
                  <a:cubicBezTo>
                    <a:pt x="14" y="195"/>
                    <a:pt x="14" y="196"/>
                    <a:pt x="15" y="197"/>
                  </a:cubicBezTo>
                  <a:cubicBezTo>
                    <a:pt x="15" y="197"/>
                    <a:pt x="15" y="195"/>
                    <a:pt x="15" y="195"/>
                  </a:cubicBezTo>
                  <a:cubicBezTo>
                    <a:pt x="15" y="195"/>
                    <a:pt x="15" y="197"/>
                    <a:pt x="15" y="197"/>
                  </a:cubicBezTo>
                  <a:cubicBezTo>
                    <a:pt x="16" y="196"/>
                    <a:pt x="16" y="195"/>
                    <a:pt x="16" y="196"/>
                  </a:cubicBezTo>
                  <a:cubicBezTo>
                    <a:pt x="17" y="196"/>
                    <a:pt x="16" y="198"/>
                    <a:pt x="16" y="198"/>
                  </a:cubicBezTo>
                  <a:cubicBezTo>
                    <a:pt x="15" y="199"/>
                    <a:pt x="17" y="199"/>
                    <a:pt x="16" y="200"/>
                  </a:cubicBezTo>
                  <a:cubicBezTo>
                    <a:pt x="15" y="202"/>
                    <a:pt x="17" y="201"/>
                    <a:pt x="18" y="202"/>
                  </a:cubicBezTo>
                  <a:cubicBezTo>
                    <a:pt x="21" y="202"/>
                    <a:pt x="24" y="204"/>
                    <a:pt x="21" y="206"/>
                  </a:cubicBezTo>
                  <a:cubicBezTo>
                    <a:pt x="20" y="207"/>
                    <a:pt x="17" y="206"/>
                    <a:pt x="16" y="207"/>
                  </a:cubicBezTo>
                  <a:cubicBezTo>
                    <a:pt x="15" y="209"/>
                    <a:pt x="18" y="208"/>
                    <a:pt x="19" y="209"/>
                  </a:cubicBezTo>
                  <a:cubicBezTo>
                    <a:pt x="18" y="209"/>
                    <a:pt x="18" y="209"/>
                    <a:pt x="18" y="209"/>
                  </a:cubicBezTo>
                  <a:cubicBezTo>
                    <a:pt x="18" y="209"/>
                    <a:pt x="22" y="212"/>
                    <a:pt x="24" y="210"/>
                  </a:cubicBezTo>
                  <a:cubicBezTo>
                    <a:pt x="25" y="208"/>
                    <a:pt x="23" y="206"/>
                    <a:pt x="25" y="204"/>
                  </a:cubicBezTo>
                  <a:cubicBezTo>
                    <a:pt x="26" y="202"/>
                    <a:pt x="29" y="202"/>
                    <a:pt x="30" y="202"/>
                  </a:cubicBezTo>
                  <a:cubicBezTo>
                    <a:pt x="35" y="199"/>
                    <a:pt x="28" y="199"/>
                    <a:pt x="26" y="199"/>
                  </a:cubicBezTo>
                  <a:cubicBezTo>
                    <a:pt x="24" y="199"/>
                    <a:pt x="21" y="199"/>
                    <a:pt x="19" y="198"/>
                  </a:cubicBezTo>
                  <a:cubicBezTo>
                    <a:pt x="17" y="196"/>
                    <a:pt x="17" y="196"/>
                    <a:pt x="17" y="192"/>
                  </a:cubicBezTo>
                  <a:cubicBezTo>
                    <a:pt x="17" y="188"/>
                    <a:pt x="16" y="191"/>
                    <a:pt x="13" y="189"/>
                  </a:cubicBezTo>
                  <a:cubicBezTo>
                    <a:pt x="12" y="189"/>
                    <a:pt x="12" y="186"/>
                    <a:pt x="12" y="185"/>
                  </a:cubicBezTo>
                  <a:cubicBezTo>
                    <a:pt x="11" y="183"/>
                    <a:pt x="11" y="180"/>
                    <a:pt x="13" y="179"/>
                  </a:cubicBezTo>
                  <a:cubicBezTo>
                    <a:pt x="14" y="178"/>
                    <a:pt x="14" y="178"/>
                    <a:pt x="15" y="177"/>
                  </a:cubicBezTo>
                  <a:cubicBezTo>
                    <a:pt x="15" y="176"/>
                    <a:pt x="16" y="175"/>
                    <a:pt x="17" y="175"/>
                  </a:cubicBezTo>
                  <a:cubicBezTo>
                    <a:pt x="18" y="174"/>
                    <a:pt x="16" y="171"/>
                    <a:pt x="17" y="169"/>
                  </a:cubicBezTo>
                  <a:cubicBezTo>
                    <a:pt x="17" y="168"/>
                    <a:pt x="19" y="167"/>
                    <a:pt x="20" y="165"/>
                  </a:cubicBezTo>
                  <a:cubicBezTo>
                    <a:pt x="20" y="163"/>
                    <a:pt x="20" y="160"/>
                    <a:pt x="21" y="158"/>
                  </a:cubicBezTo>
                  <a:cubicBezTo>
                    <a:pt x="21" y="156"/>
                    <a:pt x="23" y="156"/>
                    <a:pt x="21" y="154"/>
                  </a:cubicBezTo>
                  <a:cubicBezTo>
                    <a:pt x="20" y="153"/>
                    <a:pt x="17" y="153"/>
                    <a:pt x="21" y="152"/>
                  </a:cubicBezTo>
                  <a:cubicBezTo>
                    <a:pt x="26" y="151"/>
                    <a:pt x="20" y="151"/>
                    <a:pt x="19" y="149"/>
                  </a:cubicBezTo>
                  <a:cubicBezTo>
                    <a:pt x="19" y="146"/>
                    <a:pt x="19" y="142"/>
                    <a:pt x="19" y="140"/>
                  </a:cubicBezTo>
                  <a:cubicBezTo>
                    <a:pt x="19" y="136"/>
                    <a:pt x="19" y="131"/>
                    <a:pt x="19" y="127"/>
                  </a:cubicBezTo>
                  <a:cubicBezTo>
                    <a:pt x="20" y="124"/>
                    <a:pt x="21" y="119"/>
                    <a:pt x="23" y="117"/>
                  </a:cubicBezTo>
                  <a:cubicBezTo>
                    <a:pt x="26" y="114"/>
                    <a:pt x="23" y="109"/>
                    <a:pt x="23" y="106"/>
                  </a:cubicBezTo>
                  <a:cubicBezTo>
                    <a:pt x="23" y="104"/>
                    <a:pt x="24" y="103"/>
                    <a:pt x="26" y="102"/>
                  </a:cubicBezTo>
                  <a:cubicBezTo>
                    <a:pt x="28" y="100"/>
                    <a:pt x="27" y="99"/>
                    <a:pt x="27" y="96"/>
                  </a:cubicBezTo>
                  <a:cubicBezTo>
                    <a:pt x="27" y="92"/>
                    <a:pt x="30" y="89"/>
                    <a:pt x="29" y="85"/>
                  </a:cubicBezTo>
                  <a:cubicBezTo>
                    <a:pt x="29" y="82"/>
                    <a:pt x="28" y="79"/>
                    <a:pt x="27" y="76"/>
                  </a:cubicBezTo>
                  <a:cubicBezTo>
                    <a:pt x="27" y="75"/>
                    <a:pt x="26" y="74"/>
                    <a:pt x="27" y="73"/>
                  </a:cubicBezTo>
                  <a:cubicBezTo>
                    <a:pt x="28" y="72"/>
                    <a:pt x="29" y="68"/>
                    <a:pt x="29" y="67"/>
                  </a:cubicBezTo>
                  <a:cubicBezTo>
                    <a:pt x="29" y="66"/>
                    <a:pt x="28" y="64"/>
                    <a:pt x="30" y="62"/>
                  </a:cubicBezTo>
                  <a:cubicBezTo>
                    <a:pt x="31" y="61"/>
                    <a:pt x="30" y="59"/>
                    <a:pt x="31" y="58"/>
                  </a:cubicBezTo>
                  <a:cubicBezTo>
                    <a:pt x="31" y="56"/>
                    <a:pt x="33" y="55"/>
                    <a:pt x="34" y="54"/>
                  </a:cubicBezTo>
                  <a:cubicBezTo>
                    <a:pt x="34" y="53"/>
                    <a:pt x="37" y="50"/>
                    <a:pt x="37" y="49"/>
                  </a:cubicBezTo>
                  <a:cubicBezTo>
                    <a:pt x="37" y="48"/>
                    <a:pt x="36" y="46"/>
                    <a:pt x="36" y="44"/>
                  </a:cubicBezTo>
                  <a:cubicBezTo>
                    <a:pt x="36" y="42"/>
                    <a:pt x="36" y="41"/>
                    <a:pt x="36" y="39"/>
                  </a:cubicBezTo>
                  <a:cubicBezTo>
                    <a:pt x="36" y="36"/>
                    <a:pt x="37" y="36"/>
                    <a:pt x="40" y="35"/>
                  </a:cubicBezTo>
                  <a:cubicBezTo>
                    <a:pt x="44" y="34"/>
                    <a:pt x="44" y="32"/>
                    <a:pt x="44" y="28"/>
                  </a:cubicBezTo>
                  <a:cubicBezTo>
                    <a:pt x="43" y="29"/>
                    <a:pt x="41" y="29"/>
                    <a:pt x="40" y="28"/>
                  </a:cubicBezTo>
                  <a:cubicBezTo>
                    <a:pt x="40" y="28"/>
                    <a:pt x="40" y="29"/>
                    <a:pt x="40" y="2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1" name="Freeform 626">
              <a:extLst>
                <a:ext uri="{FF2B5EF4-FFF2-40B4-BE49-F238E27FC236}">
                  <a16:creationId xmlns:a16="http://schemas.microsoft.com/office/drawing/2014/main" id="{788887C8-1405-9D14-0B36-F43478BE0642}"/>
                </a:ext>
              </a:extLst>
            </p:cNvPr>
            <p:cNvSpPr>
              <a:spLocks/>
            </p:cNvSpPr>
            <p:nvPr/>
          </p:nvSpPr>
          <p:spPr bwMode="auto">
            <a:xfrm>
              <a:off x="3995696" y="4585640"/>
              <a:ext cx="336192" cy="387935"/>
            </a:xfrm>
            <a:custGeom>
              <a:avLst/>
              <a:gdLst>
                <a:gd name="T0" fmla="*/ 61 w 64"/>
                <a:gd name="T1" fmla="*/ 42 h 70"/>
                <a:gd name="T2" fmla="*/ 58 w 64"/>
                <a:gd name="T3" fmla="*/ 35 h 70"/>
                <a:gd name="T4" fmla="*/ 50 w 64"/>
                <a:gd name="T5" fmla="*/ 35 h 70"/>
                <a:gd name="T6" fmla="*/ 49 w 64"/>
                <a:gd name="T7" fmla="*/ 33 h 70"/>
                <a:gd name="T8" fmla="*/ 47 w 64"/>
                <a:gd name="T9" fmla="*/ 30 h 70"/>
                <a:gd name="T10" fmla="*/ 48 w 64"/>
                <a:gd name="T11" fmla="*/ 28 h 70"/>
                <a:gd name="T12" fmla="*/ 47 w 64"/>
                <a:gd name="T13" fmla="*/ 26 h 70"/>
                <a:gd name="T14" fmla="*/ 47 w 64"/>
                <a:gd name="T15" fmla="*/ 23 h 70"/>
                <a:gd name="T16" fmla="*/ 41 w 64"/>
                <a:gd name="T17" fmla="*/ 21 h 70"/>
                <a:gd name="T18" fmla="*/ 37 w 64"/>
                <a:gd name="T19" fmla="*/ 18 h 70"/>
                <a:gd name="T20" fmla="*/ 33 w 64"/>
                <a:gd name="T21" fmla="*/ 16 h 70"/>
                <a:gd name="T22" fmla="*/ 29 w 64"/>
                <a:gd name="T23" fmla="*/ 16 h 70"/>
                <a:gd name="T24" fmla="*/ 23 w 64"/>
                <a:gd name="T25" fmla="*/ 9 h 70"/>
                <a:gd name="T26" fmla="*/ 23 w 64"/>
                <a:gd name="T27" fmla="*/ 6 h 70"/>
                <a:gd name="T28" fmla="*/ 23 w 64"/>
                <a:gd name="T29" fmla="*/ 4 h 70"/>
                <a:gd name="T30" fmla="*/ 18 w 64"/>
                <a:gd name="T31" fmla="*/ 3 h 70"/>
                <a:gd name="T32" fmla="*/ 10 w 64"/>
                <a:gd name="T33" fmla="*/ 6 h 70"/>
                <a:gd name="T34" fmla="*/ 7 w 64"/>
                <a:gd name="T35" fmla="*/ 9 h 70"/>
                <a:gd name="T36" fmla="*/ 2 w 64"/>
                <a:gd name="T37" fmla="*/ 8 h 70"/>
                <a:gd name="T38" fmla="*/ 6 w 64"/>
                <a:gd name="T39" fmla="*/ 16 h 70"/>
                <a:gd name="T40" fmla="*/ 5 w 64"/>
                <a:gd name="T41" fmla="*/ 23 h 70"/>
                <a:gd name="T42" fmla="*/ 4 w 64"/>
                <a:gd name="T43" fmla="*/ 27 h 70"/>
                <a:gd name="T44" fmla="*/ 3 w 64"/>
                <a:gd name="T45" fmla="*/ 31 h 70"/>
                <a:gd name="T46" fmla="*/ 5 w 64"/>
                <a:gd name="T47" fmla="*/ 35 h 70"/>
                <a:gd name="T48" fmla="*/ 3 w 64"/>
                <a:gd name="T49" fmla="*/ 38 h 70"/>
                <a:gd name="T50" fmla="*/ 4 w 64"/>
                <a:gd name="T51" fmla="*/ 46 h 70"/>
                <a:gd name="T52" fmla="*/ 4 w 64"/>
                <a:gd name="T53" fmla="*/ 49 h 70"/>
                <a:gd name="T54" fmla="*/ 7 w 64"/>
                <a:gd name="T55" fmla="*/ 52 h 70"/>
                <a:gd name="T56" fmla="*/ 7 w 64"/>
                <a:gd name="T57" fmla="*/ 54 h 70"/>
                <a:gd name="T58" fmla="*/ 6 w 64"/>
                <a:gd name="T59" fmla="*/ 56 h 70"/>
                <a:gd name="T60" fmla="*/ 9 w 64"/>
                <a:gd name="T61" fmla="*/ 63 h 70"/>
                <a:gd name="T62" fmla="*/ 13 w 64"/>
                <a:gd name="T63" fmla="*/ 69 h 70"/>
                <a:gd name="T64" fmla="*/ 14 w 64"/>
                <a:gd name="T65" fmla="*/ 67 h 70"/>
                <a:gd name="T66" fmla="*/ 17 w 64"/>
                <a:gd name="T67" fmla="*/ 65 h 70"/>
                <a:gd name="T68" fmla="*/ 20 w 64"/>
                <a:gd name="T69" fmla="*/ 65 h 70"/>
                <a:gd name="T70" fmla="*/ 25 w 64"/>
                <a:gd name="T71" fmla="*/ 65 h 70"/>
                <a:gd name="T72" fmla="*/ 28 w 64"/>
                <a:gd name="T73" fmla="*/ 68 h 70"/>
                <a:gd name="T74" fmla="*/ 31 w 64"/>
                <a:gd name="T75" fmla="*/ 65 h 70"/>
                <a:gd name="T76" fmla="*/ 37 w 64"/>
                <a:gd name="T77" fmla="*/ 64 h 70"/>
                <a:gd name="T78" fmla="*/ 44 w 64"/>
                <a:gd name="T79" fmla="*/ 52 h 70"/>
                <a:gd name="T80" fmla="*/ 52 w 64"/>
                <a:gd name="T81" fmla="*/ 51 h 70"/>
                <a:gd name="T82" fmla="*/ 59 w 64"/>
                <a:gd name="T83" fmla="*/ 54 h 70"/>
                <a:gd name="T84" fmla="*/ 61 w 64"/>
                <a:gd name="T85" fmla="*/ 42 h 70"/>
                <a:gd name="T86" fmla="*/ 61 w 64"/>
                <a:gd name="T87" fmla="*/ 4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4" h="70">
                  <a:moveTo>
                    <a:pt x="61" y="42"/>
                  </a:moveTo>
                  <a:cubicBezTo>
                    <a:pt x="57" y="40"/>
                    <a:pt x="58" y="39"/>
                    <a:pt x="58" y="35"/>
                  </a:cubicBezTo>
                  <a:cubicBezTo>
                    <a:pt x="55" y="35"/>
                    <a:pt x="52" y="35"/>
                    <a:pt x="50" y="35"/>
                  </a:cubicBezTo>
                  <a:cubicBezTo>
                    <a:pt x="48" y="35"/>
                    <a:pt x="49" y="34"/>
                    <a:pt x="49" y="33"/>
                  </a:cubicBezTo>
                  <a:cubicBezTo>
                    <a:pt x="49" y="32"/>
                    <a:pt x="48" y="30"/>
                    <a:pt x="47" y="30"/>
                  </a:cubicBezTo>
                  <a:cubicBezTo>
                    <a:pt x="47" y="29"/>
                    <a:pt x="48" y="29"/>
                    <a:pt x="48" y="28"/>
                  </a:cubicBezTo>
                  <a:cubicBezTo>
                    <a:pt x="49" y="27"/>
                    <a:pt x="48" y="26"/>
                    <a:pt x="47" y="26"/>
                  </a:cubicBezTo>
                  <a:cubicBezTo>
                    <a:pt x="47" y="25"/>
                    <a:pt x="48" y="24"/>
                    <a:pt x="47" y="23"/>
                  </a:cubicBezTo>
                  <a:cubicBezTo>
                    <a:pt x="45" y="21"/>
                    <a:pt x="43" y="21"/>
                    <a:pt x="41" y="21"/>
                  </a:cubicBezTo>
                  <a:cubicBezTo>
                    <a:pt x="40" y="21"/>
                    <a:pt x="38" y="19"/>
                    <a:pt x="37" y="18"/>
                  </a:cubicBezTo>
                  <a:cubicBezTo>
                    <a:pt x="35" y="18"/>
                    <a:pt x="34" y="16"/>
                    <a:pt x="33" y="16"/>
                  </a:cubicBezTo>
                  <a:cubicBezTo>
                    <a:pt x="31" y="16"/>
                    <a:pt x="30" y="16"/>
                    <a:pt x="29" y="16"/>
                  </a:cubicBezTo>
                  <a:cubicBezTo>
                    <a:pt x="27" y="16"/>
                    <a:pt x="23" y="11"/>
                    <a:pt x="23" y="9"/>
                  </a:cubicBezTo>
                  <a:cubicBezTo>
                    <a:pt x="23" y="8"/>
                    <a:pt x="23" y="7"/>
                    <a:pt x="23" y="6"/>
                  </a:cubicBezTo>
                  <a:cubicBezTo>
                    <a:pt x="23" y="5"/>
                    <a:pt x="23" y="5"/>
                    <a:pt x="23" y="4"/>
                  </a:cubicBezTo>
                  <a:cubicBezTo>
                    <a:pt x="23" y="0"/>
                    <a:pt x="21" y="2"/>
                    <a:pt x="18" y="3"/>
                  </a:cubicBezTo>
                  <a:cubicBezTo>
                    <a:pt x="15" y="3"/>
                    <a:pt x="13" y="6"/>
                    <a:pt x="10" y="6"/>
                  </a:cubicBezTo>
                  <a:cubicBezTo>
                    <a:pt x="8" y="6"/>
                    <a:pt x="8" y="8"/>
                    <a:pt x="7" y="9"/>
                  </a:cubicBezTo>
                  <a:cubicBezTo>
                    <a:pt x="6" y="9"/>
                    <a:pt x="3" y="8"/>
                    <a:pt x="2" y="8"/>
                  </a:cubicBezTo>
                  <a:cubicBezTo>
                    <a:pt x="4" y="9"/>
                    <a:pt x="5" y="14"/>
                    <a:pt x="6" y="16"/>
                  </a:cubicBezTo>
                  <a:cubicBezTo>
                    <a:pt x="4" y="17"/>
                    <a:pt x="5" y="21"/>
                    <a:pt x="5" y="23"/>
                  </a:cubicBezTo>
                  <a:cubicBezTo>
                    <a:pt x="5" y="25"/>
                    <a:pt x="5" y="26"/>
                    <a:pt x="4" y="27"/>
                  </a:cubicBezTo>
                  <a:cubicBezTo>
                    <a:pt x="3" y="28"/>
                    <a:pt x="3" y="30"/>
                    <a:pt x="3" y="31"/>
                  </a:cubicBezTo>
                  <a:cubicBezTo>
                    <a:pt x="2" y="33"/>
                    <a:pt x="5" y="33"/>
                    <a:pt x="5" y="35"/>
                  </a:cubicBezTo>
                  <a:cubicBezTo>
                    <a:pt x="5" y="36"/>
                    <a:pt x="3" y="37"/>
                    <a:pt x="3" y="38"/>
                  </a:cubicBezTo>
                  <a:cubicBezTo>
                    <a:pt x="0" y="41"/>
                    <a:pt x="4" y="42"/>
                    <a:pt x="4" y="46"/>
                  </a:cubicBezTo>
                  <a:cubicBezTo>
                    <a:pt x="4" y="47"/>
                    <a:pt x="4" y="48"/>
                    <a:pt x="4" y="49"/>
                  </a:cubicBezTo>
                  <a:cubicBezTo>
                    <a:pt x="5" y="50"/>
                    <a:pt x="6" y="51"/>
                    <a:pt x="7" y="52"/>
                  </a:cubicBezTo>
                  <a:cubicBezTo>
                    <a:pt x="7" y="53"/>
                    <a:pt x="5" y="53"/>
                    <a:pt x="7" y="54"/>
                  </a:cubicBezTo>
                  <a:cubicBezTo>
                    <a:pt x="7" y="54"/>
                    <a:pt x="6" y="56"/>
                    <a:pt x="6" y="56"/>
                  </a:cubicBezTo>
                  <a:cubicBezTo>
                    <a:pt x="6" y="59"/>
                    <a:pt x="9" y="61"/>
                    <a:pt x="9" y="63"/>
                  </a:cubicBezTo>
                  <a:cubicBezTo>
                    <a:pt x="10" y="66"/>
                    <a:pt x="8" y="69"/>
                    <a:pt x="13" y="69"/>
                  </a:cubicBezTo>
                  <a:cubicBezTo>
                    <a:pt x="14" y="70"/>
                    <a:pt x="14" y="68"/>
                    <a:pt x="14" y="67"/>
                  </a:cubicBezTo>
                  <a:cubicBezTo>
                    <a:pt x="14" y="66"/>
                    <a:pt x="16" y="65"/>
                    <a:pt x="17" y="65"/>
                  </a:cubicBezTo>
                  <a:cubicBezTo>
                    <a:pt x="18" y="64"/>
                    <a:pt x="19" y="63"/>
                    <a:pt x="20" y="65"/>
                  </a:cubicBezTo>
                  <a:cubicBezTo>
                    <a:pt x="22" y="66"/>
                    <a:pt x="24" y="65"/>
                    <a:pt x="25" y="65"/>
                  </a:cubicBezTo>
                  <a:cubicBezTo>
                    <a:pt x="27" y="65"/>
                    <a:pt x="27" y="68"/>
                    <a:pt x="28" y="68"/>
                  </a:cubicBezTo>
                  <a:cubicBezTo>
                    <a:pt x="29" y="68"/>
                    <a:pt x="30" y="66"/>
                    <a:pt x="31" y="65"/>
                  </a:cubicBezTo>
                  <a:cubicBezTo>
                    <a:pt x="32" y="63"/>
                    <a:pt x="36" y="66"/>
                    <a:pt x="37" y="64"/>
                  </a:cubicBezTo>
                  <a:cubicBezTo>
                    <a:pt x="39" y="59"/>
                    <a:pt x="38" y="54"/>
                    <a:pt x="44" y="52"/>
                  </a:cubicBezTo>
                  <a:cubicBezTo>
                    <a:pt x="46" y="51"/>
                    <a:pt x="49" y="51"/>
                    <a:pt x="52" y="51"/>
                  </a:cubicBezTo>
                  <a:cubicBezTo>
                    <a:pt x="55" y="51"/>
                    <a:pt x="57" y="52"/>
                    <a:pt x="59" y="54"/>
                  </a:cubicBezTo>
                  <a:cubicBezTo>
                    <a:pt x="60" y="51"/>
                    <a:pt x="64" y="43"/>
                    <a:pt x="61" y="42"/>
                  </a:cubicBezTo>
                  <a:cubicBezTo>
                    <a:pt x="60" y="41"/>
                    <a:pt x="62" y="42"/>
                    <a:pt x="61" y="4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2" name="Freeform 627">
              <a:extLst>
                <a:ext uri="{FF2B5EF4-FFF2-40B4-BE49-F238E27FC236}">
                  <a16:creationId xmlns:a16="http://schemas.microsoft.com/office/drawing/2014/main" id="{1DE47B7B-61C7-37D3-9DB4-26D9D5AF822C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5252" y="4861926"/>
              <a:ext cx="236050" cy="246007"/>
            </a:xfrm>
            <a:custGeom>
              <a:avLst/>
              <a:gdLst>
                <a:gd name="T0" fmla="*/ 40 w 45"/>
                <a:gd name="T1" fmla="*/ 24 h 44"/>
                <a:gd name="T2" fmla="*/ 36 w 45"/>
                <a:gd name="T3" fmla="*/ 24 h 44"/>
                <a:gd name="T4" fmla="*/ 36 w 45"/>
                <a:gd name="T5" fmla="*/ 20 h 44"/>
                <a:gd name="T6" fmla="*/ 34 w 45"/>
                <a:gd name="T7" fmla="*/ 17 h 44"/>
                <a:gd name="T8" fmla="*/ 29 w 45"/>
                <a:gd name="T9" fmla="*/ 16 h 44"/>
                <a:gd name="T10" fmla="*/ 25 w 45"/>
                <a:gd name="T11" fmla="*/ 15 h 44"/>
                <a:gd name="T12" fmla="*/ 25 w 45"/>
                <a:gd name="T13" fmla="*/ 12 h 44"/>
                <a:gd name="T14" fmla="*/ 24 w 45"/>
                <a:gd name="T15" fmla="*/ 7 h 44"/>
                <a:gd name="T16" fmla="*/ 21 w 45"/>
                <a:gd name="T17" fmla="*/ 3 h 44"/>
                <a:gd name="T18" fmla="*/ 14 w 45"/>
                <a:gd name="T19" fmla="*/ 1 h 44"/>
                <a:gd name="T20" fmla="*/ 5 w 45"/>
                <a:gd name="T21" fmla="*/ 3 h 44"/>
                <a:gd name="T22" fmla="*/ 2 w 45"/>
                <a:gd name="T23" fmla="*/ 11 h 44"/>
                <a:gd name="T24" fmla="*/ 1 w 45"/>
                <a:gd name="T25" fmla="*/ 14 h 44"/>
                <a:gd name="T26" fmla="*/ 2 w 45"/>
                <a:gd name="T27" fmla="*/ 17 h 44"/>
                <a:gd name="T28" fmla="*/ 9 w 45"/>
                <a:gd name="T29" fmla="*/ 24 h 44"/>
                <a:gd name="T30" fmla="*/ 13 w 45"/>
                <a:gd name="T31" fmla="*/ 25 h 44"/>
                <a:gd name="T32" fmla="*/ 17 w 45"/>
                <a:gd name="T33" fmla="*/ 27 h 44"/>
                <a:gd name="T34" fmla="*/ 25 w 45"/>
                <a:gd name="T35" fmla="*/ 35 h 44"/>
                <a:gd name="T36" fmla="*/ 22 w 45"/>
                <a:gd name="T37" fmla="*/ 39 h 44"/>
                <a:gd name="T38" fmla="*/ 20 w 45"/>
                <a:gd name="T39" fmla="*/ 42 h 44"/>
                <a:gd name="T40" fmla="*/ 28 w 45"/>
                <a:gd name="T41" fmla="*/ 44 h 44"/>
                <a:gd name="T42" fmla="*/ 32 w 45"/>
                <a:gd name="T43" fmla="*/ 43 h 44"/>
                <a:gd name="T44" fmla="*/ 37 w 45"/>
                <a:gd name="T45" fmla="*/ 42 h 44"/>
                <a:gd name="T46" fmla="*/ 40 w 45"/>
                <a:gd name="T47" fmla="*/ 39 h 44"/>
                <a:gd name="T48" fmla="*/ 41 w 45"/>
                <a:gd name="T49" fmla="*/ 34 h 44"/>
                <a:gd name="T50" fmla="*/ 40 w 45"/>
                <a:gd name="T51" fmla="*/ 24 h 44"/>
                <a:gd name="T52" fmla="*/ 40 w 45"/>
                <a:gd name="T53" fmla="*/ 2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5" h="44">
                  <a:moveTo>
                    <a:pt x="40" y="24"/>
                  </a:moveTo>
                  <a:cubicBezTo>
                    <a:pt x="39" y="25"/>
                    <a:pt x="37" y="26"/>
                    <a:pt x="36" y="24"/>
                  </a:cubicBezTo>
                  <a:cubicBezTo>
                    <a:pt x="35" y="23"/>
                    <a:pt x="37" y="22"/>
                    <a:pt x="36" y="20"/>
                  </a:cubicBezTo>
                  <a:cubicBezTo>
                    <a:pt x="35" y="19"/>
                    <a:pt x="35" y="18"/>
                    <a:pt x="34" y="17"/>
                  </a:cubicBezTo>
                  <a:cubicBezTo>
                    <a:pt x="31" y="15"/>
                    <a:pt x="31" y="17"/>
                    <a:pt x="29" y="16"/>
                  </a:cubicBezTo>
                  <a:cubicBezTo>
                    <a:pt x="28" y="16"/>
                    <a:pt x="27" y="16"/>
                    <a:pt x="25" y="15"/>
                  </a:cubicBezTo>
                  <a:cubicBezTo>
                    <a:pt x="23" y="15"/>
                    <a:pt x="24" y="13"/>
                    <a:pt x="25" y="12"/>
                  </a:cubicBezTo>
                  <a:cubicBezTo>
                    <a:pt x="25" y="10"/>
                    <a:pt x="24" y="8"/>
                    <a:pt x="24" y="7"/>
                  </a:cubicBezTo>
                  <a:cubicBezTo>
                    <a:pt x="23" y="4"/>
                    <a:pt x="24" y="4"/>
                    <a:pt x="21" y="3"/>
                  </a:cubicBezTo>
                  <a:cubicBezTo>
                    <a:pt x="19" y="1"/>
                    <a:pt x="18" y="0"/>
                    <a:pt x="14" y="1"/>
                  </a:cubicBezTo>
                  <a:cubicBezTo>
                    <a:pt x="11" y="1"/>
                    <a:pt x="7" y="2"/>
                    <a:pt x="5" y="3"/>
                  </a:cubicBezTo>
                  <a:cubicBezTo>
                    <a:pt x="2" y="6"/>
                    <a:pt x="3" y="8"/>
                    <a:pt x="2" y="11"/>
                  </a:cubicBezTo>
                  <a:cubicBezTo>
                    <a:pt x="2" y="12"/>
                    <a:pt x="1" y="13"/>
                    <a:pt x="1" y="14"/>
                  </a:cubicBezTo>
                  <a:cubicBezTo>
                    <a:pt x="0" y="15"/>
                    <a:pt x="1" y="15"/>
                    <a:pt x="2" y="17"/>
                  </a:cubicBezTo>
                  <a:cubicBezTo>
                    <a:pt x="4" y="20"/>
                    <a:pt x="6" y="21"/>
                    <a:pt x="9" y="24"/>
                  </a:cubicBezTo>
                  <a:cubicBezTo>
                    <a:pt x="10" y="25"/>
                    <a:pt x="12" y="25"/>
                    <a:pt x="13" y="25"/>
                  </a:cubicBezTo>
                  <a:cubicBezTo>
                    <a:pt x="15" y="25"/>
                    <a:pt x="16" y="26"/>
                    <a:pt x="17" y="27"/>
                  </a:cubicBezTo>
                  <a:cubicBezTo>
                    <a:pt x="19" y="28"/>
                    <a:pt x="27" y="31"/>
                    <a:pt x="25" y="35"/>
                  </a:cubicBezTo>
                  <a:cubicBezTo>
                    <a:pt x="24" y="36"/>
                    <a:pt x="22" y="37"/>
                    <a:pt x="22" y="39"/>
                  </a:cubicBezTo>
                  <a:cubicBezTo>
                    <a:pt x="22" y="41"/>
                    <a:pt x="22" y="41"/>
                    <a:pt x="20" y="42"/>
                  </a:cubicBezTo>
                  <a:cubicBezTo>
                    <a:pt x="19" y="44"/>
                    <a:pt x="27" y="43"/>
                    <a:pt x="28" y="44"/>
                  </a:cubicBezTo>
                  <a:cubicBezTo>
                    <a:pt x="30" y="44"/>
                    <a:pt x="30" y="44"/>
                    <a:pt x="32" y="43"/>
                  </a:cubicBezTo>
                  <a:cubicBezTo>
                    <a:pt x="33" y="41"/>
                    <a:pt x="36" y="43"/>
                    <a:pt x="37" y="42"/>
                  </a:cubicBezTo>
                  <a:cubicBezTo>
                    <a:pt x="38" y="41"/>
                    <a:pt x="39" y="40"/>
                    <a:pt x="40" y="39"/>
                  </a:cubicBezTo>
                  <a:cubicBezTo>
                    <a:pt x="41" y="37"/>
                    <a:pt x="40" y="35"/>
                    <a:pt x="41" y="34"/>
                  </a:cubicBezTo>
                  <a:cubicBezTo>
                    <a:pt x="41" y="32"/>
                    <a:pt x="45" y="24"/>
                    <a:pt x="40" y="24"/>
                  </a:cubicBezTo>
                  <a:cubicBezTo>
                    <a:pt x="40" y="25"/>
                    <a:pt x="41" y="24"/>
                    <a:pt x="40" y="2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3" name="Freeform 628">
              <a:extLst>
                <a:ext uri="{FF2B5EF4-FFF2-40B4-BE49-F238E27FC236}">
                  <a16:creationId xmlns:a16="http://schemas.microsoft.com/office/drawing/2014/main" id="{4DF282F8-AE9A-64AB-EB3D-E08C2A9AC9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86614" y="4178782"/>
              <a:ext cx="1042551" cy="1118388"/>
            </a:xfrm>
            <a:custGeom>
              <a:avLst/>
              <a:gdLst>
                <a:gd name="T0" fmla="*/ 188 w 199"/>
                <a:gd name="T1" fmla="*/ 51 h 201"/>
                <a:gd name="T2" fmla="*/ 165 w 199"/>
                <a:gd name="T3" fmla="*/ 41 h 201"/>
                <a:gd name="T4" fmla="*/ 135 w 199"/>
                <a:gd name="T5" fmla="*/ 30 h 201"/>
                <a:gd name="T6" fmla="*/ 122 w 199"/>
                <a:gd name="T7" fmla="*/ 36 h 201"/>
                <a:gd name="T8" fmla="*/ 116 w 199"/>
                <a:gd name="T9" fmla="*/ 29 h 201"/>
                <a:gd name="T10" fmla="*/ 111 w 199"/>
                <a:gd name="T11" fmla="*/ 33 h 201"/>
                <a:gd name="T12" fmla="*/ 120 w 199"/>
                <a:gd name="T13" fmla="*/ 23 h 201"/>
                <a:gd name="T14" fmla="*/ 116 w 199"/>
                <a:gd name="T15" fmla="*/ 8 h 201"/>
                <a:gd name="T16" fmla="*/ 105 w 199"/>
                <a:gd name="T17" fmla="*/ 15 h 201"/>
                <a:gd name="T18" fmla="*/ 93 w 199"/>
                <a:gd name="T19" fmla="*/ 14 h 201"/>
                <a:gd name="T20" fmla="*/ 77 w 199"/>
                <a:gd name="T21" fmla="*/ 19 h 201"/>
                <a:gd name="T22" fmla="*/ 69 w 199"/>
                <a:gd name="T23" fmla="*/ 1 h 201"/>
                <a:gd name="T24" fmla="*/ 56 w 199"/>
                <a:gd name="T25" fmla="*/ 7 h 201"/>
                <a:gd name="T26" fmla="*/ 50 w 199"/>
                <a:gd name="T27" fmla="*/ 11 h 201"/>
                <a:gd name="T28" fmla="*/ 51 w 199"/>
                <a:gd name="T29" fmla="*/ 16 h 201"/>
                <a:gd name="T30" fmla="*/ 41 w 199"/>
                <a:gd name="T31" fmla="*/ 22 h 201"/>
                <a:gd name="T32" fmla="*/ 27 w 199"/>
                <a:gd name="T33" fmla="*/ 18 h 201"/>
                <a:gd name="T34" fmla="*/ 25 w 199"/>
                <a:gd name="T35" fmla="*/ 21 h 201"/>
                <a:gd name="T36" fmla="*/ 22 w 199"/>
                <a:gd name="T37" fmla="*/ 39 h 201"/>
                <a:gd name="T38" fmla="*/ 10 w 199"/>
                <a:gd name="T39" fmla="*/ 49 h 201"/>
                <a:gd name="T40" fmla="*/ 2 w 199"/>
                <a:gd name="T41" fmla="*/ 66 h 201"/>
                <a:gd name="T42" fmla="*/ 9 w 199"/>
                <a:gd name="T43" fmla="*/ 75 h 201"/>
                <a:gd name="T44" fmla="*/ 24 w 199"/>
                <a:gd name="T45" fmla="*/ 81 h 201"/>
                <a:gd name="T46" fmla="*/ 39 w 199"/>
                <a:gd name="T47" fmla="*/ 76 h 201"/>
                <a:gd name="T48" fmla="*/ 49 w 199"/>
                <a:gd name="T49" fmla="*/ 88 h 201"/>
                <a:gd name="T50" fmla="*/ 61 w 199"/>
                <a:gd name="T51" fmla="*/ 94 h 201"/>
                <a:gd name="T52" fmla="*/ 68 w 199"/>
                <a:gd name="T53" fmla="*/ 102 h 201"/>
                <a:gd name="T54" fmla="*/ 80 w 199"/>
                <a:gd name="T55" fmla="*/ 114 h 201"/>
                <a:gd name="T56" fmla="*/ 82 w 199"/>
                <a:gd name="T57" fmla="*/ 135 h 201"/>
                <a:gd name="T58" fmla="*/ 93 w 199"/>
                <a:gd name="T59" fmla="*/ 145 h 201"/>
                <a:gd name="T60" fmla="*/ 98 w 199"/>
                <a:gd name="T61" fmla="*/ 157 h 201"/>
                <a:gd name="T62" fmla="*/ 90 w 199"/>
                <a:gd name="T63" fmla="*/ 173 h 201"/>
                <a:gd name="T64" fmla="*/ 86 w 199"/>
                <a:gd name="T65" fmla="*/ 181 h 201"/>
                <a:gd name="T66" fmla="*/ 94 w 199"/>
                <a:gd name="T67" fmla="*/ 187 h 201"/>
                <a:gd name="T68" fmla="*/ 107 w 199"/>
                <a:gd name="T69" fmla="*/ 197 h 201"/>
                <a:gd name="T70" fmla="*/ 119 w 199"/>
                <a:gd name="T71" fmla="*/ 180 h 201"/>
                <a:gd name="T72" fmla="*/ 128 w 199"/>
                <a:gd name="T73" fmla="*/ 157 h 201"/>
                <a:gd name="T74" fmla="*/ 137 w 199"/>
                <a:gd name="T75" fmla="*/ 149 h 201"/>
                <a:gd name="T76" fmla="*/ 144 w 199"/>
                <a:gd name="T77" fmla="*/ 147 h 201"/>
                <a:gd name="T78" fmla="*/ 155 w 199"/>
                <a:gd name="T79" fmla="*/ 142 h 201"/>
                <a:gd name="T80" fmla="*/ 163 w 199"/>
                <a:gd name="T81" fmla="*/ 139 h 201"/>
                <a:gd name="T82" fmla="*/ 169 w 199"/>
                <a:gd name="T83" fmla="*/ 130 h 201"/>
                <a:gd name="T84" fmla="*/ 175 w 199"/>
                <a:gd name="T85" fmla="*/ 116 h 201"/>
                <a:gd name="T86" fmla="*/ 176 w 199"/>
                <a:gd name="T87" fmla="*/ 98 h 201"/>
                <a:gd name="T88" fmla="*/ 178 w 199"/>
                <a:gd name="T89" fmla="*/ 91 h 201"/>
                <a:gd name="T90" fmla="*/ 182 w 199"/>
                <a:gd name="T91" fmla="*/ 86 h 201"/>
                <a:gd name="T92" fmla="*/ 196 w 199"/>
                <a:gd name="T93" fmla="*/ 57 h 201"/>
                <a:gd name="T94" fmla="*/ 110 w 199"/>
                <a:gd name="T95" fmla="*/ 190 h 201"/>
                <a:gd name="T96" fmla="*/ 115 w 199"/>
                <a:gd name="T97" fmla="*/ 186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99" h="201">
                  <a:moveTo>
                    <a:pt x="196" y="57"/>
                  </a:moveTo>
                  <a:cubicBezTo>
                    <a:pt x="195" y="55"/>
                    <a:pt x="195" y="53"/>
                    <a:pt x="194" y="52"/>
                  </a:cubicBezTo>
                  <a:cubicBezTo>
                    <a:pt x="192" y="51"/>
                    <a:pt x="189" y="52"/>
                    <a:pt x="188" y="51"/>
                  </a:cubicBezTo>
                  <a:cubicBezTo>
                    <a:pt x="183" y="50"/>
                    <a:pt x="180" y="46"/>
                    <a:pt x="177" y="44"/>
                  </a:cubicBezTo>
                  <a:cubicBezTo>
                    <a:pt x="175" y="43"/>
                    <a:pt x="173" y="42"/>
                    <a:pt x="172" y="41"/>
                  </a:cubicBezTo>
                  <a:cubicBezTo>
                    <a:pt x="169" y="40"/>
                    <a:pt x="168" y="41"/>
                    <a:pt x="165" y="41"/>
                  </a:cubicBezTo>
                  <a:cubicBezTo>
                    <a:pt x="161" y="42"/>
                    <a:pt x="157" y="37"/>
                    <a:pt x="153" y="39"/>
                  </a:cubicBezTo>
                  <a:cubicBezTo>
                    <a:pt x="150" y="40"/>
                    <a:pt x="147" y="35"/>
                    <a:pt x="145" y="34"/>
                  </a:cubicBezTo>
                  <a:cubicBezTo>
                    <a:pt x="142" y="32"/>
                    <a:pt x="138" y="30"/>
                    <a:pt x="135" y="30"/>
                  </a:cubicBezTo>
                  <a:cubicBezTo>
                    <a:pt x="133" y="29"/>
                    <a:pt x="131" y="29"/>
                    <a:pt x="130" y="30"/>
                  </a:cubicBezTo>
                  <a:cubicBezTo>
                    <a:pt x="129" y="33"/>
                    <a:pt x="126" y="34"/>
                    <a:pt x="125" y="36"/>
                  </a:cubicBezTo>
                  <a:cubicBezTo>
                    <a:pt x="123" y="39"/>
                    <a:pt x="124" y="38"/>
                    <a:pt x="122" y="36"/>
                  </a:cubicBezTo>
                  <a:cubicBezTo>
                    <a:pt x="122" y="36"/>
                    <a:pt x="121" y="35"/>
                    <a:pt x="121" y="35"/>
                  </a:cubicBezTo>
                  <a:cubicBezTo>
                    <a:pt x="119" y="34"/>
                    <a:pt x="120" y="36"/>
                    <a:pt x="119" y="37"/>
                  </a:cubicBezTo>
                  <a:cubicBezTo>
                    <a:pt x="118" y="38"/>
                    <a:pt x="115" y="29"/>
                    <a:pt x="116" y="29"/>
                  </a:cubicBezTo>
                  <a:cubicBezTo>
                    <a:pt x="116" y="29"/>
                    <a:pt x="113" y="33"/>
                    <a:pt x="112" y="33"/>
                  </a:cubicBezTo>
                  <a:cubicBezTo>
                    <a:pt x="112" y="33"/>
                    <a:pt x="116" y="30"/>
                    <a:pt x="115" y="29"/>
                  </a:cubicBezTo>
                  <a:cubicBezTo>
                    <a:pt x="113" y="28"/>
                    <a:pt x="113" y="33"/>
                    <a:pt x="111" y="33"/>
                  </a:cubicBezTo>
                  <a:cubicBezTo>
                    <a:pt x="111" y="33"/>
                    <a:pt x="115" y="27"/>
                    <a:pt x="115" y="26"/>
                  </a:cubicBezTo>
                  <a:cubicBezTo>
                    <a:pt x="115" y="25"/>
                    <a:pt x="117" y="25"/>
                    <a:pt x="117" y="24"/>
                  </a:cubicBezTo>
                  <a:cubicBezTo>
                    <a:pt x="118" y="23"/>
                    <a:pt x="119" y="25"/>
                    <a:pt x="120" y="23"/>
                  </a:cubicBezTo>
                  <a:cubicBezTo>
                    <a:pt x="121" y="22"/>
                    <a:pt x="120" y="22"/>
                    <a:pt x="120" y="20"/>
                  </a:cubicBezTo>
                  <a:cubicBezTo>
                    <a:pt x="121" y="19"/>
                    <a:pt x="121" y="17"/>
                    <a:pt x="119" y="16"/>
                  </a:cubicBezTo>
                  <a:cubicBezTo>
                    <a:pt x="116" y="15"/>
                    <a:pt x="116" y="11"/>
                    <a:pt x="116" y="8"/>
                  </a:cubicBezTo>
                  <a:cubicBezTo>
                    <a:pt x="116" y="7"/>
                    <a:pt x="115" y="6"/>
                    <a:pt x="114" y="5"/>
                  </a:cubicBezTo>
                  <a:cubicBezTo>
                    <a:pt x="113" y="4"/>
                    <a:pt x="112" y="7"/>
                    <a:pt x="111" y="8"/>
                  </a:cubicBezTo>
                  <a:cubicBezTo>
                    <a:pt x="110" y="11"/>
                    <a:pt x="108" y="15"/>
                    <a:pt x="105" y="15"/>
                  </a:cubicBezTo>
                  <a:cubicBezTo>
                    <a:pt x="104" y="15"/>
                    <a:pt x="103" y="14"/>
                    <a:pt x="101" y="14"/>
                  </a:cubicBezTo>
                  <a:cubicBezTo>
                    <a:pt x="100" y="14"/>
                    <a:pt x="99" y="15"/>
                    <a:pt x="98" y="14"/>
                  </a:cubicBezTo>
                  <a:cubicBezTo>
                    <a:pt x="96" y="13"/>
                    <a:pt x="95" y="14"/>
                    <a:pt x="93" y="14"/>
                  </a:cubicBezTo>
                  <a:cubicBezTo>
                    <a:pt x="91" y="14"/>
                    <a:pt x="92" y="14"/>
                    <a:pt x="91" y="16"/>
                  </a:cubicBezTo>
                  <a:cubicBezTo>
                    <a:pt x="90" y="17"/>
                    <a:pt x="85" y="16"/>
                    <a:pt x="84" y="17"/>
                  </a:cubicBezTo>
                  <a:cubicBezTo>
                    <a:pt x="82" y="17"/>
                    <a:pt x="79" y="19"/>
                    <a:pt x="77" y="19"/>
                  </a:cubicBezTo>
                  <a:cubicBezTo>
                    <a:pt x="74" y="19"/>
                    <a:pt x="72" y="15"/>
                    <a:pt x="72" y="13"/>
                  </a:cubicBezTo>
                  <a:cubicBezTo>
                    <a:pt x="70" y="10"/>
                    <a:pt x="74" y="8"/>
                    <a:pt x="73" y="5"/>
                  </a:cubicBezTo>
                  <a:cubicBezTo>
                    <a:pt x="72" y="3"/>
                    <a:pt x="71" y="0"/>
                    <a:pt x="69" y="1"/>
                  </a:cubicBezTo>
                  <a:cubicBezTo>
                    <a:pt x="69" y="2"/>
                    <a:pt x="62" y="5"/>
                    <a:pt x="61" y="5"/>
                  </a:cubicBezTo>
                  <a:cubicBezTo>
                    <a:pt x="60" y="5"/>
                    <a:pt x="58" y="5"/>
                    <a:pt x="58" y="6"/>
                  </a:cubicBezTo>
                  <a:cubicBezTo>
                    <a:pt x="57" y="6"/>
                    <a:pt x="57" y="9"/>
                    <a:pt x="56" y="7"/>
                  </a:cubicBezTo>
                  <a:cubicBezTo>
                    <a:pt x="55" y="6"/>
                    <a:pt x="47" y="5"/>
                    <a:pt x="47" y="6"/>
                  </a:cubicBezTo>
                  <a:cubicBezTo>
                    <a:pt x="47" y="6"/>
                    <a:pt x="49" y="7"/>
                    <a:pt x="49" y="7"/>
                  </a:cubicBezTo>
                  <a:cubicBezTo>
                    <a:pt x="50" y="8"/>
                    <a:pt x="50" y="9"/>
                    <a:pt x="50" y="11"/>
                  </a:cubicBezTo>
                  <a:cubicBezTo>
                    <a:pt x="51" y="11"/>
                    <a:pt x="51" y="13"/>
                    <a:pt x="52" y="14"/>
                  </a:cubicBezTo>
                  <a:cubicBezTo>
                    <a:pt x="52" y="14"/>
                    <a:pt x="54" y="14"/>
                    <a:pt x="54" y="14"/>
                  </a:cubicBezTo>
                  <a:cubicBezTo>
                    <a:pt x="54" y="15"/>
                    <a:pt x="52" y="16"/>
                    <a:pt x="51" y="16"/>
                  </a:cubicBezTo>
                  <a:cubicBezTo>
                    <a:pt x="50" y="17"/>
                    <a:pt x="50" y="18"/>
                    <a:pt x="49" y="19"/>
                  </a:cubicBezTo>
                  <a:cubicBezTo>
                    <a:pt x="49" y="19"/>
                    <a:pt x="44" y="23"/>
                    <a:pt x="43" y="22"/>
                  </a:cubicBezTo>
                  <a:cubicBezTo>
                    <a:pt x="43" y="21"/>
                    <a:pt x="42" y="21"/>
                    <a:pt x="41" y="22"/>
                  </a:cubicBezTo>
                  <a:cubicBezTo>
                    <a:pt x="40" y="23"/>
                    <a:pt x="38" y="21"/>
                    <a:pt x="38" y="21"/>
                  </a:cubicBezTo>
                  <a:cubicBezTo>
                    <a:pt x="36" y="20"/>
                    <a:pt x="35" y="16"/>
                    <a:pt x="34" y="16"/>
                  </a:cubicBezTo>
                  <a:cubicBezTo>
                    <a:pt x="32" y="15"/>
                    <a:pt x="29" y="18"/>
                    <a:pt x="27" y="18"/>
                  </a:cubicBezTo>
                  <a:cubicBezTo>
                    <a:pt x="25" y="18"/>
                    <a:pt x="23" y="18"/>
                    <a:pt x="21" y="18"/>
                  </a:cubicBezTo>
                  <a:cubicBezTo>
                    <a:pt x="21" y="18"/>
                    <a:pt x="21" y="20"/>
                    <a:pt x="22" y="20"/>
                  </a:cubicBezTo>
                  <a:cubicBezTo>
                    <a:pt x="22" y="21"/>
                    <a:pt x="24" y="21"/>
                    <a:pt x="25" y="21"/>
                  </a:cubicBezTo>
                  <a:cubicBezTo>
                    <a:pt x="25" y="22"/>
                    <a:pt x="21" y="23"/>
                    <a:pt x="20" y="23"/>
                  </a:cubicBezTo>
                  <a:cubicBezTo>
                    <a:pt x="19" y="24"/>
                    <a:pt x="21" y="27"/>
                    <a:pt x="22" y="28"/>
                  </a:cubicBezTo>
                  <a:cubicBezTo>
                    <a:pt x="24" y="32"/>
                    <a:pt x="24" y="35"/>
                    <a:pt x="22" y="39"/>
                  </a:cubicBezTo>
                  <a:cubicBezTo>
                    <a:pt x="22" y="41"/>
                    <a:pt x="22" y="47"/>
                    <a:pt x="20" y="47"/>
                  </a:cubicBezTo>
                  <a:cubicBezTo>
                    <a:pt x="19" y="48"/>
                    <a:pt x="17" y="47"/>
                    <a:pt x="15" y="48"/>
                  </a:cubicBezTo>
                  <a:cubicBezTo>
                    <a:pt x="14" y="49"/>
                    <a:pt x="11" y="49"/>
                    <a:pt x="10" y="49"/>
                  </a:cubicBezTo>
                  <a:cubicBezTo>
                    <a:pt x="5" y="51"/>
                    <a:pt x="5" y="53"/>
                    <a:pt x="5" y="57"/>
                  </a:cubicBezTo>
                  <a:cubicBezTo>
                    <a:pt x="5" y="59"/>
                    <a:pt x="2" y="59"/>
                    <a:pt x="2" y="60"/>
                  </a:cubicBezTo>
                  <a:cubicBezTo>
                    <a:pt x="2" y="63"/>
                    <a:pt x="0" y="64"/>
                    <a:pt x="2" y="66"/>
                  </a:cubicBezTo>
                  <a:cubicBezTo>
                    <a:pt x="4" y="68"/>
                    <a:pt x="4" y="70"/>
                    <a:pt x="5" y="72"/>
                  </a:cubicBezTo>
                  <a:cubicBezTo>
                    <a:pt x="5" y="73"/>
                    <a:pt x="6" y="73"/>
                    <a:pt x="7" y="73"/>
                  </a:cubicBezTo>
                  <a:cubicBezTo>
                    <a:pt x="8" y="73"/>
                    <a:pt x="8" y="74"/>
                    <a:pt x="9" y="75"/>
                  </a:cubicBezTo>
                  <a:cubicBezTo>
                    <a:pt x="11" y="78"/>
                    <a:pt x="16" y="75"/>
                    <a:pt x="18" y="73"/>
                  </a:cubicBezTo>
                  <a:cubicBezTo>
                    <a:pt x="18" y="76"/>
                    <a:pt x="16" y="81"/>
                    <a:pt x="19" y="82"/>
                  </a:cubicBezTo>
                  <a:cubicBezTo>
                    <a:pt x="20" y="82"/>
                    <a:pt x="23" y="81"/>
                    <a:pt x="24" y="81"/>
                  </a:cubicBezTo>
                  <a:cubicBezTo>
                    <a:pt x="27" y="82"/>
                    <a:pt x="28" y="82"/>
                    <a:pt x="30" y="80"/>
                  </a:cubicBezTo>
                  <a:cubicBezTo>
                    <a:pt x="30" y="79"/>
                    <a:pt x="32" y="79"/>
                    <a:pt x="33" y="79"/>
                  </a:cubicBezTo>
                  <a:cubicBezTo>
                    <a:pt x="35" y="77"/>
                    <a:pt x="37" y="76"/>
                    <a:pt x="39" y="76"/>
                  </a:cubicBezTo>
                  <a:cubicBezTo>
                    <a:pt x="41" y="75"/>
                    <a:pt x="46" y="73"/>
                    <a:pt x="44" y="77"/>
                  </a:cubicBezTo>
                  <a:cubicBezTo>
                    <a:pt x="44" y="79"/>
                    <a:pt x="43" y="81"/>
                    <a:pt x="44" y="83"/>
                  </a:cubicBezTo>
                  <a:cubicBezTo>
                    <a:pt x="45" y="85"/>
                    <a:pt x="47" y="87"/>
                    <a:pt x="49" y="88"/>
                  </a:cubicBezTo>
                  <a:cubicBezTo>
                    <a:pt x="51" y="90"/>
                    <a:pt x="54" y="89"/>
                    <a:pt x="56" y="90"/>
                  </a:cubicBezTo>
                  <a:cubicBezTo>
                    <a:pt x="57" y="91"/>
                    <a:pt x="58" y="92"/>
                    <a:pt x="59" y="92"/>
                  </a:cubicBezTo>
                  <a:cubicBezTo>
                    <a:pt x="60" y="92"/>
                    <a:pt x="61" y="93"/>
                    <a:pt x="61" y="94"/>
                  </a:cubicBezTo>
                  <a:cubicBezTo>
                    <a:pt x="63" y="94"/>
                    <a:pt x="68" y="93"/>
                    <a:pt x="68" y="96"/>
                  </a:cubicBezTo>
                  <a:cubicBezTo>
                    <a:pt x="69" y="98"/>
                    <a:pt x="68" y="98"/>
                    <a:pt x="69" y="100"/>
                  </a:cubicBezTo>
                  <a:cubicBezTo>
                    <a:pt x="70" y="101"/>
                    <a:pt x="69" y="101"/>
                    <a:pt x="68" y="102"/>
                  </a:cubicBezTo>
                  <a:cubicBezTo>
                    <a:pt x="68" y="102"/>
                    <a:pt x="70" y="107"/>
                    <a:pt x="70" y="108"/>
                  </a:cubicBezTo>
                  <a:cubicBezTo>
                    <a:pt x="70" y="109"/>
                    <a:pt x="78" y="108"/>
                    <a:pt x="79" y="108"/>
                  </a:cubicBezTo>
                  <a:cubicBezTo>
                    <a:pt x="79" y="110"/>
                    <a:pt x="78" y="113"/>
                    <a:pt x="80" y="114"/>
                  </a:cubicBezTo>
                  <a:cubicBezTo>
                    <a:pt x="83" y="116"/>
                    <a:pt x="83" y="118"/>
                    <a:pt x="82" y="122"/>
                  </a:cubicBezTo>
                  <a:cubicBezTo>
                    <a:pt x="81" y="124"/>
                    <a:pt x="80" y="127"/>
                    <a:pt x="81" y="130"/>
                  </a:cubicBezTo>
                  <a:cubicBezTo>
                    <a:pt x="81" y="131"/>
                    <a:pt x="82" y="133"/>
                    <a:pt x="82" y="135"/>
                  </a:cubicBezTo>
                  <a:cubicBezTo>
                    <a:pt x="82" y="136"/>
                    <a:pt x="80" y="138"/>
                    <a:pt x="82" y="138"/>
                  </a:cubicBezTo>
                  <a:cubicBezTo>
                    <a:pt x="83" y="139"/>
                    <a:pt x="86" y="140"/>
                    <a:pt x="88" y="139"/>
                  </a:cubicBezTo>
                  <a:cubicBezTo>
                    <a:pt x="90" y="137"/>
                    <a:pt x="94" y="144"/>
                    <a:pt x="93" y="145"/>
                  </a:cubicBezTo>
                  <a:cubicBezTo>
                    <a:pt x="93" y="146"/>
                    <a:pt x="93" y="147"/>
                    <a:pt x="94" y="148"/>
                  </a:cubicBezTo>
                  <a:cubicBezTo>
                    <a:pt x="95" y="149"/>
                    <a:pt x="97" y="147"/>
                    <a:pt x="98" y="148"/>
                  </a:cubicBezTo>
                  <a:cubicBezTo>
                    <a:pt x="102" y="150"/>
                    <a:pt x="98" y="154"/>
                    <a:pt x="98" y="157"/>
                  </a:cubicBezTo>
                  <a:cubicBezTo>
                    <a:pt x="100" y="154"/>
                    <a:pt x="102" y="160"/>
                    <a:pt x="102" y="160"/>
                  </a:cubicBezTo>
                  <a:cubicBezTo>
                    <a:pt x="103" y="164"/>
                    <a:pt x="101" y="165"/>
                    <a:pt x="98" y="166"/>
                  </a:cubicBezTo>
                  <a:cubicBezTo>
                    <a:pt x="94" y="168"/>
                    <a:pt x="92" y="170"/>
                    <a:pt x="90" y="173"/>
                  </a:cubicBezTo>
                  <a:cubicBezTo>
                    <a:pt x="89" y="175"/>
                    <a:pt x="88" y="176"/>
                    <a:pt x="86" y="177"/>
                  </a:cubicBezTo>
                  <a:cubicBezTo>
                    <a:pt x="85" y="179"/>
                    <a:pt x="83" y="180"/>
                    <a:pt x="81" y="182"/>
                  </a:cubicBezTo>
                  <a:cubicBezTo>
                    <a:pt x="83" y="182"/>
                    <a:pt x="85" y="181"/>
                    <a:pt x="86" y="181"/>
                  </a:cubicBezTo>
                  <a:cubicBezTo>
                    <a:pt x="87" y="181"/>
                    <a:pt x="88" y="183"/>
                    <a:pt x="89" y="183"/>
                  </a:cubicBezTo>
                  <a:cubicBezTo>
                    <a:pt x="89" y="184"/>
                    <a:pt x="90" y="185"/>
                    <a:pt x="91" y="186"/>
                  </a:cubicBezTo>
                  <a:cubicBezTo>
                    <a:pt x="92" y="187"/>
                    <a:pt x="93" y="186"/>
                    <a:pt x="94" y="187"/>
                  </a:cubicBezTo>
                  <a:cubicBezTo>
                    <a:pt x="96" y="189"/>
                    <a:pt x="100" y="190"/>
                    <a:pt x="101" y="193"/>
                  </a:cubicBezTo>
                  <a:cubicBezTo>
                    <a:pt x="102" y="195"/>
                    <a:pt x="103" y="199"/>
                    <a:pt x="104" y="201"/>
                  </a:cubicBezTo>
                  <a:cubicBezTo>
                    <a:pt x="105" y="200"/>
                    <a:pt x="106" y="199"/>
                    <a:pt x="107" y="197"/>
                  </a:cubicBezTo>
                  <a:cubicBezTo>
                    <a:pt x="107" y="196"/>
                    <a:pt x="108" y="194"/>
                    <a:pt x="109" y="193"/>
                  </a:cubicBezTo>
                  <a:cubicBezTo>
                    <a:pt x="110" y="190"/>
                    <a:pt x="113" y="189"/>
                    <a:pt x="116" y="187"/>
                  </a:cubicBezTo>
                  <a:cubicBezTo>
                    <a:pt x="118" y="185"/>
                    <a:pt x="118" y="183"/>
                    <a:pt x="119" y="180"/>
                  </a:cubicBezTo>
                  <a:cubicBezTo>
                    <a:pt x="121" y="176"/>
                    <a:pt x="124" y="175"/>
                    <a:pt x="126" y="172"/>
                  </a:cubicBezTo>
                  <a:cubicBezTo>
                    <a:pt x="129" y="169"/>
                    <a:pt x="126" y="165"/>
                    <a:pt x="127" y="161"/>
                  </a:cubicBezTo>
                  <a:cubicBezTo>
                    <a:pt x="128" y="160"/>
                    <a:pt x="128" y="159"/>
                    <a:pt x="128" y="157"/>
                  </a:cubicBezTo>
                  <a:cubicBezTo>
                    <a:pt x="128" y="156"/>
                    <a:pt x="128" y="156"/>
                    <a:pt x="129" y="156"/>
                  </a:cubicBezTo>
                  <a:cubicBezTo>
                    <a:pt x="131" y="155"/>
                    <a:pt x="132" y="153"/>
                    <a:pt x="133" y="152"/>
                  </a:cubicBezTo>
                  <a:cubicBezTo>
                    <a:pt x="134" y="151"/>
                    <a:pt x="135" y="150"/>
                    <a:pt x="137" y="149"/>
                  </a:cubicBezTo>
                  <a:cubicBezTo>
                    <a:pt x="138" y="149"/>
                    <a:pt x="139" y="148"/>
                    <a:pt x="141" y="147"/>
                  </a:cubicBezTo>
                  <a:cubicBezTo>
                    <a:pt x="142" y="147"/>
                    <a:pt x="143" y="148"/>
                    <a:pt x="144" y="148"/>
                  </a:cubicBezTo>
                  <a:cubicBezTo>
                    <a:pt x="145" y="148"/>
                    <a:pt x="144" y="147"/>
                    <a:pt x="144" y="147"/>
                  </a:cubicBezTo>
                  <a:cubicBezTo>
                    <a:pt x="143" y="146"/>
                    <a:pt x="147" y="145"/>
                    <a:pt x="147" y="145"/>
                  </a:cubicBezTo>
                  <a:cubicBezTo>
                    <a:pt x="147" y="145"/>
                    <a:pt x="149" y="142"/>
                    <a:pt x="149" y="143"/>
                  </a:cubicBezTo>
                  <a:cubicBezTo>
                    <a:pt x="150" y="144"/>
                    <a:pt x="155" y="142"/>
                    <a:pt x="155" y="142"/>
                  </a:cubicBezTo>
                  <a:cubicBezTo>
                    <a:pt x="156" y="142"/>
                    <a:pt x="155" y="143"/>
                    <a:pt x="156" y="143"/>
                  </a:cubicBezTo>
                  <a:cubicBezTo>
                    <a:pt x="157" y="143"/>
                    <a:pt x="160" y="143"/>
                    <a:pt x="161" y="142"/>
                  </a:cubicBezTo>
                  <a:cubicBezTo>
                    <a:pt x="162" y="141"/>
                    <a:pt x="162" y="140"/>
                    <a:pt x="163" y="139"/>
                  </a:cubicBezTo>
                  <a:cubicBezTo>
                    <a:pt x="164" y="139"/>
                    <a:pt x="165" y="138"/>
                    <a:pt x="165" y="137"/>
                  </a:cubicBezTo>
                  <a:cubicBezTo>
                    <a:pt x="166" y="136"/>
                    <a:pt x="165" y="134"/>
                    <a:pt x="166" y="133"/>
                  </a:cubicBezTo>
                  <a:cubicBezTo>
                    <a:pt x="167" y="132"/>
                    <a:pt x="168" y="131"/>
                    <a:pt x="169" y="130"/>
                  </a:cubicBezTo>
                  <a:cubicBezTo>
                    <a:pt x="171" y="127"/>
                    <a:pt x="172" y="126"/>
                    <a:pt x="172" y="123"/>
                  </a:cubicBezTo>
                  <a:cubicBezTo>
                    <a:pt x="172" y="121"/>
                    <a:pt x="172" y="120"/>
                    <a:pt x="173" y="118"/>
                  </a:cubicBezTo>
                  <a:cubicBezTo>
                    <a:pt x="173" y="117"/>
                    <a:pt x="174" y="117"/>
                    <a:pt x="175" y="116"/>
                  </a:cubicBezTo>
                  <a:cubicBezTo>
                    <a:pt x="176" y="115"/>
                    <a:pt x="175" y="113"/>
                    <a:pt x="175" y="112"/>
                  </a:cubicBezTo>
                  <a:cubicBezTo>
                    <a:pt x="175" y="110"/>
                    <a:pt x="176" y="109"/>
                    <a:pt x="176" y="107"/>
                  </a:cubicBezTo>
                  <a:cubicBezTo>
                    <a:pt x="177" y="104"/>
                    <a:pt x="176" y="101"/>
                    <a:pt x="176" y="98"/>
                  </a:cubicBezTo>
                  <a:cubicBezTo>
                    <a:pt x="176" y="96"/>
                    <a:pt x="175" y="94"/>
                    <a:pt x="176" y="93"/>
                  </a:cubicBezTo>
                  <a:cubicBezTo>
                    <a:pt x="177" y="91"/>
                    <a:pt x="176" y="92"/>
                    <a:pt x="176" y="90"/>
                  </a:cubicBezTo>
                  <a:cubicBezTo>
                    <a:pt x="176" y="90"/>
                    <a:pt x="178" y="91"/>
                    <a:pt x="178" y="91"/>
                  </a:cubicBezTo>
                  <a:cubicBezTo>
                    <a:pt x="178" y="91"/>
                    <a:pt x="178" y="90"/>
                    <a:pt x="178" y="90"/>
                  </a:cubicBezTo>
                  <a:cubicBezTo>
                    <a:pt x="178" y="90"/>
                    <a:pt x="179" y="90"/>
                    <a:pt x="179" y="90"/>
                  </a:cubicBezTo>
                  <a:cubicBezTo>
                    <a:pt x="181" y="90"/>
                    <a:pt x="182" y="87"/>
                    <a:pt x="182" y="86"/>
                  </a:cubicBezTo>
                  <a:cubicBezTo>
                    <a:pt x="183" y="85"/>
                    <a:pt x="184" y="83"/>
                    <a:pt x="185" y="81"/>
                  </a:cubicBezTo>
                  <a:cubicBezTo>
                    <a:pt x="187" y="79"/>
                    <a:pt x="189" y="79"/>
                    <a:pt x="190" y="77"/>
                  </a:cubicBezTo>
                  <a:cubicBezTo>
                    <a:pt x="195" y="71"/>
                    <a:pt x="199" y="64"/>
                    <a:pt x="196" y="57"/>
                  </a:cubicBezTo>
                  <a:cubicBezTo>
                    <a:pt x="194" y="53"/>
                    <a:pt x="198" y="60"/>
                    <a:pt x="196" y="57"/>
                  </a:cubicBezTo>
                  <a:close/>
                  <a:moveTo>
                    <a:pt x="115" y="186"/>
                  </a:moveTo>
                  <a:cubicBezTo>
                    <a:pt x="113" y="187"/>
                    <a:pt x="112" y="189"/>
                    <a:pt x="110" y="190"/>
                  </a:cubicBezTo>
                  <a:cubicBezTo>
                    <a:pt x="107" y="191"/>
                    <a:pt x="112" y="188"/>
                    <a:pt x="112" y="187"/>
                  </a:cubicBezTo>
                  <a:cubicBezTo>
                    <a:pt x="113" y="186"/>
                    <a:pt x="114" y="184"/>
                    <a:pt x="116" y="182"/>
                  </a:cubicBezTo>
                  <a:cubicBezTo>
                    <a:pt x="118" y="180"/>
                    <a:pt x="117" y="184"/>
                    <a:pt x="115" y="186"/>
                  </a:cubicBezTo>
                  <a:cubicBezTo>
                    <a:pt x="115" y="186"/>
                    <a:pt x="116" y="185"/>
                    <a:pt x="115" y="18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4" name="Freeform 629">
              <a:extLst>
                <a:ext uri="{FF2B5EF4-FFF2-40B4-BE49-F238E27FC236}">
                  <a16:creationId xmlns:a16="http://schemas.microsoft.com/office/drawing/2014/main" id="{A0D2FE44-639E-DB92-0975-3AE81B28096D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0758" y="5179843"/>
              <a:ext cx="141272" cy="155174"/>
            </a:xfrm>
            <a:custGeom>
              <a:avLst/>
              <a:gdLst>
                <a:gd name="T0" fmla="*/ 21 w 27"/>
                <a:gd name="T1" fmla="*/ 10 h 28"/>
                <a:gd name="T2" fmla="*/ 17 w 27"/>
                <a:gd name="T3" fmla="*/ 7 h 28"/>
                <a:gd name="T4" fmla="*/ 14 w 27"/>
                <a:gd name="T5" fmla="*/ 6 h 28"/>
                <a:gd name="T6" fmla="*/ 11 w 27"/>
                <a:gd name="T7" fmla="*/ 3 h 28"/>
                <a:gd name="T8" fmla="*/ 6 w 27"/>
                <a:gd name="T9" fmla="*/ 2 h 28"/>
                <a:gd name="T10" fmla="*/ 4 w 27"/>
                <a:gd name="T11" fmla="*/ 3 h 28"/>
                <a:gd name="T12" fmla="*/ 3 w 27"/>
                <a:gd name="T13" fmla="*/ 6 h 28"/>
                <a:gd name="T14" fmla="*/ 3 w 27"/>
                <a:gd name="T15" fmla="*/ 12 h 28"/>
                <a:gd name="T16" fmla="*/ 2 w 27"/>
                <a:gd name="T17" fmla="*/ 17 h 28"/>
                <a:gd name="T18" fmla="*/ 1 w 27"/>
                <a:gd name="T19" fmla="*/ 22 h 28"/>
                <a:gd name="T20" fmla="*/ 4 w 27"/>
                <a:gd name="T21" fmla="*/ 25 h 28"/>
                <a:gd name="T22" fmla="*/ 9 w 27"/>
                <a:gd name="T23" fmla="*/ 26 h 28"/>
                <a:gd name="T24" fmla="*/ 13 w 27"/>
                <a:gd name="T25" fmla="*/ 28 h 28"/>
                <a:gd name="T26" fmla="*/ 19 w 27"/>
                <a:gd name="T27" fmla="*/ 28 h 28"/>
                <a:gd name="T28" fmla="*/ 24 w 27"/>
                <a:gd name="T29" fmla="*/ 25 h 28"/>
                <a:gd name="T30" fmla="*/ 26 w 27"/>
                <a:gd name="T31" fmla="*/ 19 h 28"/>
                <a:gd name="T32" fmla="*/ 24 w 27"/>
                <a:gd name="T33" fmla="*/ 14 h 28"/>
                <a:gd name="T34" fmla="*/ 21 w 27"/>
                <a:gd name="T35" fmla="*/ 10 h 28"/>
                <a:gd name="T36" fmla="*/ 21 w 27"/>
                <a:gd name="T37" fmla="*/ 1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7" h="28">
                  <a:moveTo>
                    <a:pt x="21" y="10"/>
                  </a:moveTo>
                  <a:cubicBezTo>
                    <a:pt x="20" y="8"/>
                    <a:pt x="18" y="8"/>
                    <a:pt x="17" y="7"/>
                  </a:cubicBezTo>
                  <a:cubicBezTo>
                    <a:pt x="16" y="6"/>
                    <a:pt x="15" y="7"/>
                    <a:pt x="14" y="6"/>
                  </a:cubicBezTo>
                  <a:cubicBezTo>
                    <a:pt x="13" y="5"/>
                    <a:pt x="12" y="4"/>
                    <a:pt x="11" y="3"/>
                  </a:cubicBezTo>
                  <a:cubicBezTo>
                    <a:pt x="10" y="0"/>
                    <a:pt x="9" y="1"/>
                    <a:pt x="6" y="2"/>
                  </a:cubicBezTo>
                  <a:cubicBezTo>
                    <a:pt x="5" y="2"/>
                    <a:pt x="5" y="1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3" y="8"/>
                    <a:pt x="3" y="10"/>
                    <a:pt x="3" y="12"/>
                  </a:cubicBezTo>
                  <a:cubicBezTo>
                    <a:pt x="3" y="13"/>
                    <a:pt x="3" y="15"/>
                    <a:pt x="2" y="17"/>
                  </a:cubicBezTo>
                  <a:cubicBezTo>
                    <a:pt x="0" y="19"/>
                    <a:pt x="0" y="19"/>
                    <a:pt x="1" y="22"/>
                  </a:cubicBezTo>
                  <a:cubicBezTo>
                    <a:pt x="2" y="24"/>
                    <a:pt x="2" y="24"/>
                    <a:pt x="4" y="25"/>
                  </a:cubicBezTo>
                  <a:cubicBezTo>
                    <a:pt x="6" y="25"/>
                    <a:pt x="8" y="25"/>
                    <a:pt x="9" y="26"/>
                  </a:cubicBezTo>
                  <a:cubicBezTo>
                    <a:pt x="10" y="26"/>
                    <a:pt x="12" y="28"/>
                    <a:pt x="13" y="28"/>
                  </a:cubicBezTo>
                  <a:cubicBezTo>
                    <a:pt x="15" y="27"/>
                    <a:pt x="17" y="28"/>
                    <a:pt x="19" y="28"/>
                  </a:cubicBezTo>
                  <a:cubicBezTo>
                    <a:pt x="20" y="28"/>
                    <a:pt x="23" y="26"/>
                    <a:pt x="24" y="25"/>
                  </a:cubicBezTo>
                  <a:cubicBezTo>
                    <a:pt x="26" y="23"/>
                    <a:pt x="27" y="21"/>
                    <a:pt x="26" y="19"/>
                  </a:cubicBezTo>
                  <a:cubicBezTo>
                    <a:pt x="25" y="17"/>
                    <a:pt x="25" y="16"/>
                    <a:pt x="24" y="14"/>
                  </a:cubicBezTo>
                  <a:cubicBezTo>
                    <a:pt x="24" y="12"/>
                    <a:pt x="23" y="11"/>
                    <a:pt x="21" y="10"/>
                  </a:cubicBezTo>
                  <a:cubicBezTo>
                    <a:pt x="20" y="9"/>
                    <a:pt x="22" y="10"/>
                    <a:pt x="21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5" name="Freeform 630">
              <a:extLst>
                <a:ext uri="{FF2B5EF4-FFF2-40B4-BE49-F238E27FC236}">
                  <a16:creationId xmlns:a16="http://schemas.microsoft.com/office/drawing/2014/main" id="{4B22E837-4E6C-46B1-A0A8-CB6ED95A489C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6614" y="4935728"/>
              <a:ext cx="540052" cy="993491"/>
            </a:xfrm>
            <a:custGeom>
              <a:avLst/>
              <a:gdLst>
                <a:gd name="T0" fmla="*/ 80 w 103"/>
                <a:gd name="T1" fmla="*/ 52 h 179"/>
                <a:gd name="T2" fmla="*/ 85 w 103"/>
                <a:gd name="T3" fmla="*/ 42 h 179"/>
                <a:gd name="T4" fmla="*/ 102 w 103"/>
                <a:gd name="T5" fmla="*/ 29 h 179"/>
                <a:gd name="T6" fmla="*/ 99 w 103"/>
                <a:gd name="T7" fmla="*/ 21 h 179"/>
                <a:gd name="T8" fmla="*/ 94 w 103"/>
                <a:gd name="T9" fmla="*/ 29 h 179"/>
                <a:gd name="T10" fmla="*/ 82 w 103"/>
                <a:gd name="T11" fmla="*/ 30 h 179"/>
                <a:gd name="T12" fmla="*/ 79 w 103"/>
                <a:gd name="T13" fmla="*/ 28 h 179"/>
                <a:gd name="T14" fmla="*/ 81 w 103"/>
                <a:gd name="T15" fmla="*/ 22 h 179"/>
                <a:gd name="T16" fmla="*/ 64 w 103"/>
                <a:gd name="T17" fmla="*/ 9 h 179"/>
                <a:gd name="T18" fmla="*/ 57 w 103"/>
                <a:gd name="T19" fmla="*/ 2 h 179"/>
                <a:gd name="T20" fmla="*/ 48 w 103"/>
                <a:gd name="T21" fmla="*/ 4 h 179"/>
                <a:gd name="T22" fmla="*/ 39 w 103"/>
                <a:gd name="T23" fmla="*/ 1 h 179"/>
                <a:gd name="T24" fmla="*/ 35 w 103"/>
                <a:gd name="T25" fmla="*/ 9 h 179"/>
                <a:gd name="T26" fmla="*/ 27 w 103"/>
                <a:gd name="T27" fmla="*/ 22 h 179"/>
                <a:gd name="T28" fmla="*/ 25 w 103"/>
                <a:gd name="T29" fmla="*/ 32 h 179"/>
                <a:gd name="T30" fmla="*/ 21 w 103"/>
                <a:gd name="T31" fmla="*/ 39 h 179"/>
                <a:gd name="T32" fmla="*/ 19 w 103"/>
                <a:gd name="T33" fmla="*/ 47 h 179"/>
                <a:gd name="T34" fmla="*/ 17 w 103"/>
                <a:gd name="T35" fmla="*/ 52 h 179"/>
                <a:gd name="T36" fmla="*/ 20 w 103"/>
                <a:gd name="T37" fmla="*/ 61 h 179"/>
                <a:gd name="T38" fmla="*/ 18 w 103"/>
                <a:gd name="T39" fmla="*/ 79 h 179"/>
                <a:gd name="T40" fmla="*/ 15 w 103"/>
                <a:gd name="T41" fmla="*/ 94 h 179"/>
                <a:gd name="T42" fmla="*/ 10 w 103"/>
                <a:gd name="T43" fmla="*/ 117 h 179"/>
                <a:gd name="T44" fmla="*/ 13 w 103"/>
                <a:gd name="T45" fmla="*/ 130 h 179"/>
                <a:gd name="T46" fmla="*/ 12 w 103"/>
                <a:gd name="T47" fmla="*/ 135 h 179"/>
                <a:gd name="T48" fmla="*/ 8 w 103"/>
                <a:gd name="T49" fmla="*/ 147 h 179"/>
                <a:gd name="T50" fmla="*/ 5 w 103"/>
                <a:gd name="T51" fmla="*/ 156 h 179"/>
                <a:gd name="T52" fmla="*/ 8 w 103"/>
                <a:gd name="T53" fmla="*/ 170 h 179"/>
                <a:gd name="T54" fmla="*/ 13 w 103"/>
                <a:gd name="T55" fmla="*/ 176 h 179"/>
                <a:gd name="T56" fmla="*/ 23 w 103"/>
                <a:gd name="T57" fmla="*/ 178 h 179"/>
                <a:gd name="T58" fmla="*/ 27 w 103"/>
                <a:gd name="T59" fmla="*/ 179 h 179"/>
                <a:gd name="T60" fmla="*/ 24 w 103"/>
                <a:gd name="T61" fmla="*/ 169 h 179"/>
                <a:gd name="T62" fmla="*/ 25 w 103"/>
                <a:gd name="T63" fmla="*/ 163 h 179"/>
                <a:gd name="T64" fmla="*/ 28 w 103"/>
                <a:gd name="T65" fmla="*/ 163 h 179"/>
                <a:gd name="T66" fmla="*/ 31 w 103"/>
                <a:gd name="T67" fmla="*/ 157 h 179"/>
                <a:gd name="T68" fmla="*/ 40 w 103"/>
                <a:gd name="T69" fmla="*/ 151 h 179"/>
                <a:gd name="T70" fmla="*/ 41 w 103"/>
                <a:gd name="T71" fmla="*/ 145 h 179"/>
                <a:gd name="T72" fmla="*/ 32 w 103"/>
                <a:gd name="T73" fmla="*/ 140 h 179"/>
                <a:gd name="T74" fmla="*/ 39 w 103"/>
                <a:gd name="T75" fmla="*/ 131 h 179"/>
                <a:gd name="T76" fmla="*/ 43 w 103"/>
                <a:gd name="T77" fmla="*/ 124 h 179"/>
                <a:gd name="T78" fmla="*/ 48 w 103"/>
                <a:gd name="T79" fmla="*/ 116 h 179"/>
                <a:gd name="T80" fmla="*/ 51 w 103"/>
                <a:gd name="T81" fmla="*/ 114 h 179"/>
                <a:gd name="T82" fmla="*/ 45 w 103"/>
                <a:gd name="T83" fmla="*/ 113 h 179"/>
                <a:gd name="T84" fmla="*/ 54 w 103"/>
                <a:gd name="T85" fmla="*/ 108 h 179"/>
                <a:gd name="T86" fmla="*/ 58 w 103"/>
                <a:gd name="T87" fmla="*/ 102 h 179"/>
                <a:gd name="T88" fmla="*/ 59 w 103"/>
                <a:gd name="T89" fmla="*/ 97 h 179"/>
                <a:gd name="T90" fmla="*/ 60 w 103"/>
                <a:gd name="T91" fmla="*/ 96 h 179"/>
                <a:gd name="T92" fmla="*/ 76 w 103"/>
                <a:gd name="T93" fmla="*/ 93 h 179"/>
                <a:gd name="T94" fmla="*/ 84 w 103"/>
                <a:gd name="T95" fmla="*/ 87 h 179"/>
                <a:gd name="T96" fmla="*/ 83 w 103"/>
                <a:gd name="T97" fmla="*/ 78 h 179"/>
                <a:gd name="T98" fmla="*/ 78 w 103"/>
                <a:gd name="T99" fmla="*/ 69 h 179"/>
                <a:gd name="T100" fmla="*/ 78 w 103"/>
                <a:gd name="T101" fmla="*/ 66 h 179"/>
                <a:gd name="T102" fmla="*/ 78 w 103"/>
                <a:gd name="T103" fmla="*/ 62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03" h="179">
                  <a:moveTo>
                    <a:pt x="78" y="62"/>
                  </a:moveTo>
                  <a:cubicBezTo>
                    <a:pt x="81" y="59"/>
                    <a:pt x="79" y="56"/>
                    <a:pt x="80" y="52"/>
                  </a:cubicBezTo>
                  <a:cubicBezTo>
                    <a:pt x="80" y="51"/>
                    <a:pt x="80" y="49"/>
                    <a:pt x="80" y="48"/>
                  </a:cubicBezTo>
                  <a:cubicBezTo>
                    <a:pt x="81" y="45"/>
                    <a:pt x="83" y="44"/>
                    <a:pt x="85" y="42"/>
                  </a:cubicBezTo>
                  <a:cubicBezTo>
                    <a:pt x="89" y="39"/>
                    <a:pt x="91" y="34"/>
                    <a:pt x="95" y="31"/>
                  </a:cubicBezTo>
                  <a:cubicBezTo>
                    <a:pt x="97" y="30"/>
                    <a:pt x="100" y="30"/>
                    <a:pt x="102" y="29"/>
                  </a:cubicBezTo>
                  <a:cubicBezTo>
                    <a:pt x="103" y="27"/>
                    <a:pt x="102" y="24"/>
                    <a:pt x="101" y="23"/>
                  </a:cubicBezTo>
                  <a:cubicBezTo>
                    <a:pt x="100" y="21"/>
                    <a:pt x="101" y="21"/>
                    <a:pt x="99" y="21"/>
                  </a:cubicBezTo>
                  <a:cubicBezTo>
                    <a:pt x="97" y="20"/>
                    <a:pt x="98" y="24"/>
                    <a:pt x="97" y="25"/>
                  </a:cubicBezTo>
                  <a:cubicBezTo>
                    <a:pt x="96" y="26"/>
                    <a:pt x="95" y="28"/>
                    <a:pt x="94" y="29"/>
                  </a:cubicBezTo>
                  <a:cubicBezTo>
                    <a:pt x="93" y="30"/>
                    <a:pt x="90" y="29"/>
                    <a:pt x="88" y="30"/>
                  </a:cubicBezTo>
                  <a:cubicBezTo>
                    <a:pt x="87" y="32"/>
                    <a:pt x="84" y="30"/>
                    <a:pt x="82" y="30"/>
                  </a:cubicBezTo>
                  <a:cubicBezTo>
                    <a:pt x="81" y="30"/>
                    <a:pt x="79" y="31"/>
                    <a:pt x="78" y="30"/>
                  </a:cubicBezTo>
                  <a:cubicBezTo>
                    <a:pt x="76" y="30"/>
                    <a:pt x="79" y="28"/>
                    <a:pt x="79" y="28"/>
                  </a:cubicBezTo>
                  <a:cubicBezTo>
                    <a:pt x="80" y="27"/>
                    <a:pt x="79" y="26"/>
                    <a:pt x="79" y="26"/>
                  </a:cubicBezTo>
                  <a:cubicBezTo>
                    <a:pt x="79" y="24"/>
                    <a:pt x="80" y="23"/>
                    <a:pt x="81" y="22"/>
                  </a:cubicBezTo>
                  <a:cubicBezTo>
                    <a:pt x="85" y="18"/>
                    <a:pt x="77" y="16"/>
                    <a:pt x="74" y="14"/>
                  </a:cubicBezTo>
                  <a:cubicBezTo>
                    <a:pt x="71" y="12"/>
                    <a:pt x="67" y="12"/>
                    <a:pt x="64" y="9"/>
                  </a:cubicBezTo>
                  <a:cubicBezTo>
                    <a:pt x="63" y="8"/>
                    <a:pt x="61" y="7"/>
                    <a:pt x="60" y="6"/>
                  </a:cubicBezTo>
                  <a:cubicBezTo>
                    <a:pt x="59" y="4"/>
                    <a:pt x="58" y="2"/>
                    <a:pt x="57" y="2"/>
                  </a:cubicBezTo>
                  <a:cubicBezTo>
                    <a:pt x="56" y="1"/>
                    <a:pt x="53" y="1"/>
                    <a:pt x="52" y="2"/>
                  </a:cubicBezTo>
                  <a:cubicBezTo>
                    <a:pt x="51" y="3"/>
                    <a:pt x="50" y="6"/>
                    <a:pt x="48" y="4"/>
                  </a:cubicBezTo>
                  <a:cubicBezTo>
                    <a:pt x="47" y="2"/>
                    <a:pt x="45" y="2"/>
                    <a:pt x="43" y="2"/>
                  </a:cubicBezTo>
                  <a:cubicBezTo>
                    <a:pt x="41" y="2"/>
                    <a:pt x="41" y="0"/>
                    <a:pt x="39" y="1"/>
                  </a:cubicBezTo>
                  <a:cubicBezTo>
                    <a:pt x="38" y="2"/>
                    <a:pt x="35" y="3"/>
                    <a:pt x="35" y="4"/>
                  </a:cubicBezTo>
                  <a:cubicBezTo>
                    <a:pt x="34" y="6"/>
                    <a:pt x="35" y="8"/>
                    <a:pt x="35" y="9"/>
                  </a:cubicBezTo>
                  <a:cubicBezTo>
                    <a:pt x="34" y="13"/>
                    <a:pt x="31" y="13"/>
                    <a:pt x="28" y="14"/>
                  </a:cubicBezTo>
                  <a:cubicBezTo>
                    <a:pt x="26" y="15"/>
                    <a:pt x="27" y="20"/>
                    <a:pt x="27" y="22"/>
                  </a:cubicBezTo>
                  <a:cubicBezTo>
                    <a:pt x="27" y="24"/>
                    <a:pt x="28" y="26"/>
                    <a:pt x="28" y="27"/>
                  </a:cubicBezTo>
                  <a:cubicBezTo>
                    <a:pt x="28" y="28"/>
                    <a:pt x="25" y="31"/>
                    <a:pt x="25" y="32"/>
                  </a:cubicBezTo>
                  <a:cubicBezTo>
                    <a:pt x="24" y="33"/>
                    <a:pt x="21" y="35"/>
                    <a:pt x="21" y="36"/>
                  </a:cubicBezTo>
                  <a:cubicBezTo>
                    <a:pt x="21" y="37"/>
                    <a:pt x="21" y="38"/>
                    <a:pt x="21" y="39"/>
                  </a:cubicBezTo>
                  <a:cubicBezTo>
                    <a:pt x="21" y="40"/>
                    <a:pt x="20" y="41"/>
                    <a:pt x="20" y="42"/>
                  </a:cubicBezTo>
                  <a:cubicBezTo>
                    <a:pt x="20" y="43"/>
                    <a:pt x="21" y="46"/>
                    <a:pt x="19" y="47"/>
                  </a:cubicBezTo>
                  <a:cubicBezTo>
                    <a:pt x="19" y="48"/>
                    <a:pt x="19" y="50"/>
                    <a:pt x="19" y="51"/>
                  </a:cubicBezTo>
                  <a:cubicBezTo>
                    <a:pt x="18" y="51"/>
                    <a:pt x="17" y="51"/>
                    <a:pt x="17" y="52"/>
                  </a:cubicBezTo>
                  <a:cubicBezTo>
                    <a:pt x="17" y="54"/>
                    <a:pt x="19" y="55"/>
                    <a:pt x="19" y="57"/>
                  </a:cubicBezTo>
                  <a:cubicBezTo>
                    <a:pt x="19" y="58"/>
                    <a:pt x="19" y="60"/>
                    <a:pt x="20" y="61"/>
                  </a:cubicBezTo>
                  <a:cubicBezTo>
                    <a:pt x="22" y="65"/>
                    <a:pt x="18" y="69"/>
                    <a:pt x="18" y="73"/>
                  </a:cubicBezTo>
                  <a:cubicBezTo>
                    <a:pt x="17" y="75"/>
                    <a:pt x="19" y="77"/>
                    <a:pt x="18" y="79"/>
                  </a:cubicBezTo>
                  <a:cubicBezTo>
                    <a:pt x="17" y="80"/>
                    <a:pt x="15" y="81"/>
                    <a:pt x="14" y="83"/>
                  </a:cubicBezTo>
                  <a:cubicBezTo>
                    <a:pt x="13" y="85"/>
                    <a:pt x="17" y="93"/>
                    <a:pt x="15" y="94"/>
                  </a:cubicBezTo>
                  <a:cubicBezTo>
                    <a:pt x="11" y="96"/>
                    <a:pt x="12" y="101"/>
                    <a:pt x="11" y="105"/>
                  </a:cubicBezTo>
                  <a:cubicBezTo>
                    <a:pt x="9" y="108"/>
                    <a:pt x="10" y="113"/>
                    <a:pt x="10" y="117"/>
                  </a:cubicBezTo>
                  <a:cubicBezTo>
                    <a:pt x="10" y="120"/>
                    <a:pt x="10" y="123"/>
                    <a:pt x="10" y="126"/>
                  </a:cubicBezTo>
                  <a:cubicBezTo>
                    <a:pt x="10" y="127"/>
                    <a:pt x="15" y="130"/>
                    <a:pt x="13" y="130"/>
                  </a:cubicBezTo>
                  <a:cubicBezTo>
                    <a:pt x="13" y="130"/>
                    <a:pt x="9" y="131"/>
                    <a:pt x="11" y="132"/>
                  </a:cubicBezTo>
                  <a:cubicBezTo>
                    <a:pt x="13" y="132"/>
                    <a:pt x="13" y="133"/>
                    <a:pt x="12" y="135"/>
                  </a:cubicBezTo>
                  <a:cubicBezTo>
                    <a:pt x="11" y="137"/>
                    <a:pt x="11" y="139"/>
                    <a:pt x="11" y="142"/>
                  </a:cubicBezTo>
                  <a:cubicBezTo>
                    <a:pt x="11" y="144"/>
                    <a:pt x="9" y="145"/>
                    <a:pt x="8" y="147"/>
                  </a:cubicBezTo>
                  <a:cubicBezTo>
                    <a:pt x="7" y="148"/>
                    <a:pt x="8" y="150"/>
                    <a:pt x="8" y="152"/>
                  </a:cubicBezTo>
                  <a:cubicBezTo>
                    <a:pt x="8" y="153"/>
                    <a:pt x="6" y="156"/>
                    <a:pt x="5" y="156"/>
                  </a:cubicBezTo>
                  <a:cubicBezTo>
                    <a:pt x="0" y="158"/>
                    <a:pt x="3" y="164"/>
                    <a:pt x="4" y="167"/>
                  </a:cubicBezTo>
                  <a:cubicBezTo>
                    <a:pt x="5" y="169"/>
                    <a:pt x="8" y="166"/>
                    <a:pt x="8" y="170"/>
                  </a:cubicBezTo>
                  <a:cubicBezTo>
                    <a:pt x="8" y="171"/>
                    <a:pt x="7" y="174"/>
                    <a:pt x="9" y="175"/>
                  </a:cubicBezTo>
                  <a:cubicBezTo>
                    <a:pt x="10" y="176"/>
                    <a:pt x="11" y="176"/>
                    <a:pt x="13" y="176"/>
                  </a:cubicBezTo>
                  <a:cubicBezTo>
                    <a:pt x="15" y="177"/>
                    <a:pt x="18" y="177"/>
                    <a:pt x="20" y="177"/>
                  </a:cubicBezTo>
                  <a:cubicBezTo>
                    <a:pt x="21" y="177"/>
                    <a:pt x="22" y="177"/>
                    <a:pt x="23" y="178"/>
                  </a:cubicBezTo>
                  <a:cubicBezTo>
                    <a:pt x="23" y="177"/>
                    <a:pt x="24" y="177"/>
                    <a:pt x="25" y="177"/>
                  </a:cubicBezTo>
                  <a:cubicBezTo>
                    <a:pt x="25" y="178"/>
                    <a:pt x="27" y="179"/>
                    <a:pt x="27" y="179"/>
                  </a:cubicBezTo>
                  <a:cubicBezTo>
                    <a:pt x="28" y="179"/>
                    <a:pt x="26" y="176"/>
                    <a:pt x="26" y="175"/>
                  </a:cubicBezTo>
                  <a:cubicBezTo>
                    <a:pt x="24" y="173"/>
                    <a:pt x="24" y="171"/>
                    <a:pt x="24" y="169"/>
                  </a:cubicBezTo>
                  <a:cubicBezTo>
                    <a:pt x="24" y="167"/>
                    <a:pt x="24" y="166"/>
                    <a:pt x="27" y="164"/>
                  </a:cubicBezTo>
                  <a:cubicBezTo>
                    <a:pt x="29" y="163"/>
                    <a:pt x="25" y="163"/>
                    <a:pt x="25" y="163"/>
                  </a:cubicBezTo>
                  <a:cubicBezTo>
                    <a:pt x="25" y="163"/>
                    <a:pt x="27" y="162"/>
                    <a:pt x="26" y="162"/>
                  </a:cubicBezTo>
                  <a:cubicBezTo>
                    <a:pt x="27" y="162"/>
                    <a:pt x="27" y="163"/>
                    <a:pt x="28" y="163"/>
                  </a:cubicBezTo>
                  <a:cubicBezTo>
                    <a:pt x="29" y="164"/>
                    <a:pt x="30" y="163"/>
                    <a:pt x="31" y="163"/>
                  </a:cubicBezTo>
                  <a:cubicBezTo>
                    <a:pt x="32" y="161"/>
                    <a:pt x="31" y="159"/>
                    <a:pt x="31" y="157"/>
                  </a:cubicBezTo>
                  <a:cubicBezTo>
                    <a:pt x="32" y="155"/>
                    <a:pt x="34" y="154"/>
                    <a:pt x="37" y="153"/>
                  </a:cubicBezTo>
                  <a:cubicBezTo>
                    <a:pt x="38" y="152"/>
                    <a:pt x="39" y="152"/>
                    <a:pt x="40" y="151"/>
                  </a:cubicBezTo>
                  <a:cubicBezTo>
                    <a:pt x="41" y="150"/>
                    <a:pt x="39" y="149"/>
                    <a:pt x="39" y="149"/>
                  </a:cubicBezTo>
                  <a:cubicBezTo>
                    <a:pt x="39" y="148"/>
                    <a:pt x="42" y="147"/>
                    <a:pt x="41" y="145"/>
                  </a:cubicBezTo>
                  <a:cubicBezTo>
                    <a:pt x="40" y="143"/>
                    <a:pt x="36" y="145"/>
                    <a:pt x="35" y="143"/>
                  </a:cubicBezTo>
                  <a:cubicBezTo>
                    <a:pt x="34" y="142"/>
                    <a:pt x="33" y="142"/>
                    <a:pt x="32" y="140"/>
                  </a:cubicBezTo>
                  <a:cubicBezTo>
                    <a:pt x="31" y="138"/>
                    <a:pt x="33" y="135"/>
                    <a:pt x="34" y="134"/>
                  </a:cubicBezTo>
                  <a:cubicBezTo>
                    <a:pt x="36" y="133"/>
                    <a:pt x="37" y="131"/>
                    <a:pt x="39" y="131"/>
                  </a:cubicBezTo>
                  <a:cubicBezTo>
                    <a:pt x="41" y="130"/>
                    <a:pt x="41" y="132"/>
                    <a:pt x="42" y="129"/>
                  </a:cubicBezTo>
                  <a:cubicBezTo>
                    <a:pt x="42" y="127"/>
                    <a:pt x="44" y="126"/>
                    <a:pt x="43" y="124"/>
                  </a:cubicBezTo>
                  <a:cubicBezTo>
                    <a:pt x="42" y="121"/>
                    <a:pt x="47" y="121"/>
                    <a:pt x="48" y="119"/>
                  </a:cubicBezTo>
                  <a:cubicBezTo>
                    <a:pt x="48" y="119"/>
                    <a:pt x="43" y="115"/>
                    <a:pt x="48" y="116"/>
                  </a:cubicBezTo>
                  <a:cubicBezTo>
                    <a:pt x="49" y="117"/>
                    <a:pt x="49" y="118"/>
                    <a:pt x="50" y="118"/>
                  </a:cubicBezTo>
                  <a:cubicBezTo>
                    <a:pt x="52" y="118"/>
                    <a:pt x="52" y="115"/>
                    <a:pt x="51" y="114"/>
                  </a:cubicBezTo>
                  <a:cubicBezTo>
                    <a:pt x="51" y="113"/>
                    <a:pt x="49" y="115"/>
                    <a:pt x="49" y="115"/>
                  </a:cubicBezTo>
                  <a:cubicBezTo>
                    <a:pt x="47" y="115"/>
                    <a:pt x="45" y="114"/>
                    <a:pt x="45" y="113"/>
                  </a:cubicBezTo>
                  <a:cubicBezTo>
                    <a:pt x="45" y="112"/>
                    <a:pt x="43" y="105"/>
                    <a:pt x="45" y="105"/>
                  </a:cubicBezTo>
                  <a:cubicBezTo>
                    <a:pt x="48" y="106"/>
                    <a:pt x="50" y="108"/>
                    <a:pt x="54" y="108"/>
                  </a:cubicBezTo>
                  <a:cubicBezTo>
                    <a:pt x="55" y="108"/>
                    <a:pt x="56" y="107"/>
                    <a:pt x="57" y="107"/>
                  </a:cubicBezTo>
                  <a:cubicBezTo>
                    <a:pt x="59" y="105"/>
                    <a:pt x="57" y="104"/>
                    <a:pt x="58" y="102"/>
                  </a:cubicBezTo>
                  <a:cubicBezTo>
                    <a:pt x="58" y="101"/>
                    <a:pt x="59" y="100"/>
                    <a:pt x="59" y="100"/>
                  </a:cubicBezTo>
                  <a:cubicBezTo>
                    <a:pt x="60" y="98"/>
                    <a:pt x="59" y="98"/>
                    <a:pt x="59" y="97"/>
                  </a:cubicBezTo>
                  <a:cubicBezTo>
                    <a:pt x="58" y="96"/>
                    <a:pt x="58" y="94"/>
                    <a:pt x="59" y="94"/>
                  </a:cubicBezTo>
                  <a:cubicBezTo>
                    <a:pt x="61" y="94"/>
                    <a:pt x="60" y="96"/>
                    <a:pt x="60" y="96"/>
                  </a:cubicBezTo>
                  <a:cubicBezTo>
                    <a:pt x="59" y="95"/>
                    <a:pt x="65" y="95"/>
                    <a:pt x="65" y="95"/>
                  </a:cubicBezTo>
                  <a:cubicBezTo>
                    <a:pt x="69" y="95"/>
                    <a:pt x="72" y="93"/>
                    <a:pt x="76" y="93"/>
                  </a:cubicBezTo>
                  <a:cubicBezTo>
                    <a:pt x="77" y="92"/>
                    <a:pt x="80" y="91"/>
                    <a:pt x="82" y="90"/>
                  </a:cubicBezTo>
                  <a:cubicBezTo>
                    <a:pt x="83" y="89"/>
                    <a:pt x="83" y="88"/>
                    <a:pt x="84" y="87"/>
                  </a:cubicBezTo>
                  <a:cubicBezTo>
                    <a:pt x="85" y="86"/>
                    <a:pt x="86" y="85"/>
                    <a:pt x="87" y="83"/>
                  </a:cubicBezTo>
                  <a:cubicBezTo>
                    <a:pt x="87" y="80"/>
                    <a:pt x="85" y="80"/>
                    <a:pt x="83" y="78"/>
                  </a:cubicBezTo>
                  <a:cubicBezTo>
                    <a:pt x="82" y="76"/>
                    <a:pt x="85" y="75"/>
                    <a:pt x="83" y="73"/>
                  </a:cubicBezTo>
                  <a:cubicBezTo>
                    <a:pt x="82" y="72"/>
                    <a:pt x="78" y="71"/>
                    <a:pt x="78" y="69"/>
                  </a:cubicBezTo>
                  <a:cubicBezTo>
                    <a:pt x="78" y="69"/>
                    <a:pt x="78" y="68"/>
                    <a:pt x="79" y="68"/>
                  </a:cubicBezTo>
                  <a:cubicBezTo>
                    <a:pt x="79" y="67"/>
                    <a:pt x="78" y="67"/>
                    <a:pt x="78" y="66"/>
                  </a:cubicBezTo>
                  <a:cubicBezTo>
                    <a:pt x="78" y="65"/>
                    <a:pt x="77" y="63"/>
                    <a:pt x="78" y="62"/>
                  </a:cubicBezTo>
                  <a:cubicBezTo>
                    <a:pt x="79" y="61"/>
                    <a:pt x="77" y="63"/>
                    <a:pt x="78" y="6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</p:grpSp>
      <p:grpSp>
        <p:nvGrpSpPr>
          <p:cNvPr id="612" name="Group 611">
            <a:extLst>
              <a:ext uri="{FF2B5EF4-FFF2-40B4-BE49-F238E27FC236}">
                <a16:creationId xmlns:a16="http://schemas.microsoft.com/office/drawing/2014/main" id="{FD32B7D4-4BB8-023E-1FC7-9B9FC4DFD822}"/>
              </a:ext>
            </a:extLst>
          </p:cNvPr>
          <p:cNvGrpSpPr/>
          <p:nvPr/>
        </p:nvGrpSpPr>
        <p:grpSpPr>
          <a:xfrm>
            <a:off x="1417035" y="1160463"/>
            <a:ext cx="4100465" cy="2935054"/>
            <a:chOff x="1417035" y="1160463"/>
            <a:chExt cx="4100465" cy="2935054"/>
          </a:xfrm>
        </p:grpSpPr>
        <p:sp>
          <p:nvSpPr>
            <p:cNvPr id="54" name="Freeform 534">
              <a:extLst>
                <a:ext uri="{FF2B5EF4-FFF2-40B4-BE49-F238E27FC236}">
                  <a16:creationId xmlns:a16="http://schemas.microsoft.com/office/drawing/2014/main" id="{D174106D-CEB5-7B38-6195-B38DC40B9440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4123" y="2801142"/>
              <a:ext cx="82259" cy="43525"/>
            </a:xfrm>
            <a:custGeom>
              <a:avLst/>
              <a:gdLst>
                <a:gd name="T0" fmla="*/ 13 w 16"/>
                <a:gd name="T1" fmla="*/ 6 h 8"/>
                <a:gd name="T2" fmla="*/ 0 w 16"/>
                <a:gd name="T3" fmla="*/ 2 h 8"/>
                <a:gd name="T4" fmla="*/ 13 w 16"/>
                <a:gd name="T5" fmla="*/ 6 h 8"/>
                <a:gd name="T6" fmla="*/ 13 w 16"/>
                <a:gd name="T7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8">
                  <a:moveTo>
                    <a:pt x="13" y="6"/>
                  </a:moveTo>
                  <a:cubicBezTo>
                    <a:pt x="11" y="8"/>
                    <a:pt x="1" y="4"/>
                    <a:pt x="0" y="2"/>
                  </a:cubicBezTo>
                  <a:cubicBezTo>
                    <a:pt x="0" y="0"/>
                    <a:pt x="16" y="4"/>
                    <a:pt x="13" y="6"/>
                  </a:cubicBezTo>
                  <a:cubicBezTo>
                    <a:pt x="12" y="7"/>
                    <a:pt x="14" y="5"/>
                    <a:pt x="13" y="6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7" name="Freeform 537">
              <a:extLst>
                <a:ext uri="{FF2B5EF4-FFF2-40B4-BE49-F238E27FC236}">
                  <a16:creationId xmlns:a16="http://schemas.microsoft.com/office/drawing/2014/main" id="{BD840B81-A5B7-8026-44CC-423DF501D343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7299" y="2333728"/>
              <a:ext cx="16094" cy="32169"/>
            </a:xfrm>
            <a:custGeom>
              <a:avLst/>
              <a:gdLst>
                <a:gd name="T0" fmla="*/ 3 w 3"/>
                <a:gd name="T1" fmla="*/ 4 h 6"/>
                <a:gd name="T2" fmla="*/ 1 w 3"/>
                <a:gd name="T3" fmla="*/ 1 h 6"/>
                <a:gd name="T4" fmla="*/ 1 w 3"/>
                <a:gd name="T5" fmla="*/ 2 h 6"/>
                <a:gd name="T6" fmla="*/ 0 w 3"/>
                <a:gd name="T7" fmla="*/ 2 h 6"/>
                <a:gd name="T8" fmla="*/ 3 w 3"/>
                <a:gd name="T9" fmla="*/ 4 h 6"/>
                <a:gd name="T10" fmla="*/ 3 w 3"/>
                <a:gd name="T11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6">
                  <a:moveTo>
                    <a:pt x="3" y="4"/>
                  </a:moveTo>
                  <a:cubicBezTo>
                    <a:pt x="3" y="3"/>
                    <a:pt x="1" y="0"/>
                    <a:pt x="1" y="1"/>
                  </a:cubicBezTo>
                  <a:cubicBezTo>
                    <a:pt x="1" y="1"/>
                    <a:pt x="1" y="1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3" y="6"/>
                    <a:pt x="3" y="4"/>
                  </a:cubicBezTo>
                  <a:cubicBezTo>
                    <a:pt x="3" y="3"/>
                    <a:pt x="3" y="6"/>
                    <a:pt x="3" y="4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8" name="Freeform 538">
              <a:extLst>
                <a:ext uri="{FF2B5EF4-FFF2-40B4-BE49-F238E27FC236}">
                  <a16:creationId xmlns:a16="http://schemas.microsoft.com/office/drawing/2014/main" id="{63B0BE03-636B-AB86-6AC7-393A9356491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8616" y="2388608"/>
              <a:ext cx="16094" cy="17031"/>
            </a:xfrm>
            <a:custGeom>
              <a:avLst/>
              <a:gdLst>
                <a:gd name="T0" fmla="*/ 2 w 3"/>
                <a:gd name="T1" fmla="*/ 1 h 3"/>
                <a:gd name="T2" fmla="*/ 0 w 3"/>
                <a:gd name="T3" fmla="*/ 2 h 3"/>
                <a:gd name="T4" fmla="*/ 2 w 3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3">
                  <a:moveTo>
                    <a:pt x="2" y="1"/>
                  </a:moveTo>
                  <a:cubicBezTo>
                    <a:pt x="2" y="0"/>
                    <a:pt x="0" y="2"/>
                    <a:pt x="0" y="2"/>
                  </a:cubicBezTo>
                  <a:cubicBezTo>
                    <a:pt x="1" y="3"/>
                    <a:pt x="3" y="2"/>
                    <a:pt x="2" y="1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9" name="Freeform 539">
              <a:extLst>
                <a:ext uri="{FF2B5EF4-FFF2-40B4-BE49-F238E27FC236}">
                  <a16:creationId xmlns:a16="http://schemas.microsoft.com/office/drawing/2014/main" id="{4108B4C5-6BE6-F1DD-D157-C89FD0F54BE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7388" y="2683817"/>
              <a:ext cx="35765" cy="22709"/>
            </a:xfrm>
            <a:custGeom>
              <a:avLst/>
              <a:gdLst>
                <a:gd name="T0" fmla="*/ 7 w 7"/>
                <a:gd name="T1" fmla="*/ 3 h 4"/>
                <a:gd name="T2" fmla="*/ 1 w 7"/>
                <a:gd name="T3" fmla="*/ 1 h 4"/>
                <a:gd name="T4" fmla="*/ 7 w 7"/>
                <a:gd name="T5" fmla="*/ 3 h 4"/>
                <a:gd name="T6" fmla="*/ 7 w 7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4">
                  <a:moveTo>
                    <a:pt x="7" y="3"/>
                  </a:moveTo>
                  <a:cubicBezTo>
                    <a:pt x="7" y="0"/>
                    <a:pt x="3" y="0"/>
                    <a:pt x="1" y="1"/>
                  </a:cubicBezTo>
                  <a:cubicBezTo>
                    <a:pt x="0" y="1"/>
                    <a:pt x="7" y="4"/>
                    <a:pt x="7" y="3"/>
                  </a:cubicBezTo>
                  <a:cubicBezTo>
                    <a:pt x="7" y="0"/>
                    <a:pt x="7" y="4"/>
                    <a:pt x="7" y="3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0" name="Freeform 540">
              <a:extLst>
                <a:ext uri="{FF2B5EF4-FFF2-40B4-BE49-F238E27FC236}">
                  <a16:creationId xmlns:a16="http://schemas.microsoft.com/office/drawing/2014/main" id="{F82AEF79-A56A-235C-BA73-08F6264C96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4611" y="2549459"/>
              <a:ext cx="32188" cy="34061"/>
            </a:xfrm>
            <a:custGeom>
              <a:avLst/>
              <a:gdLst>
                <a:gd name="T0" fmla="*/ 3 w 6"/>
                <a:gd name="T1" fmla="*/ 5 h 6"/>
                <a:gd name="T2" fmla="*/ 0 w 6"/>
                <a:gd name="T3" fmla="*/ 3 h 6"/>
                <a:gd name="T4" fmla="*/ 4 w 6"/>
                <a:gd name="T5" fmla="*/ 2 h 6"/>
                <a:gd name="T6" fmla="*/ 3 w 6"/>
                <a:gd name="T7" fmla="*/ 5 h 6"/>
                <a:gd name="T8" fmla="*/ 3 w 6"/>
                <a:gd name="T9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3" y="5"/>
                  </a:moveTo>
                  <a:cubicBezTo>
                    <a:pt x="2" y="4"/>
                    <a:pt x="1" y="4"/>
                    <a:pt x="0" y="3"/>
                  </a:cubicBezTo>
                  <a:cubicBezTo>
                    <a:pt x="1" y="3"/>
                    <a:pt x="3" y="0"/>
                    <a:pt x="4" y="2"/>
                  </a:cubicBezTo>
                  <a:cubicBezTo>
                    <a:pt x="6" y="3"/>
                    <a:pt x="5" y="6"/>
                    <a:pt x="3" y="5"/>
                  </a:cubicBezTo>
                  <a:cubicBezTo>
                    <a:pt x="2" y="4"/>
                    <a:pt x="4" y="6"/>
                    <a:pt x="3" y="5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1" name="Freeform 541">
              <a:extLst>
                <a:ext uri="{FF2B5EF4-FFF2-40B4-BE49-F238E27FC236}">
                  <a16:creationId xmlns:a16="http://schemas.microsoft.com/office/drawing/2014/main" id="{6F8A30DE-ACBD-6507-6DE8-270BAEF2ED0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8517" y="2311019"/>
              <a:ext cx="32188" cy="39739"/>
            </a:xfrm>
            <a:custGeom>
              <a:avLst/>
              <a:gdLst>
                <a:gd name="T0" fmla="*/ 3 w 6"/>
                <a:gd name="T1" fmla="*/ 6 h 7"/>
                <a:gd name="T2" fmla="*/ 4 w 6"/>
                <a:gd name="T3" fmla="*/ 1 h 7"/>
                <a:gd name="T4" fmla="*/ 3 w 6"/>
                <a:gd name="T5" fmla="*/ 6 h 7"/>
                <a:gd name="T6" fmla="*/ 3 w 6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7">
                  <a:moveTo>
                    <a:pt x="3" y="6"/>
                  </a:moveTo>
                  <a:cubicBezTo>
                    <a:pt x="0" y="7"/>
                    <a:pt x="1" y="0"/>
                    <a:pt x="4" y="1"/>
                  </a:cubicBezTo>
                  <a:cubicBezTo>
                    <a:pt x="6" y="1"/>
                    <a:pt x="5" y="6"/>
                    <a:pt x="3" y="6"/>
                  </a:cubicBezTo>
                  <a:cubicBezTo>
                    <a:pt x="2" y="6"/>
                    <a:pt x="6" y="6"/>
                    <a:pt x="3" y="6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2" name="Freeform 542">
              <a:extLst>
                <a:ext uri="{FF2B5EF4-FFF2-40B4-BE49-F238E27FC236}">
                  <a16:creationId xmlns:a16="http://schemas.microsoft.com/office/drawing/2014/main" id="{66DC0C2B-1E48-7AE2-382E-672E740276C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29105" y="2288312"/>
              <a:ext cx="62589" cy="34061"/>
            </a:xfrm>
            <a:custGeom>
              <a:avLst/>
              <a:gdLst>
                <a:gd name="T0" fmla="*/ 4 w 12"/>
                <a:gd name="T1" fmla="*/ 6 h 6"/>
                <a:gd name="T2" fmla="*/ 1 w 12"/>
                <a:gd name="T3" fmla="*/ 3 h 6"/>
                <a:gd name="T4" fmla="*/ 8 w 12"/>
                <a:gd name="T5" fmla="*/ 0 h 6"/>
                <a:gd name="T6" fmla="*/ 4 w 12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6">
                  <a:moveTo>
                    <a:pt x="4" y="6"/>
                  </a:moveTo>
                  <a:cubicBezTo>
                    <a:pt x="2" y="6"/>
                    <a:pt x="0" y="5"/>
                    <a:pt x="1" y="3"/>
                  </a:cubicBezTo>
                  <a:cubicBezTo>
                    <a:pt x="2" y="1"/>
                    <a:pt x="5" y="1"/>
                    <a:pt x="8" y="0"/>
                  </a:cubicBezTo>
                  <a:cubicBezTo>
                    <a:pt x="12" y="0"/>
                    <a:pt x="6" y="6"/>
                    <a:pt x="4" y="6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3" name="Freeform 543">
              <a:extLst>
                <a:ext uri="{FF2B5EF4-FFF2-40B4-BE49-F238E27FC236}">
                  <a16:creationId xmlns:a16="http://schemas.microsoft.com/office/drawing/2014/main" id="{76DF7697-F079-1537-3634-5ED25CC4A89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1435" y="2267495"/>
              <a:ext cx="35765" cy="15139"/>
            </a:xfrm>
            <a:custGeom>
              <a:avLst/>
              <a:gdLst>
                <a:gd name="T0" fmla="*/ 5 w 7"/>
                <a:gd name="T1" fmla="*/ 3 h 3"/>
                <a:gd name="T2" fmla="*/ 3 w 7"/>
                <a:gd name="T3" fmla="*/ 0 h 3"/>
                <a:gd name="T4" fmla="*/ 7 w 7"/>
                <a:gd name="T5" fmla="*/ 1 h 3"/>
                <a:gd name="T6" fmla="*/ 5 w 7"/>
                <a:gd name="T7" fmla="*/ 3 h 3"/>
                <a:gd name="T8" fmla="*/ 5 w 7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3">
                  <a:moveTo>
                    <a:pt x="5" y="3"/>
                  </a:moveTo>
                  <a:cubicBezTo>
                    <a:pt x="4" y="3"/>
                    <a:pt x="0" y="0"/>
                    <a:pt x="3" y="0"/>
                  </a:cubicBezTo>
                  <a:cubicBezTo>
                    <a:pt x="4" y="0"/>
                    <a:pt x="6" y="0"/>
                    <a:pt x="7" y="1"/>
                  </a:cubicBezTo>
                  <a:cubicBezTo>
                    <a:pt x="7" y="1"/>
                    <a:pt x="6" y="3"/>
                    <a:pt x="5" y="3"/>
                  </a:cubicBezTo>
                  <a:cubicBezTo>
                    <a:pt x="4" y="3"/>
                    <a:pt x="7" y="3"/>
                    <a:pt x="5" y="3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4" name="Freeform 544">
              <a:extLst>
                <a:ext uri="{FF2B5EF4-FFF2-40B4-BE49-F238E27FC236}">
                  <a16:creationId xmlns:a16="http://schemas.microsoft.com/office/drawing/2014/main" id="{BC80D62A-B3F8-FC32-0CE3-4C10455E94D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9691" y="2155846"/>
              <a:ext cx="178826" cy="132467"/>
            </a:xfrm>
            <a:custGeom>
              <a:avLst/>
              <a:gdLst>
                <a:gd name="T0" fmla="*/ 31 w 34"/>
                <a:gd name="T1" fmla="*/ 21 h 24"/>
                <a:gd name="T2" fmla="*/ 25 w 34"/>
                <a:gd name="T3" fmla="*/ 18 h 24"/>
                <a:gd name="T4" fmla="*/ 24 w 34"/>
                <a:gd name="T5" fmla="*/ 16 h 24"/>
                <a:gd name="T6" fmla="*/ 22 w 34"/>
                <a:gd name="T7" fmla="*/ 17 h 24"/>
                <a:gd name="T8" fmla="*/ 18 w 34"/>
                <a:gd name="T9" fmla="*/ 16 h 24"/>
                <a:gd name="T10" fmla="*/ 16 w 34"/>
                <a:gd name="T11" fmla="*/ 19 h 24"/>
                <a:gd name="T12" fmla="*/ 11 w 34"/>
                <a:gd name="T13" fmla="*/ 23 h 24"/>
                <a:gd name="T14" fmla="*/ 8 w 34"/>
                <a:gd name="T15" fmla="*/ 19 h 24"/>
                <a:gd name="T16" fmla="*/ 2 w 34"/>
                <a:gd name="T17" fmla="*/ 19 h 24"/>
                <a:gd name="T18" fmla="*/ 4 w 34"/>
                <a:gd name="T19" fmla="*/ 16 h 24"/>
                <a:gd name="T20" fmla="*/ 5 w 34"/>
                <a:gd name="T21" fmla="*/ 10 h 24"/>
                <a:gd name="T22" fmla="*/ 6 w 34"/>
                <a:gd name="T23" fmla="*/ 3 h 24"/>
                <a:gd name="T24" fmla="*/ 11 w 34"/>
                <a:gd name="T25" fmla="*/ 3 h 24"/>
                <a:gd name="T26" fmla="*/ 12 w 34"/>
                <a:gd name="T27" fmla="*/ 5 h 24"/>
                <a:gd name="T28" fmla="*/ 14 w 34"/>
                <a:gd name="T29" fmla="*/ 4 h 24"/>
                <a:gd name="T30" fmla="*/ 17 w 34"/>
                <a:gd name="T31" fmla="*/ 6 h 24"/>
                <a:gd name="T32" fmla="*/ 20 w 34"/>
                <a:gd name="T33" fmla="*/ 7 h 24"/>
                <a:gd name="T34" fmla="*/ 25 w 34"/>
                <a:gd name="T35" fmla="*/ 10 h 24"/>
                <a:gd name="T36" fmla="*/ 28 w 34"/>
                <a:gd name="T37" fmla="*/ 15 h 24"/>
                <a:gd name="T38" fmla="*/ 30 w 34"/>
                <a:gd name="T39" fmla="*/ 15 h 24"/>
                <a:gd name="T40" fmla="*/ 33 w 34"/>
                <a:gd name="T41" fmla="*/ 17 h 24"/>
                <a:gd name="T42" fmla="*/ 34 w 34"/>
                <a:gd name="T43" fmla="*/ 18 h 24"/>
                <a:gd name="T44" fmla="*/ 31 w 34"/>
                <a:gd name="T45" fmla="*/ 21 h 24"/>
                <a:gd name="T46" fmla="*/ 31 w 34"/>
                <a:gd name="T47" fmla="*/ 2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4" h="24">
                  <a:moveTo>
                    <a:pt x="31" y="21"/>
                  </a:moveTo>
                  <a:cubicBezTo>
                    <a:pt x="30" y="20"/>
                    <a:pt x="27" y="19"/>
                    <a:pt x="25" y="18"/>
                  </a:cubicBezTo>
                  <a:cubicBezTo>
                    <a:pt x="24" y="18"/>
                    <a:pt x="25" y="17"/>
                    <a:pt x="24" y="16"/>
                  </a:cubicBezTo>
                  <a:cubicBezTo>
                    <a:pt x="24" y="16"/>
                    <a:pt x="22" y="17"/>
                    <a:pt x="22" y="17"/>
                  </a:cubicBezTo>
                  <a:cubicBezTo>
                    <a:pt x="20" y="17"/>
                    <a:pt x="20" y="15"/>
                    <a:pt x="18" y="16"/>
                  </a:cubicBezTo>
                  <a:cubicBezTo>
                    <a:pt x="18" y="17"/>
                    <a:pt x="17" y="18"/>
                    <a:pt x="16" y="19"/>
                  </a:cubicBezTo>
                  <a:cubicBezTo>
                    <a:pt x="14" y="20"/>
                    <a:pt x="13" y="22"/>
                    <a:pt x="11" y="23"/>
                  </a:cubicBezTo>
                  <a:cubicBezTo>
                    <a:pt x="8" y="24"/>
                    <a:pt x="10" y="20"/>
                    <a:pt x="8" y="19"/>
                  </a:cubicBezTo>
                  <a:cubicBezTo>
                    <a:pt x="8" y="18"/>
                    <a:pt x="3" y="19"/>
                    <a:pt x="2" y="19"/>
                  </a:cubicBezTo>
                  <a:cubicBezTo>
                    <a:pt x="0" y="19"/>
                    <a:pt x="4" y="16"/>
                    <a:pt x="4" y="16"/>
                  </a:cubicBezTo>
                  <a:cubicBezTo>
                    <a:pt x="6" y="14"/>
                    <a:pt x="5" y="12"/>
                    <a:pt x="5" y="10"/>
                  </a:cubicBezTo>
                  <a:cubicBezTo>
                    <a:pt x="5" y="8"/>
                    <a:pt x="5" y="5"/>
                    <a:pt x="6" y="3"/>
                  </a:cubicBezTo>
                  <a:cubicBezTo>
                    <a:pt x="7" y="0"/>
                    <a:pt x="10" y="0"/>
                    <a:pt x="11" y="3"/>
                  </a:cubicBezTo>
                  <a:cubicBezTo>
                    <a:pt x="11" y="4"/>
                    <a:pt x="11" y="6"/>
                    <a:pt x="12" y="5"/>
                  </a:cubicBezTo>
                  <a:cubicBezTo>
                    <a:pt x="13" y="5"/>
                    <a:pt x="13" y="4"/>
                    <a:pt x="14" y="4"/>
                  </a:cubicBezTo>
                  <a:cubicBezTo>
                    <a:pt x="15" y="5"/>
                    <a:pt x="16" y="6"/>
                    <a:pt x="17" y="6"/>
                  </a:cubicBezTo>
                  <a:cubicBezTo>
                    <a:pt x="18" y="7"/>
                    <a:pt x="19" y="7"/>
                    <a:pt x="20" y="7"/>
                  </a:cubicBezTo>
                  <a:cubicBezTo>
                    <a:pt x="21" y="8"/>
                    <a:pt x="23" y="9"/>
                    <a:pt x="25" y="10"/>
                  </a:cubicBezTo>
                  <a:cubicBezTo>
                    <a:pt x="28" y="11"/>
                    <a:pt x="28" y="12"/>
                    <a:pt x="28" y="15"/>
                  </a:cubicBezTo>
                  <a:cubicBezTo>
                    <a:pt x="28" y="16"/>
                    <a:pt x="30" y="16"/>
                    <a:pt x="30" y="15"/>
                  </a:cubicBezTo>
                  <a:cubicBezTo>
                    <a:pt x="32" y="15"/>
                    <a:pt x="32" y="16"/>
                    <a:pt x="33" y="17"/>
                  </a:cubicBezTo>
                  <a:cubicBezTo>
                    <a:pt x="34" y="17"/>
                    <a:pt x="34" y="17"/>
                    <a:pt x="34" y="18"/>
                  </a:cubicBezTo>
                  <a:cubicBezTo>
                    <a:pt x="33" y="19"/>
                    <a:pt x="33" y="21"/>
                    <a:pt x="31" y="21"/>
                  </a:cubicBezTo>
                  <a:cubicBezTo>
                    <a:pt x="30" y="20"/>
                    <a:pt x="33" y="21"/>
                    <a:pt x="31" y="21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5" name="Freeform 545">
              <a:extLst>
                <a:ext uri="{FF2B5EF4-FFF2-40B4-BE49-F238E27FC236}">
                  <a16:creationId xmlns:a16="http://schemas.microsoft.com/office/drawing/2014/main" id="{8C3DDC36-4817-270A-0848-85AEC715A9D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9435" y="2144490"/>
              <a:ext cx="35765" cy="28387"/>
            </a:xfrm>
            <a:custGeom>
              <a:avLst/>
              <a:gdLst>
                <a:gd name="T0" fmla="*/ 5 w 7"/>
                <a:gd name="T1" fmla="*/ 4 h 5"/>
                <a:gd name="T2" fmla="*/ 1 w 7"/>
                <a:gd name="T3" fmla="*/ 0 h 5"/>
                <a:gd name="T4" fmla="*/ 5 w 7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5">
                  <a:moveTo>
                    <a:pt x="5" y="4"/>
                  </a:moveTo>
                  <a:cubicBezTo>
                    <a:pt x="3" y="5"/>
                    <a:pt x="0" y="0"/>
                    <a:pt x="1" y="0"/>
                  </a:cubicBezTo>
                  <a:cubicBezTo>
                    <a:pt x="2" y="1"/>
                    <a:pt x="7" y="3"/>
                    <a:pt x="5" y="4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6" name="Freeform 546">
              <a:extLst>
                <a:ext uri="{FF2B5EF4-FFF2-40B4-BE49-F238E27FC236}">
                  <a16:creationId xmlns:a16="http://schemas.microsoft.com/office/drawing/2014/main" id="{1ED45BE2-BDA6-FA9F-EFBB-DD61F9A24A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8704" y="2150168"/>
              <a:ext cx="19671" cy="28387"/>
            </a:xfrm>
            <a:custGeom>
              <a:avLst/>
              <a:gdLst>
                <a:gd name="T0" fmla="*/ 3 w 4"/>
                <a:gd name="T1" fmla="*/ 4 h 5"/>
                <a:gd name="T2" fmla="*/ 0 w 4"/>
                <a:gd name="T3" fmla="*/ 1 h 5"/>
                <a:gd name="T4" fmla="*/ 3 w 4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5">
                  <a:moveTo>
                    <a:pt x="3" y="4"/>
                  </a:moveTo>
                  <a:cubicBezTo>
                    <a:pt x="1" y="5"/>
                    <a:pt x="0" y="2"/>
                    <a:pt x="0" y="1"/>
                  </a:cubicBezTo>
                  <a:cubicBezTo>
                    <a:pt x="1" y="0"/>
                    <a:pt x="4" y="3"/>
                    <a:pt x="3" y="4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7" name="Freeform 547">
              <a:extLst>
                <a:ext uri="{FF2B5EF4-FFF2-40B4-BE49-F238E27FC236}">
                  <a16:creationId xmlns:a16="http://schemas.microsoft.com/office/drawing/2014/main" id="{82EAA330-4041-690C-FC65-7F4A01748FC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0421" y="2044198"/>
              <a:ext cx="16094" cy="34061"/>
            </a:xfrm>
            <a:custGeom>
              <a:avLst/>
              <a:gdLst>
                <a:gd name="T0" fmla="*/ 3 w 3"/>
                <a:gd name="T1" fmla="*/ 5 h 6"/>
                <a:gd name="T2" fmla="*/ 3 w 3"/>
                <a:gd name="T3" fmla="*/ 2 h 6"/>
                <a:gd name="T4" fmla="*/ 1 w 3"/>
                <a:gd name="T5" fmla="*/ 1 h 6"/>
                <a:gd name="T6" fmla="*/ 1 w 3"/>
                <a:gd name="T7" fmla="*/ 4 h 6"/>
                <a:gd name="T8" fmla="*/ 3 w 3"/>
                <a:gd name="T9" fmla="*/ 5 h 6"/>
                <a:gd name="T10" fmla="*/ 3 w 3"/>
                <a:gd name="T11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6">
                  <a:moveTo>
                    <a:pt x="3" y="5"/>
                  </a:moveTo>
                  <a:cubicBezTo>
                    <a:pt x="3" y="4"/>
                    <a:pt x="3" y="3"/>
                    <a:pt x="3" y="2"/>
                  </a:cubicBezTo>
                  <a:cubicBezTo>
                    <a:pt x="3" y="2"/>
                    <a:pt x="1" y="0"/>
                    <a:pt x="1" y="1"/>
                  </a:cubicBezTo>
                  <a:cubicBezTo>
                    <a:pt x="1" y="2"/>
                    <a:pt x="0" y="4"/>
                    <a:pt x="1" y="4"/>
                  </a:cubicBezTo>
                  <a:cubicBezTo>
                    <a:pt x="1" y="5"/>
                    <a:pt x="2" y="6"/>
                    <a:pt x="3" y="5"/>
                  </a:cubicBezTo>
                  <a:cubicBezTo>
                    <a:pt x="3" y="4"/>
                    <a:pt x="2" y="6"/>
                    <a:pt x="3" y="5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8" name="Freeform 548">
              <a:extLst>
                <a:ext uri="{FF2B5EF4-FFF2-40B4-BE49-F238E27FC236}">
                  <a16:creationId xmlns:a16="http://schemas.microsoft.com/office/drawing/2014/main" id="{0758D393-88E9-61A4-8C5F-8DA766F9DBDB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1738" y="1754666"/>
              <a:ext cx="754643" cy="584739"/>
            </a:xfrm>
            <a:custGeom>
              <a:avLst/>
              <a:gdLst>
                <a:gd name="T0" fmla="*/ 63 w 144"/>
                <a:gd name="T1" fmla="*/ 86 h 105"/>
                <a:gd name="T2" fmla="*/ 81 w 144"/>
                <a:gd name="T3" fmla="*/ 76 h 105"/>
                <a:gd name="T4" fmla="*/ 91 w 144"/>
                <a:gd name="T5" fmla="*/ 67 h 105"/>
                <a:gd name="T6" fmla="*/ 103 w 144"/>
                <a:gd name="T7" fmla="*/ 68 h 105"/>
                <a:gd name="T8" fmla="*/ 87 w 144"/>
                <a:gd name="T9" fmla="*/ 66 h 105"/>
                <a:gd name="T10" fmla="*/ 80 w 144"/>
                <a:gd name="T11" fmla="*/ 48 h 105"/>
                <a:gd name="T12" fmla="*/ 67 w 144"/>
                <a:gd name="T13" fmla="*/ 49 h 105"/>
                <a:gd name="T14" fmla="*/ 64 w 144"/>
                <a:gd name="T15" fmla="*/ 40 h 105"/>
                <a:gd name="T16" fmla="*/ 54 w 144"/>
                <a:gd name="T17" fmla="*/ 32 h 105"/>
                <a:gd name="T18" fmla="*/ 53 w 144"/>
                <a:gd name="T19" fmla="*/ 38 h 105"/>
                <a:gd name="T20" fmla="*/ 52 w 144"/>
                <a:gd name="T21" fmla="*/ 39 h 105"/>
                <a:gd name="T22" fmla="*/ 37 w 144"/>
                <a:gd name="T23" fmla="*/ 38 h 105"/>
                <a:gd name="T24" fmla="*/ 5 w 144"/>
                <a:gd name="T25" fmla="*/ 32 h 105"/>
                <a:gd name="T26" fmla="*/ 8 w 144"/>
                <a:gd name="T27" fmla="*/ 26 h 105"/>
                <a:gd name="T28" fmla="*/ 16 w 144"/>
                <a:gd name="T29" fmla="*/ 2 h 105"/>
                <a:gd name="T30" fmla="*/ 18 w 144"/>
                <a:gd name="T31" fmla="*/ 18 h 105"/>
                <a:gd name="T32" fmla="*/ 26 w 144"/>
                <a:gd name="T33" fmla="*/ 29 h 105"/>
                <a:gd name="T34" fmla="*/ 20 w 144"/>
                <a:gd name="T35" fmla="*/ 19 h 105"/>
                <a:gd name="T36" fmla="*/ 22 w 144"/>
                <a:gd name="T37" fmla="*/ 13 h 105"/>
                <a:gd name="T38" fmla="*/ 25 w 144"/>
                <a:gd name="T39" fmla="*/ 7 h 105"/>
                <a:gd name="T40" fmla="*/ 34 w 144"/>
                <a:gd name="T41" fmla="*/ 3 h 105"/>
                <a:gd name="T42" fmla="*/ 43 w 144"/>
                <a:gd name="T43" fmla="*/ 16 h 105"/>
                <a:gd name="T44" fmla="*/ 52 w 144"/>
                <a:gd name="T45" fmla="*/ 16 h 105"/>
                <a:gd name="T46" fmla="*/ 54 w 144"/>
                <a:gd name="T47" fmla="*/ 15 h 105"/>
                <a:gd name="T48" fmla="*/ 66 w 144"/>
                <a:gd name="T49" fmla="*/ 13 h 105"/>
                <a:gd name="T50" fmla="*/ 70 w 144"/>
                <a:gd name="T51" fmla="*/ 21 h 105"/>
                <a:gd name="T52" fmla="*/ 76 w 144"/>
                <a:gd name="T53" fmla="*/ 22 h 105"/>
                <a:gd name="T54" fmla="*/ 81 w 144"/>
                <a:gd name="T55" fmla="*/ 23 h 105"/>
                <a:gd name="T56" fmla="*/ 86 w 144"/>
                <a:gd name="T57" fmla="*/ 23 h 105"/>
                <a:gd name="T58" fmla="*/ 92 w 144"/>
                <a:gd name="T59" fmla="*/ 28 h 105"/>
                <a:gd name="T60" fmla="*/ 94 w 144"/>
                <a:gd name="T61" fmla="*/ 31 h 105"/>
                <a:gd name="T62" fmla="*/ 100 w 144"/>
                <a:gd name="T63" fmla="*/ 29 h 105"/>
                <a:gd name="T64" fmla="*/ 99 w 144"/>
                <a:gd name="T65" fmla="*/ 38 h 105"/>
                <a:gd name="T66" fmla="*/ 104 w 144"/>
                <a:gd name="T67" fmla="*/ 38 h 105"/>
                <a:gd name="T68" fmla="*/ 109 w 144"/>
                <a:gd name="T69" fmla="*/ 40 h 105"/>
                <a:gd name="T70" fmla="*/ 106 w 144"/>
                <a:gd name="T71" fmla="*/ 45 h 105"/>
                <a:gd name="T72" fmla="*/ 118 w 144"/>
                <a:gd name="T73" fmla="*/ 54 h 105"/>
                <a:gd name="T74" fmla="*/ 124 w 144"/>
                <a:gd name="T75" fmla="*/ 55 h 105"/>
                <a:gd name="T76" fmla="*/ 128 w 144"/>
                <a:gd name="T77" fmla="*/ 60 h 105"/>
                <a:gd name="T78" fmla="*/ 141 w 144"/>
                <a:gd name="T79" fmla="*/ 64 h 105"/>
                <a:gd name="T80" fmla="*/ 139 w 144"/>
                <a:gd name="T81" fmla="*/ 69 h 105"/>
                <a:gd name="T82" fmla="*/ 133 w 144"/>
                <a:gd name="T83" fmla="*/ 73 h 105"/>
                <a:gd name="T84" fmla="*/ 128 w 144"/>
                <a:gd name="T85" fmla="*/ 77 h 105"/>
                <a:gd name="T86" fmla="*/ 125 w 144"/>
                <a:gd name="T87" fmla="*/ 74 h 105"/>
                <a:gd name="T88" fmla="*/ 120 w 144"/>
                <a:gd name="T89" fmla="*/ 72 h 105"/>
                <a:gd name="T90" fmla="*/ 113 w 144"/>
                <a:gd name="T91" fmla="*/ 67 h 105"/>
                <a:gd name="T92" fmla="*/ 108 w 144"/>
                <a:gd name="T93" fmla="*/ 70 h 105"/>
                <a:gd name="T94" fmla="*/ 118 w 144"/>
                <a:gd name="T95" fmla="*/ 80 h 105"/>
                <a:gd name="T96" fmla="*/ 123 w 144"/>
                <a:gd name="T97" fmla="*/ 82 h 105"/>
                <a:gd name="T98" fmla="*/ 128 w 144"/>
                <a:gd name="T99" fmla="*/ 93 h 105"/>
                <a:gd name="T100" fmla="*/ 126 w 144"/>
                <a:gd name="T101" fmla="*/ 95 h 105"/>
                <a:gd name="T102" fmla="*/ 118 w 144"/>
                <a:gd name="T103" fmla="*/ 96 h 105"/>
                <a:gd name="T104" fmla="*/ 110 w 144"/>
                <a:gd name="T105" fmla="*/ 93 h 105"/>
                <a:gd name="T106" fmla="*/ 109 w 144"/>
                <a:gd name="T107" fmla="*/ 94 h 105"/>
                <a:gd name="T108" fmla="*/ 103 w 144"/>
                <a:gd name="T109" fmla="*/ 99 h 105"/>
                <a:gd name="T110" fmla="*/ 91 w 144"/>
                <a:gd name="T111" fmla="*/ 90 h 105"/>
                <a:gd name="T112" fmla="*/ 77 w 144"/>
                <a:gd name="T113" fmla="*/ 83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44" h="105">
                  <a:moveTo>
                    <a:pt x="77" y="83"/>
                  </a:moveTo>
                  <a:cubicBezTo>
                    <a:pt x="76" y="86"/>
                    <a:pt x="74" y="83"/>
                    <a:pt x="71" y="84"/>
                  </a:cubicBezTo>
                  <a:cubicBezTo>
                    <a:pt x="70" y="84"/>
                    <a:pt x="69" y="85"/>
                    <a:pt x="68" y="86"/>
                  </a:cubicBezTo>
                  <a:cubicBezTo>
                    <a:pt x="66" y="87"/>
                    <a:pt x="65" y="86"/>
                    <a:pt x="63" y="86"/>
                  </a:cubicBezTo>
                  <a:cubicBezTo>
                    <a:pt x="60" y="85"/>
                    <a:pt x="56" y="83"/>
                    <a:pt x="60" y="80"/>
                  </a:cubicBezTo>
                  <a:cubicBezTo>
                    <a:pt x="62" y="78"/>
                    <a:pt x="62" y="76"/>
                    <a:pt x="65" y="76"/>
                  </a:cubicBezTo>
                  <a:cubicBezTo>
                    <a:pt x="68" y="77"/>
                    <a:pt x="71" y="78"/>
                    <a:pt x="75" y="77"/>
                  </a:cubicBezTo>
                  <a:cubicBezTo>
                    <a:pt x="77" y="77"/>
                    <a:pt x="79" y="76"/>
                    <a:pt x="81" y="76"/>
                  </a:cubicBezTo>
                  <a:cubicBezTo>
                    <a:pt x="82" y="76"/>
                    <a:pt x="81" y="75"/>
                    <a:pt x="81" y="74"/>
                  </a:cubicBezTo>
                  <a:cubicBezTo>
                    <a:pt x="78" y="72"/>
                    <a:pt x="77" y="71"/>
                    <a:pt x="80" y="69"/>
                  </a:cubicBezTo>
                  <a:cubicBezTo>
                    <a:pt x="82" y="66"/>
                    <a:pt x="84" y="66"/>
                    <a:pt x="87" y="66"/>
                  </a:cubicBezTo>
                  <a:cubicBezTo>
                    <a:pt x="88" y="66"/>
                    <a:pt x="90" y="66"/>
                    <a:pt x="91" y="67"/>
                  </a:cubicBezTo>
                  <a:cubicBezTo>
                    <a:pt x="93" y="68"/>
                    <a:pt x="93" y="69"/>
                    <a:pt x="93" y="71"/>
                  </a:cubicBezTo>
                  <a:cubicBezTo>
                    <a:pt x="94" y="73"/>
                    <a:pt x="95" y="70"/>
                    <a:pt x="96" y="70"/>
                  </a:cubicBezTo>
                  <a:cubicBezTo>
                    <a:pt x="96" y="69"/>
                    <a:pt x="99" y="70"/>
                    <a:pt x="99" y="70"/>
                  </a:cubicBezTo>
                  <a:cubicBezTo>
                    <a:pt x="100" y="70"/>
                    <a:pt x="103" y="70"/>
                    <a:pt x="103" y="68"/>
                  </a:cubicBezTo>
                  <a:cubicBezTo>
                    <a:pt x="103" y="67"/>
                    <a:pt x="100" y="66"/>
                    <a:pt x="99" y="66"/>
                  </a:cubicBezTo>
                  <a:cubicBezTo>
                    <a:pt x="97" y="65"/>
                    <a:pt x="96" y="64"/>
                    <a:pt x="95" y="63"/>
                  </a:cubicBezTo>
                  <a:cubicBezTo>
                    <a:pt x="94" y="63"/>
                    <a:pt x="93" y="65"/>
                    <a:pt x="93" y="66"/>
                  </a:cubicBezTo>
                  <a:cubicBezTo>
                    <a:pt x="92" y="67"/>
                    <a:pt x="88" y="66"/>
                    <a:pt x="87" y="66"/>
                  </a:cubicBezTo>
                  <a:cubicBezTo>
                    <a:pt x="81" y="65"/>
                    <a:pt x="89" y="63"/>
                    <a:pt x="88" y="61"/>
                  </a:cubicBezTo>
                  <a:cubicBezTo>
                    <a:pt x="87" y="58"/>
                    <a:pt x="86" y="54"/>
                    <a:pt x="84" y="52"/>
                  </a:cubicBezTo>
                  <a:cubicBezTo>
                    <a:pt x="83" y="52"/>
                    <a:pt x="81" y="53"/>
                    <a:pt x="81" y="52"/>
                  </a:cubicBezTo>
                  <a:cubicBezTo>
                    <a:pt x="81" y="51"/>
                    <a:pt x="81" y="49"/>
                    <a:pt x="80" y="48"/>
                  </a:cubicBezTo>
                  <a:cubicBezTo>
                    <a:pt x="79" y="47"/>
                    <a:pt x="78" y="53"/>
                    <a:pt x="79" y="53"/>
                  </a:cubicBezTo>
                  <a:cubicBezTo>
                    <a:pt x="78" y="53"/>
                    <a:pt x="75" y="46"/>
                    <a:pt x="75" y="46"/>
                  </a:cubicBezTo>
                  <a:cubicBezTo>
                    <a:pt x="73" y="46"/>
                    <a:pt x="72" y="47"/>
                    <a:pt x="71" y="48"/>
                  </a:cubicBezTo>
                  <a:cubicBezTo>
                    <a:pt x="70" y="48"/>
                    <a:pt x="67" y="50"/>
                    <a:pt x="67" y="49"/>
                  </a:cubicBezTo>
                  <a:cubicBezTo>
                    <a:pt x="67" y="46"/>
                    <a:pt x="66" y="46"/>
                    <a:pt x="69" y="46"/>
                  </a:cubicBezTo>
                  <a:cubicBezTo>
                    <a:pt x="70" y="46"/>
                    <a:pt x="71" y="45"/>
                    <a:pt x="71" y="44"/>
                  </a:cubicBezTo>
                  <a:cubicBezTo>
                    <a:pt x="72" y="43"/>
                    <a:pt x="69" y="43"/>
                    <a:pt x="69" y="43"/>
                  </a:cubicBezTo>
                  <a:cubicBezTo>
                    <a:pt x="68" y="42"/>
                    <a:pt x="64" y="40"/>
                    <a:pt x="64" y="40"/>
                  </a:cubicBezTo>
                  <a:cubicBezTo>
                    <a:pt x="64" y="37"/>
                    <a:pt x="63" y="39"/>
                    <a:pt x="62" y="39"/>
                  </a:cubicBezTo>
                  <a:cubicBezTo>
                    <a:pt x="61" y="39"/>
                    <a:pt x="62" y="34"/>
                    <a:pt x="60" y="35"/>
                  </a:cubicBezTo>
                  <a:cubicBezTo>
                    <a:pt x="59" y="35"/>
                    <a:pt x="59" y="36"/>
                    <a:pt x="57" y="34"/>
                  </a:cubicBezTo>
                  <a:cubicBezTo>
                    <a:pt x="56" y="34"/>
                    <a:pt x="55" y="32"/>
                    <a:pt x="54" y="32"/>
                  </a:cubicBezTo>
                  <a:cubicBezTo>
                    <a:pt x="54" y="32"/>
                    <a:pt x="55" y="33"/>
                    <a:pt x="55" y="33"/>
                  </a:cubicBezTo>
                  <a:cubicBezTo>
                    <a:pt x="55" y="33"/>
                    <a:pt x="52" y="33"/>
                    <a:pt x="52" y="34"/>
                  </a:cubicBezTo>
                  <a:cubicBezTo>
                    <a:pt x="53" y="35"/>
                    <a:pt x="55" y="34"/>
                    <a:pt x="56" y="36"/>
                  </a:cubicBezTo>
                  <a:cubicBezTo>
                    <a:pt x="56" y="38"/>
                    <a:pt x="54" y="38"/>
                    <a:pt x="53" y="38"/>
                  </a:cubicBezTo>
                  <a:cubicBezTo>
                    <a:pt x="51" y="39"/>
                    <a:pt x="46" y="35"/>
                    <a:pt x="44" y="37"/>
                  </a:cubicBezTo>
                  <a:cubicBezTo>
                    <a:pt x="43" y="37"/>
                    <a:pt x="45" y="38"/>
                    <a:pt x="46" y="39"/>
                  </a:cubicBezTo>
                  <a:cubicBezTo>
                    <a:pt x="46" y="40"/>
                    <a:pt x="47" y="39"/>
                    <a:pt x="48" y="39"/>
                  </a:cubicBezTo>
                  <a:cubicBezTo>
                    <a:pt x="49" y="39"/>
                    <a:pt x="52" y="38"/>
                    <a:pt x="52" y="39"/>
                  </a:cubicBezTo>
                  <a:cubicBezTo>
                    <a:pt x="52" y="40"/>
                    <a:pt x="51" y="41"/>
                    <a:pt x="50" y="42"/>
                  </a:cubicBezTo>
                  <a:cubicBezTo>
                    <a:pt x="50" y="42"/>
                    <a:pt x="39" y="35"/>
                    <a:pt x="37" y="36"/>
                  </a:cubicBezTo>
                  <a:cubicBezTo>
                    <a:pt x="38" y="36"/>
                    <a:pt x="39" y="37"/>
                    <a:pt x="40" y="37"/>
                  </a:cubicBezTo>
                  <a:cubicBezTo>
                    <a:pt x="42" y="39"/>
                    <a:pt x="37" y="38"/>
                    <a:pt x="37" y="38"/>
                  </a:cubicBezTo>
                  <a:cubicBezTo>
                    <a:pt x="34" y="36"/>
                    <a:pt x="30" y="38"/>
                    <a:pt x="27" y="37"/>
                  </a:cubicBezTo>
                  <a:cubicBezTo>
                    <a:pt x="23" y="36"/>
                    <a:pt x="20" y="37"/>
                    <a:pt x="17" y="34"/>
                  </a:cubicBezTo>
                  <a:cubicBezTo>
                    <a:pt x="14" y="32"/>
                    <a:pt x="12" y="35"/>
                    <a:pt x="9" y="34"/>
                  </a:cubicBezTo>
                  <a:cubicBezTo>
                    <a:pt x="8" y="33"/>
                    <a:pt x="6" y="33"/>
                    <a:pt x="5" y="32"/>
                  </a:cubicBezTo>
                  <a:cubicBezTo>
                    <a:pt x="5" y="31"/>
                    <a:pt x="2" y="28"/>
                    <a:pt x="4" y="28"/>
                  </a:cubicBezTo>
                  <a:cubicBezTo>
                    <a:pt x="7" y="28"/>
                    <a:pt x="11" y="31"/>
                    <a:pt x="14" y="29"/>
                  </a:cubicBezTo>
                  <a:cubicBezTo>
                    <a:pt x="15" y="28"/>
                    <a:pt x="13" y="27"/>
                    <a:pt x="13" y="27"/>
                  </a:cubicBezTo>
                  <a:cubicBezTo>
                    <a:pt x="11" y="26"/>
                    <a:pt x="9" y="26"/>
                    <a:pt x="8" y="26"/>
                  </a:cubicBezTo>
                  <a:cubicBezTo>
                    <a:pt x="5" y="26"/>
                    <a:pt x="0" y="26"/>
                    <a:pt x="0" y="23"/>
                  </a:cubicBezTo>
                  <a:cubicBezTo>
                    <a:pt x="0" y="19"/>
                    <a:pt x="0" y="16"/>
                    <a:pt x="2" y="12"/>
                  </a:cubicBezTo>
                  <a:cubicBezTo>
                    <a:pt x="3" y="9"/>
                    <a:pt x="6" y="7"/>
                    <a:pt x="9" y="5"/>
                  </a:cubicBezTo>
                  <a:cubicBezTo>
                    <a:pt x="11" y="3"/>
                    <a:pt x="13" y="3"/>
                    <a:pt x="16" y="2"/>
                  </a:cubicBezTo>
                  <a:cubicBezTo>
                    <a:pt x="18" y="2"/>
                    <a:pt x="24" y="0"/>
                    <a:pt x="25" y="3"/>
                  </a:cubicBezTo>
                  <a:cubicBezTo>
                    <a:pt x="25" y="2"/>
                    <a:pt x="20" y="7"/>
                    <a:pt x="19" y="7"/>
                  </a:cubicBezTo>
                  <a:cubicBezTo>
                    <a:pt x="17" y="9"/>
                    <a:pt x="15" y="11"/>
                    <a:pt x="17" y="13"/>
                  </a:cubicBezTo>
                  <a:cubicBezTo>
                    <a:pt x="19" y="15"/>
                    <a:pt x="17" y="16"/>
                    <a:pt x="18" y="18"/>
                  </a:cubicBezTo>
                  <a:cubicBezTo>
                    <a:pt x="18" y="20"/>
                    <a:pt x="20" y="21"/>
                    <a:pt x="21" y="22"/>
                  </a:cubicBezTo>
                  <a:cubicBezTo>
                    <a:pt x="22" y="23"/>
                    <a:pt x="24" y="24"/>
                    <a:pt x="25" y="25"/>
                  </a:cubicBezTo>
                  <a:cubicBezTo>
                    <a:pt x="26" y="26"/>
                    <a:pt x="22" y="26"/>
                    <a:pt x="22" y="27"/>
                  </a:cubicBezTo>
                  <a:cubicBezTo>
                    <a:pt x="22" y="26"/>
                    <a:pt x="26" y="29"/>
                    <a:pt x="26" y="29"/>
                  </a:cubicBezTo>
                  <a:cubicBezTo>
                    <a:pt x="27" y="28"/>
                    <a:pt x="26" y="26"/>
                    <a:pt x="26" y="25"/>
                  </a:cubicBezTo>
                  <a:cubicBezTo>
                    <a:pt x="26" y="25"/>
                    <a:pt x="28" y="24"/>
                    <a:pt x="27" y="23"/>
                  </a:cubicBezTo>
                  <a:cubicBezTo>
                    <a:pt x="26" y="22"/>
                    <a:pt x="22" y="21"/>
                    <a:pt x="21" y="20"/>
                  </a:cubicBezTo>
                  <a:cubicBezTo>
                    <a:pt x="20" y="20"/>
                    <a:pt x="19" y="19"/>
                    <a:pt x="20" y="19"/>
                  </a:cubicBezTo>
                  <a:cubicBezTo>
                    <a:pt x="22" y="19"/>
                    <a:pt x="22" y="18"/>
                    <a:pt x="23" y="17"/>
                  </a:cubicBezTo>
                  <a:cubicBezTo>
                    <a:pt x="25" y="16"/>
                    <a:pt x="28" y="18"/>
                    <a:pt x="29" y="19"/>
                  </a:cubicBezTo>
                  <a:cubicBezTo>
                    <a:pt x="28" y="18"/>
                    <a:pt x="27" y="17"/>
                    <a:pt x="27" y="16"/>
                  </a:cubicBezTo>
                  <a:cubicBezTo>
                    <a:pt x="27" y="14"/>
                    <a:pt x="22" y="15"/>
                    <a:pt x="22" y="13"/>
                  </a:cubicBezTo>
                  <a:cubicBezTo>
                    <a:pt x="20" y="7"/>
                    <a:pt x="29" y="12"/>
                    <a:pt x="29" y="12"/>
                  </a:cubicBezTo>
                  <a:cubicBezTo>
                    <a:pt x="29" y="11"/>
                    <a:pt x="23" y="9"/>
                    <a:pt x="23" y="9"/>
                  </a:cubicBezTo>
                  <a:cubicBezTo>
                    <a:pt x="23" y="8"/>
                    <a:pt x="28" y="9"/>
                    <a:pt x="28" y="9"/>
                  </a:cubicBezTo>
                  <a:cubicBezTo>
                    <a:pt x="28" y="8"/>
                    <a:pt x="25" y="7"/>
                    <a:pt x="25" y="7"/>
                  </a:cubicBezTo>
                  <a:cubicBezTo>
                    <a:pt x="24" y="6"/>
                    <a:pt x="25" y="6"/>
                    <a:pt x="26" y="6"/>
                  </a:cubicBezTo>
                  <a:cubicBezTo>
                    <a:pt x="27" y="7"/>
                    <a:pt x="27" y="6"/>
                    <a:pt x="28" y="6"/>
                  </a:cubicBezTo>
                  <a:cubicBezTo>
                    <a:pt x="30" y="5"/>
                    <a:pt x="30" y="6"/>
                    <a:pt x="32" y="6"/>
                  </a:cubicBezTo>
                  <a:cubicBezTo>
                    <a:pt x="29" y="5"/>
                    <a:pt x="33" y="3"/>
                    <a:pt x="34" y="3"/>
                  </a:cubicBezTo>
                  <a:cubicBezTo>
                    <a:pt x="36" y="2"/>
                    <a:pt x="42" y="2"/>
                    <a:pt x="43" y="4"/>
                  </a:cubicBezTo>
                  <a:cubicBezTo>
                    <a:pt x="44" y="5"/>
                    <a:pt x="44" y="6"/>
                    <a:pt x="44" y="7"/>
                  </a:cubicBezTo>
                  <a:cubicBezTo>
                    <a:pt x="45" y="8"/>
                    <a:pt x="46" y="9"/>
                    <a:pt x="47" y="10"/>
                  </a:cubicBezTo>
                  <a:cubicBezTo>
                    <a:pt x="48" y="12"/>
                    <a:pt x="43" y="16"/>
                    <a:pt x="43" y="16"/>
                  </a:cubicBezTo>
                  <a:cubicBezTo>
                    <a:pt x="44" y="17"/>
                    <a:pt x="46" y="14"/>
                    <a:pt x="47" y="14"/>
                  </a:cubicBezTo>
                  <a:cubicBezTo>
                    <a:pt x="47" y="14"/>
                    <a:pt x="45" y="20"/>
                    <a:pt x="46" y="19"/>
                  </a:cubicBezTo>
                  <a:cubicBezTo>
                    <a:pt x="47" y="19"/>
                    <a:pt x="47" y="17"/>
                    <a:pt x="48" y="17"/>
                  </a:cubicBezTo>
                  <a:cubicBezTo>
                    <a:pt x="50" y="17"/>
                    <a:pt x="50" y="18"/>
                    <a:pt x="52" y="16"/>
                  </a:cubicBezTo>
                  <a:cubicBezTo>
                    <a:pt x="53" y="15"/>
                    <a:pt x="53" y="16"/>
                    <a:pt x="54" y="17"/>
                  </a:cubicBezTo>
                  <a:cubicBezTo>
                    <a:pt x="55" y="18"/>
                    <a:pt x="54" y="18"/>
                    <a:pt x="54" y="19"/>
                  </a:cubicBezTo>
                  <a:cubicBezTo>
                    <a:pt x="54" y="20"/>
                    <a:pt x="59" y="21"/>
                    <a:pt x="60" y="21"/>
                  </a:cubicBezTo>
                  <a:cubicBezTo>
                    <a:pt x="60" y="21"/>
                    <a:pt x="55" y="16"/>
                    <a:pt x="54" y="15"/>
                  </a:cubicBezTo>
                  <a:cubicBezTo>
                    <a:pt x="54" y="15"/>
                    <a:pt x="63" y="18"/>
                    <a:pt x="63" y="17"/>
                  </a:cubicBezTo>
                  <a:cubicBezTo>
                    <a:pt x="63" y="17"/>
                    <a:pt x="57" y="16"/>
                    <a:pt x="57" y="14"/>
                  </a:cubicBezTo>
                  <a:cubicBezTo>
                    <a:pt x="57" y="13"/>
                    <a:pt x="60" y="12"/>
                    <a:pt x="61" y="12"/>
                  </a:cubicBezTo>
                  <a:cubicBezTo>
                    <a:pt x="63" y="11"/>
                    <a:pt x="64" y="12"/>
                    <a:pt x="66" y="13"/>
                  </a:cubicBezTo>
                  <a:cubicBezTo>
                    <a:pt x="69" y="14"/>
                    <a:pt x="73" y="13"/>
                    <a:pt x="74" y="17"/>
                  </a:cubicBezTo>
                  <a:cubicBezTo>
                    <a:pt x="74" y="17"/>
                    <a:pt x="67" y="17"/>
                    <a:pt x="68" y="20"/>
                  </a:cubicBezTo>
                  <a:cubicBezTo>
                    <a:pt x="68" y="19"/>
                    <a:pt x="71" y="18"/>
                    <a:pt x="71" y="18"/>
                  </a:cubicBezTo>
                  <a:cubicBezTo>
                    <a:pt x="73" y="18"/>
                    <a:pt x="70" y="20"/>
                    <a:pt x="70" y="21"/>
                  </a:cubicBezTo>
                  <a:cubicBezTo>
                    <a:pt x="70" y="21"/>
                    <a:pt x="73" y="19"/>
                    <a:pt x="73" y="19"/>
                  </a:cubicBezTo>
                  <a:cubicBezTo>
                    <a:pt x="73" y="18"/>
                    <a:pt x="77" y="18"/>
                    <a:pt x="78" y="19"/>
                  </a:cubicBezTo>
                  <a:cubicBezTo>
                    <a:pt x="82" y="19"/>
                    <a:pt x="73" y="22"/>
                    <a:pt x="74" y="23"/>
                  </a:cubicBezTo>
                  <a:cubicBezTo>
                    <a:pt x="74" y="23"/>
                    <a:pt x="76" y="21"/>
                    <a:pt x="76" y="22"/>
                  </a:cubicBezTo>
                  <a:cubicBezTo>
                    <a:pt x="76" y="23"/>
                    <a:pt x="74" y="25"/>
                    <a:pt x="75" y="26"/>
                  </a:cubicBezTo>
                  <a:cubicBezTo>
                    <a:pt x="74" y="25"/>
                    <a:pt x="78" y="21"/>
                    <a:pt x="79" y="22"/>
                  </a:cubicBezTo>
                  <a:cubicBezTo>
                    <a:pt x="79" y="24"/>
                    <a:pt x="78" y="26"/>
                    <a:pt x="79" y="27"/>
                  </a:cubicBezTo>
                  <a:cubicBezTo>
                    <a:pt x="79" y="27"/>
                    <a:pt x="79" y="23"/>
                    <a:pt x="81" y="23"/>
                  </a:cubicBezTo>
                  <a:cubicBezTo>
                    <a:pt x="83" y="24"/>
                    <a:pt x="80" y="27"/>
                    <a:pt x="81" y="28"/>
                  </a:cubicBezTo>
                  <a:cubicBezTo>
                    <a:pt x="81" y="28"/>
                    <a:pt x="82" y="25"/>
                    <a:pt x="83" y="25"/>
                  </a:cubicBezTo>
                  <a:cubicBezTo>
                    <a:pt x="83" y="25"/>
                    <a:pt x="82" y="28"/>
                    <a:pt x="83" y="28"/>
                  </a:cubicBezTo>
                  <a:cubicBezTo>
                    <a:pt x="82" y="28"/>
                    <a:pt x="85" y="24"/>
                    <a:pt x="86" y="23"/>
                  </a:cubicBezTo>
                  <a:cubicBezTo>
                    <a:pt x="87" y="22"/>
                    <a:pt x="90" y="23"/>
                    <a:pt x="91" y="24"/>
                  </a:cubicBezTo>
                  <a:cubicBezTo>
                    <a:pt x="93" y="25"/>
                    <a:pt x="94" y="27"/>
                    <a:pt x="91" y="27"/>
                  </a:cubicBezTo>
                  <a:cubicBezTo>
                    <a:pt x="90" y="27"/>
                    <a:pt x="86" y="27"/>
                    <a:pt x="86" y="30"/>
                  </a:cubicBezTo>
                  <a:cubicBezTo>
                    <a:pt x="86" y="29"/>
                    <a:pt x="92" y="27"/>
                    <a:pt x="92" y="28"/>
                  </a:cubicBezTo>
                  <a:cubicBezTo>
                    <a:pt x="92" y="28"/>
                    <a:pt x="88" y="30"/>
                    <a:pt x="88" y="31"/>
                  </a:cubicBezTo>
                  <a:cubicBezTo>
                    <a:pt x="88" y="30"/>
                    <a:pt x="92" y="30"/>
                    <a:pt x="92" y="30"/>
                  </a:cubicBezTo>
                  <a:cubicBezTo>
                    <a:pt x="93" y="29"/>
                    <a:pt x="95" y="26"/>
                    <a:pt x="96" y="27"/>
                  </a:cubicBezTo>
                  <a:cubicBezTo>
                    <a:pt x="97" y="29"/>
                    <a:pt x="96" y="31"/>
                    <a:pt x="94" y="31"/>
                  </a:cubicBezTo>
                  <a:cubicBezTo>
                    <a:pt x="93" y="32"/>
                    <a:pt x="92" y="33"/>
                    <a:pt x="91" y="34"/>
                  </a:cubicBezTo>
                  <a:cubicBezTo>
                    <a:pt x="91" y="34"/>
                    <a:pt x="93" y="32"/>
                    <a:pt x="94" y="32"/>
                  </a:cubicBezTo>
                  <a:cubicBezTo>
                    <a:pt x="94" y="32"/>
                    <a:pt x="93" y="36"/>
                    <a:pt x="93" y="36"/>
                  </a:cubicBezTo>
                  <a:cubicBezTo>
                    <a:pt x="92" y="34"/>
                    <a:pt x="99" y="27"/>
                    <a:pt x="100" y="29"/>
                  </a:cubicBezTo>
                  <a:cubicBezTo>
                    <a:pt x="101" y="30"/>
                    <a:pt x="99" y="31"/>
                    <a:pt x="98" y="31"/>
                  </a:cubicBezTo>
                  <a:cubicBezTo>
                    <a:pt x="99" y="31"/>
                    <a:pt x="102" y="31"/>
                    <a:pt x="103" y="31"/>
                  </a:cubicBezTo>
                  <a:cubicBezTo>
                    <a:pt x="104" y="31"/>
                    <a:pt x="106" y="31"/>
                    <a:pt x="107" y="32"/>
                  </a:cubicBezTo>
                  <a:cubicBezTo>
                    <a:pt x="108" y="35"/>
                    <a:pt x="98" y="35"/>
                    <a:pt x="99" y="38"/>
                  </a:cubicBezTo>
                  <a:cubicBezTo>
                    <a:pt x="99" y="38"/>
                    <a:pt x="102" y="35"/>
                    <a:pt x="103" y="35"/>
                  </a:cubicBezTo>
                  <a:cubicBezTo>
                    <a:pt x="104" y="35"/>
                    <a:pt x="106" y="35"/>
                    <a:pt x="106" y="36"/>
                  </a:cubicBezTo>
                  <a:cubicBezTo>
                    <a:pt x="107" y="37"/>
                    <a:pt x="101" y="39"/>
                    <a:pt x="101" y="39"/>
                  </a:cubicBezTo>
                  <a:cubicBezTo>
                    <a:pt x="101" y="39"/>
                    <a:pt x="104" y="38"/>
                    <a:pt x="104" y="38"/>
                  </a:cubicBezTo>
                  <a:cubicBezTo>
                    <a:pt x="105" y="38"/>
                    <a:pt x="107" y="37"/>
                    <a:pt x="108" y="36"/>
                  </a:cubicBezTo>
                  <a:cubicBezTo>
                    <a:pt x="109" y="36"/>
                    <a:pt x="108" y="35"/>
                    <a:pt x="109" y="34"/>
                  </a:cubicBezTo>
                  <a:cubicBezTo>
                    <a:pt x="110" y="34"/>
                    <a:pt x="112" y="36"/>
                    <a:pt x="112" y="37"/>
                  </a:cubicBezTo>
                  <a:cubicBezTo>
                    <a:pt x="116" y="40"/>
                    <a:pt x="112" y="39"/>
                    <a:pt x="109" y="40"/>
                  </a:cubicBezTo>
                  <a:cubicBezTo>
                    <a:pt x="109" y="40"/>
                    <a:pt x="102" y="42"/>
                    <a:pt x="102" y="41"/>
                  </a:cubicBezTo>
                  <a:cubicBezTo>
                    <a:pt x="102" y="42"/>
                    <a:pt x="118" y="42"/>
                    <a:pt x="117" y="44"/>
                  </a:cubicBezTo>
                  <a:cubicBezTo>
                    <a:pt x="116" y="45"/>
                    <a:pt x="111" y="45"/>
                    <a:pt x="110" y="44"/>
                  </a:cubicBezTo>
                  <a:cubicBezTo>
                    <a:pt x="110" y="44"/>
                    <a:pt x="106" y="45"/>
                    <a:pt x="106" y="45"/>
                  </a:cubicBezTo>
                  <a:cubicBezTo>
                    <a:pt x="107" y="46"/>
                    <a:pt x="110" y="45"/>
                    <a:pt x="110" y="46"/>
                  </a:cubicBezTo>
                  <a:cubicBezTo>
                    <a:pt x="111" y="46"/>
                    <a:pt x="107" y="47"/>
                    <a:pt x="107" y="48"/>
                  </a:cubicBezTo>
                  <a:cubicBezTo>
                    <a:pt x="107" y="50"/>
                    <a:pt x="111" y="51"/>
                    <a:pt x="112" y="51"/>
                  </a:cubicBezTo>
                  <a:cubicBezTo>
                    <a:pt x="114" y="52"/>
                    <a:pt x="117" y="52"/>
                    <a:pt x="118" y="54"/>
                  </a:cubicBezTo>
                  <a:cubicBezTo>
                    <a:pt x="119" y="55"/>
                    <a:pt x="119" y="56"/>
                    <a:pt x="120" y="56"/>
                  </a:cubicBezTo>
                  <a:cubicBezTo>
                    <a:pt x="120" y="56"/>
                    <a:pt x="122" y="55"/>
                    <a:pt x="122" y="55"/>
                  </a:cubicBezTo>
                  <a:cubicBezTo>
                    <a:pt x="122" y="55"/>
                    <a:pt x="122" y="57"/>
                    <a:pt x="123" y="57"/>
                  </a:cubicBezTo>
                  <a:cubicBezTo>
                    <a:pt x="123" y="57"/>
                    <a:pt x="123" y="55"/>
                    <a:pt x="124" y="55"/>
                  </a:cubicBezTo>
                  <a:cubicBezTo>
                    <a:pt x="124" y="55"/>
                    <a:pt x="124" y="57"/>
                    <a:pt x="124" y="57"/>
                  </a:cubicBezTo>
                  <a:cubicBezTo>
                    <a:pt x="124" y="58"/>
                    <a:pt x="126" y="57"/>
                    <a:pt x="127" y="57"/>
                  </a:cubicBezTo>
                  <a:cubicBezTo>
                    <a:pt x="127" y="57"/>
                    <a:pt x="129" y="58"/>
                    <a:pt x="129" y="59"/>
                  </a:cubicBezTo>
                  <a:cubicBezTo>
                    <a:pt x="129" y="60"/>
                    <a:pt x="128" y="59"/>
                    <a:pt x="128" y="60"/>
                  </a:cubicBezTo>
                  <a:cubicBezTo>
                    <a:pt x="129" y="59"/>
                    <a:pt x="138" y="62"/>
                    <a:pt x="138" y="62"/>
                  </a:cubicBezTo>
                  <a:cubicBezTo>
                    <a:pt x="137" y="63"/>
                    <a:pt x="137" y="63"/>
                    <a:pt x="137" y="63"/>
                  </a:cubicBezTo>
                  <a:cubicBezTo>
                    <a:pt x="137" y="64"/>
                    <a:pt x="139" y="63"/>
                    <a:pt x="139" y="63"/>
                  </a:cubicBezTo>
                  <a:cubicBezTo>
                    <a:pt x="140" y="62"/>
                    <a:pt x="140" y="63"/>
                    <a:pt x="141" y="64"/>
                  </a:cubicBezTo>
                  <a:cubicBezTo>
                    <a:pt x="142" y="64"/>
                    <a:pt x="144" y="66"/>
                    <a:pt x="143" y="67"/>
                  </a:cubicBezTo>
                  <a:cubicBezTo>
                    <a:pt x="143" y="67"/>
                    <a:pt x="141" y="67"/>
                    <a:pt x="141" y="67"/>
                  </a:cubicBezTo>
                  <a:cubicBezTo>
                    <a:pt x="141" y="68"/>
                    <a:pt x="143" y="68"/>
                    <a:pt x="142" y="69"/>
                  </a:cubicBezTo>
                  <a:cubicBezTo>
                    <a:pt x="142" y="69"/>
                    <a:pt x="139" y="69"/>
                    <a:pt x="139" y="69"/>
                  </a:cubicBezTo>
                  <a:cubicBezTo>
                    <a:pt x="137" y="70"/>
                    <a:pt x="139" y="70"/>
                    <a:pt x="139" y="71"/>
                  </a:cubicBezTo>
                  <a:cubicBezTo>
                    <a:pt x="140" y="73"/>
                    <a:pt x="136" y="71"/>
                    <a:pt x="135" y="71"/>
                  </a:cubicBezTo>
                  <a:cubicBezTo>
                    <a:pt x="136" y="72"/>
                    <a:pt x="138" y="73"/>
                    <a:pt x="137" y="74"/>
                  </a:cubicBezTo>
                  <a:cubicBezTo>
                    <a:pt x="136" y="74"/>
                    <a:pt x="132" y="74"/>
                    <a:pt x="133" y="73"/>
                  </a:cubicBezTo>
                  <a:cubicBezTo>
                    <a:pt x="132" y="74"/>
                    <a:pt x="135" y="76"/>
                    <a:pt x="134" y="77"/>
                  </a:cubicBezTo>
                  <a:cubicBezTo>
                    <a:pt x="133" y="77"/>
                    <a:pt x="133" y="75"/>
                    <a:pt x="132" y="76"/>
                  </a:cubicBezTo>
                  <a:cubicBezTo>
                    <a:pt x="131" y="77"/>
                    <a:pt x="135" y="82"/>
                    <a:pt x="131" y="79"/>
                  </a:cubicBezTo>
                  <a:cubicBezTo>
                    <a:pt x="131" y="79"/>
                    <a:pt x="128" y="77"/>
                    <a:pt x="128" y="77"/>
                  </a:cubicBezTo>
                  <a:cubicBezTo>
                    <a:pt x="127" y="78"/>
                    <a:pt x="127" y="79"/>
                    <a:pt x="126" y="79"/>
                  </a:cubicBezTo>
                  <a:cubicBezTo>
                    <a:pt x="126" y="78"/>
                    <a:pt x="127" y="77"/>
                    <a:pt x="127" y="76"/>
                  </a:cubicBezTo>
                  <a:cubicBezTo>
                    <a:pt x="127" y="77"/>
                    <a:pt x="125" y="77"/>
                    <a:pt x="125" y="77"/>
                  </a:cubicBezTo>
                  <a:cubicBezTo>
                    <a:pt x="124" y="76"/>
                    <a:pt x="126" y="75"/>
                    <a:pt x="125" y="74"/>
                  </a:cubicBezTo>
                  <a:cubicBezTo>
                    <a:pt x="125" y="74"/>
                    <a:pt x="123" y="75"/>
                    <a:pt x="123" y="75"/>
                  </a:cubicBezTo>
                  <a:cubicBezTo>
                    <a:pt x="122" y="74"/>
                    <a:pt x="123" y="72"/>
                    <a:pt x="123" y="72"/>
                  </a:cubicBezTo>
                  <a:cubicBezTo>
                    <a:pt x="124" y="72"/>
                    <a:pt x="128" y="70"/>
                    <a:pt x="127" y="70"/>
                  </a:cubicBezTo>
                  <a:cubicBezTo>
                    <a:pt x="126" y="69"/>
                    <a:pt x="122" y="73"/>
                    <a:pt x="120" y="72"/>
                  </a:cubicBezTo>
                  <a:cubicBezTo>
                    <a:pt x="120" y="72"/>
                    <a:pt x="123" y="69"/>
                    <a:pt x="122" y="69"/>
                  </a:cubicBezTo>
                  <a:cubicBezTo>
                    <a:pt x="121" y="69"/>
                    <a:pt x="120" y="71"/>
                    <a:pt x="119" y="70"/>
                  </a:cubicBezTo>
                  <a:cubicBezTo>
                    <a:pt x="118" y="69"/>
                    <a:pt x="117" y="69"/>
                    <a:pt x="116" y="68"/>
                  </a:cubicBezTo>
                  <a:cubicBezTo>
                    <a:pt x="115" y="67"/>
                    <a:pt x="114" y="66"/>
                    <a:pt x="113" y="67"/>
                  </a:cubicBezTo>
                  <a:cubicBezTo>
                    <a:pt x="113" y="68"/>
                    <a:pt x="113" y="68"/>
                    <a:pt x="113" y="69"/>
                  </a:cubicBezTo>
                  <a:cubicBezTo>
                    <a:pt x="113" y="69"/>
                    <a:pt x="112" y="69"/>
                    <a:pt x="112" y="69"/>
                  </a:cubicBezTo>
                  <a:cubicBezTo>
                    <a:pt x="112" y="70"/>
                    <a:pt x="116" y="72"/>
                    <a:pt x="112" y="72"/>
                  </a:cubicBezTo>
                  <a:cubicBezTo>
                    <a:pt x="111" y="72"/>
                    <a:pt x="107" y="71"/>
                    <a:pt x="108" y="70"/>
                  </a:cubicBezTo>
                  <a:cubicBezTo>
                    <a:pt x="107" y="72"/>
                    <a:pt x="111" y="74"/>
                    <a:pt x="112" y="75"/>
                  </a:cubicBezTo>
                  <a:cubicBezTo>
                    <a:pt x="114" y="75"/>
                    <a:pt x="114" y="78"/>
                    <a:pt x="115" y="79"/>
                  </a:cubicBezTo>
                  <a:cubicBezTo>
                    <a:pt x="116" y="80"/>
                    <a:pt x="116" y="81"/>
                    <a:pt x="117" y="81"/>
                  </a:cubicBezTo>
                  <a:cubicBezTo>
                    <a:pt x="118" y="81"/>
                    <a:pt x="117" y="80"/>
                    <a:pt x="118" y="80"/>
                  </a:cubicBezTo>
                  <a:cubicBezTo>
                    <a:pt x="118" y="80"/>
                    <a:pt x="119" y="81"/>
                    <a:pt x="119" y="82"/>
                  </a:cubicBezTo>
                  <a:cubicBezTo>
                    <a:pt x="120" y="83"/>
                    <a:pt x="120" y="82"/>
                    <a:pt x="121" y="81"/>
                  </a:cubicBezTo>
                  <a:cubicBezTo>
                    <a:pt x="122" y="81"/>
                    <a:pt x="121" y="85"/>
                    <a:pt x="122" y="84"/>
                  </a:cubicBezTo>
                  <a:cubicBezTo>
                    <a:pt x="123" y="84"/>
                    <a:pt x="122" y="83"/>
                    <a:pt x="123" y="82"/>
                  </a:cubicBezTo>
                  <a:cubicBezTo>
                    <a:pt x="123" y="82"/>
                    <a:pt x="123" y="84"/>
                    <a:pt x="123" y="85"/>
                  </a:cubicBezTo>
                  <a:cubicBezTo>
                    <a:pt x="123" y="86"/>
                    <a:pt x="123" y="86"/>
                    <a:pt x="124" y="87"/>
                  </a:cubicBezTo>
                  <a:cubicBezTo>
                    <a:pt x="125" y="87"/>
                    <a:pt x="126" y="88"/>
                    <a:pt x="126" y="89"/>
                  </a:cubicBezTo>
                  <a:cubicBezTo>
                    <a:pt x="127" y="89"/>
                    <a:pt x="128" y="93"/>
                    <a:pt x="128" y="93"/>
                  </a:cubicBezTo>
                  <a:cubicBezTo>
                    <a:pt x="127" y="92"/>
                    <a:pt x="127" y="91"/>
                    <a:pt x="127" y="91"/>
                  </a:cubicBezTo>
                  <a:cubicBezTo>
                    <a:pt x="126" y="91"/>
                    <a:pt x="127" y="95"/>
                    <a:pt x="127" y="95"/>
                  </a:cubicBezTo>
                  <a:cubicBezTo>
                    <a:pt x="127" y="95"/>
                    <a:pt x="125" y="91"/>
                    <a:pt x="124" y="90"/>
                  </a:cubicBezTo>
                  <a:cubicBezTo>
                    <a:pt x="124" y="90"/>
                    <a:pt x="125" y="94"/>
                    <a:pt x="126" y="95"/>
                  </a:cubicBezTo>
                  <a:cubicBezTo>
                    <a:pt x="126" y="98"/>
                    <a:pt x="124" y="95"/>
                    <a:pt x="124" y="96"/>
                  </a:cubicBezTo>
                  <a:cubicBezTo>
                    <a:pt x="123" y="97"/>
                    <a:pt x="128" y="99"/>
                    <a:pt x="128" y="100"/>
                  </a:cubicBezTo>
                  <a:cubicBezTo>
                    <a:pt x="128" y="101"/>
                    <a:pt x="119" y="95"/>
                    <a:pt x="118" y="95"/>
                  </a:cubicBezTo>
                  <a:cubicBezTo>
                    <a:pt x="118" y="95"/>
                    <a:pt x="118" y="96"/>
                    <a:pt x="118" y="96"/>
                  </a:cubicBezTo>
                  <a:cubicBezTo>
                    <a:pt x="118" y="97"/>
                    <a:pt x="116" y="93"/>
                    <a:pt x="115" y="93"/>
                  </a:cubicBezTo>
                  <a:cubicBezTo>
                    <a:pt x="115" y="93"/>
                    <a:pt x="116" y="95"/>
                    <a:pt x="116" y="95"/>
                  </a:cubicBezTo>
                  <a:cubicBezTo>
                    <a:pt x="115" y="96"/>
                    <a:pt x="113" y="92"/>
                    <a:pt x="112" y="91"/>
                  </a:cubicBezTo>
                  <a:cubicBezTo>
                    <a:pt x="111" y="90"/>
                    <a:pt x="111" y="92"/>
                    <a:pt x="110" y="93"/>
                  </a:cubicBezTo>
                  <a:cubicBezTo>
                    <a:pt x="110" y="94"/>
                    <a:pt x="108" y="90"/>
                    <a:pt x="108" y="90"/>
                  </a:cubicBezTo>
                  <a:cubicBezTo>
                    <a:pt x="108" y="90"/>
                    <a:pt x="105" y="90"/>
                    <a:pt x="105" y="90"/>
                  </a:cubicBezTo>
                  <a:cubicBezTo>
                    <a:pt x="105" y="91"/>
                    <a:pt x="106" y="92"/>
                    <a:pt x="107" y="92"/>
                  </a:cubicBezTo>
                  <a:cubicBezTo>
                    <a:pt x="108" y="93"/>
                    <a:pt x="108" y="93"/>
                    <a:pt x="109" y="94"/>
                  </a:cubicBezTo>
                  <a:cubicBezTo>
                    <a:pt x="110" y="95"/>
                    <a:pt x="112" y="96"/>
                    <a:pt x="114" y="97"/>
                  </a:cubicBezTo>
                  <a:cubicBezTo>
                    <a:pt x="116" y="99"/>
                    <a:pt x="117" y="100"/>
                    <a:pt x="118" y="102"/>
                  </a:cubicBezTo>
                  <a:cubicBezTo>
                    <a:pt x="120" y="105"/>
                    <a:pt x="120" y="105"/>
                    <a:pt x="117" y="104"/>
                  </a:cubicBezTo>
                  <a:cubicBezTo>
                    <a:pt x="113" y="102"/>
                    <a:pt x="106" y="103"/>
                    <a:pt x="103" y="99"/>
                  </a:cubicBezTo>
                  <a:cubicBezTo>
                    <a:pt x="102" y="97"/>
                    <a:pt x="99" y="99"/>
                    <a:pt x="97" y="97"/>
                  </a:cubicBezTo>
                  <a:cubicBezTo>
                    <a:pt x="96" y="96"/>
                    <a:pt x="90" y="94"/>
                    <a:pt x="90" y="93"/>
                  </a:cubicBezTo>
                  <a:cubicBezTo>
                    <a:pt x="90" y="92"/>
                    <a:pt x="93" y="93"/>
                    <a:pt x="93" y="92"/>
                  </a:cubicBezTo>
                  <a:cubicBezTo>
                    <a:pt x="94" y="91"/>
                    <a:pt x="91" y="90"/>
                    <a:pt x="91" y="90"/>
                  </a:cubicBezTo>
                  <a:cubicBezTo>
                    <a:pt x="88" y="89"/>
                    <a:pt x="86" y="87"/>
                    <a:pt x="84" y="86"/>
                  </a:cubicBezTo>
                  <a:cubicBezTo>
                    <a:pt x="83" y="85"/>
                    <a:pt x="84" y="84"/>
                    <a:pt x="82" y="84"/>
                  </a:cubicBezTo>
                  <a:cubicBezTo>
                    <a:pt x="82" y="83"/>
                    <a:pt x="77" y="83"/>
                    <a:pt x="77" y="83"/>
                  </a:cubicBezTo>
                  <a:cubicBezTo>
                    <a:pt x="77" y="84"/>
                    <a:pt x="78" y="82"/>
                    <a:pt x="77" y="83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9" name="Freeform 549">
              <a:extLst>
                <a:ext uri="{FF2B5EF4-FFF2-40B4-BE49-F238E27FC236}">
                  <a16:creationId xmlns:a16="http://schemas.microsoft.com/office/drawing/2014/main" id="{6BE20316-3A63-1E14-408B-27F80578488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9931" y="2299667"/>
              <a:ext cx="32188" cy="11355"/>
            </a:xfrm>
            <a:custGeom>
              <a:avLst/>
              <a:gdLst>
                <a:gd name="T0" fmla="*/ 5 w 6"/>
                <a:gd name="T1" fmla="*/ 1 h 2"/>
                <a:gd name="T2" fmla="*/ 1 w 6"/>
                <a:gd name="T3" fmla="*/ 0 h 2"/>
                <a:gd name="T4" fmla="*/ 5 w 6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2">
                  <a:moveTo>
                    <a:pt x="5" y="1"/>
                  </a:moveTo>
                  <a:cubicBezTo>
                    <a:pt x="5" y="2"/>
                    <a:pt x="0" y="0"/>
                    <a:pt x="1" y="0"/>
                  </a:cubicBezTo>
                  <a:cubicBezTo>
                    <a:pt x="3" y="0"/>
                    <a:pt x="6" y="0"/>
                    <a:pt x="5" y="1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0" name="Freeform 550">
              <a:extLst>
                <a:ext uri="{FF2B5EF4-FFF2-40B4-BE49-F238E27FC236}">
                  <a16:creationId xmlns:a16="http://schemas.microsoft.com/office/drawing/2014/main" id="{AD7C3C73-A605-FD5B-5479-3FB43DB1426E}"/>
                </a:ext>
              </a:extLst>
            </p:cNvPr>
            <p:cNvSpPr>
              <a:spLocks/>
            </p:cNvSpPr>
            <p:nvPr/>
          </p:nvSpPr>
          <p:spPr bwMode="auto">
            <a:xfrm>
              <a:off x="3865154" y="2055552"/>
              <a:ext cx="42917" cy="11355"/>
            </a:xfrm>
            <a:custGeom>
              <a:avLst/>
              <a:gdLst>
                <a:gd name="T0" fmla="*/ 7 w 8"/>
                <a:gd name="T1" fmla="*/ 1 h 2"/>
                <a:gd name="T2" fmla="*/ 2 w 8"/>
                <a:gd name="T3" fmla="*/ 2 h 2"/>
                <a:gd name="T4" fmla="*/ 3 w 8"/>
                <a:gd name="T5" fmla="*/ 0 h 2"/>
                <a:gd name="T6" fmla="*/ 7 w 8"/>
                <a:gd name="T7" fmla="*/ 1 h 2"/>
                <a:gd name="T8" fmla="*/ 7 w 8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2">
                  <a:moveTo>
                    <a:pt x="7" y="1"/>
                  </a:moveTo>
                  <a:cubicBezTo>
                    <a:pt x="8" y="2"/>
                    <a:pt x="3" y="2"/>
                    <a:pt x="2" y="2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5" y="0"/>
                    <a:pt x="7" y="0"/>
                    <a:pt x="7" y="1"/>
                  </a:cubicBezTo>
                  <a:cubicBezTo>
                    <a:pt x="8" y="2"/>
                    <a:pt x="7" y="0"/>
                    <a:pt x="7" y="1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1" name="Freeform 551">
              <a:extLst>
                <a:ext uri="{FF2B5EF4-FFF2-40B4-BE49-F238E27FC236}">
                  <a16:creationId xmlns:a16="http://schemas.microsoft.com/office/drawing/2014/main" id="{85729E5E-CDF4-2E3F-8F7D-B198ABC26D33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2565" y="2044198"/>
              <a:ext cx="62589" cy="54878"/>
            </a:xfrm>
            <a:custGeom>
              <a:avLst/>
              <a:gdLst>
                <a:gd name="T0" fmla="*/ 10 w 12"/>
                <a:gd name="T1" fmla="*/ 7 h 10"/>
                <a:gd name="T2" fmla="*/ 3 w 12"/>
                <a:gd name="T3" fmla="*/ 9 h 10"/>
                <a:gd name="T4" fmla="*/ 2 w 12"/>
                <a:gd name="T5" fmla="*/ 2 h 10"/>
                <a:gd name="T6" fmla="*/ 9 w 12"/>
                <a:gd name="T7" fmla="*/ 0 h 10"/>
                <a:gd name="T8" fmla="*/ 10 w 12"/>
                <a:gd name="T9" fmla="*/ 7 h 10"/>
                <a:gd name="T10" fmla="*/ 10 w 12"/>
                <a:gd name="T11" fmla="*/ 7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0">
                  <a:moveTo>
                    <a:pt x="10" y="7"/>
                  </a:moveTo>
                  <a:cubicBezTo>
                    <a:pt x="8" y="8"/>
                    <a:pt x="6" y="10"/>
                    <a:pt x="3" y="9"/>
                  </a:cubicBezTo>
                  <a:cubicBezTo>
                    <a:pt x="0" y="7"/>
                    <a:pt x="0" y="4"/>
                    <a:pt x="2" y="2"/>
                  </a:cubicBezTo>
                  <a:cubicBezTo>
                    <a:pt x="3" y="0"/>
                    <a:pt x="7" y="0"/>
                    <a:pt x="9" y="0"/>
                  </a:cubicBezTo>
                  <a:cubicBezTo>
                    <a:pt x="11" y="0"/>
                    <a:pt x="12" y="5"/>
                    <a:pt x="10" y="7"/>
                  </a:cubicBezTo>
                  <a:cubicBezTo>
                    <a:pt x="9" y="8"/>
                    <a:pt x="12" y="6"/>
                    <a:pt x="10" y="7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2" name="Freeform 552">
              <a:extLst>
                <a:ext uri="{FF2B5EF4-FFF2-40B4-BE49-F238E27FC236}">
                  <a16:creationId xmlns:a16="http://schemas.microsoft.com/office/drawing/2014/main" id="{04AFD0AC-F95D-51C6-C1D8-B9BB83D7E893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5341" y="1994996"/>
              <a:ext cx="35765" cy="20817"/>
            </a:xfrm>
            <a:custGeom>
              <a:avLst/>
              <a:gdLst>
                <a:gd name="T0" fmla="*/ 1 w 7"/>
                <a:gd name="T1" fmla="*/ 4 h 4"/>
                <a:gd name="T2" fmla="*/ 5 w 7"/>
                <a:gd name="T3" fmla="*/ 0 h 4"/>
                <a:gd name="T4" fmla="*/ 1 w 7"/>
                <a:gd name="T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4">
                  <a:moveTo>
                    <a:pt x="1" y="4"/>
                  </a:moveTo>
                  <a:cubicBezTo>
                    <a:pt x="0" y="4"/>
                    <a:pt x="4" y="0"/>
                    <a:pt x="5" y="0"/>
                  </a:cubicBezTo>
                  <a:cubicBezTo>
                    <a:pt x="7" y="1"/>
                    <a:pt x="3" y="4"/>
                    <a:pt x="1" y="4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3" name="Freeform 553">
              <a:extLst>
                <a:ext uri="{FF2B5EF4-FFF2-40B4-BE49-F238E27FC236}">
                  <a16:creationId xmlns:a16="http://schemas.microsoft.com/office/drawing/2014/main" id="{C95C73D1-103B-B84D-FDCA-2991D9FF6267}"/>
                </a:ext>
              </a:extLst>
            </p:cNvPr>
            <p:cNvSpPr>
              <a:spLocks/>
            </p:cNvSpPr>
            <p:nvPr/>
          </p:nvSpPr>
          <p:spPr bwMode="auto">
            <a:xfrm>
              <a:off x="3797201" y="1989318"/>
              <a:ext cx="32188" cy="17031"/>
            </a:xfrm>
            <a:custGeom>
              <a:avLst/>
              <a:gdLst>
                <a:gd name="T0" fmla="*/ 2 w 6"/>
                <a:gd name="T1" fmla="*/ 3 h 3"/>
                <a:gd name="T2" fmla="*/ 2 w 6"/>
                <a:gd name="T3" fmla="*/ 1 h 3"/>
                <a:gd name="T4" fmla="*/ 2 w 6"/>
                <a:gd name="T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3">
                  <a:moveTo>
                    <a:pt x="2" y="3"/>
                  </a:moveTo>
                  <a:cubicBezTo>
                    <a:pt x="2" y="3"/>
                    <a:pt x="0" y="1"/>
                    <a:pt x="2" y="1"/>
                  </a:cubicBezTo>
                  <a:cubicBezTo>
                    <a:pt x="3" y="0"/>
                    <a:pt x="6" y="3"/>
                    <a:pt x="2" y="3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4" name="Freeform 554">
              <a:extLst>
                <a:ext uri="{FF2B5EF4-FFF2-40B4-BE49-F238E27FC236}">
                  <a16:creationId xmlns:a16="http://schemas.microsoft.com/office/drawing/2014/main" id="{ED7378E0-11A3-07C2-9C8E-27D3C4754E5D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6800" y="1977965"/>
              <a:ext cx="25036" cy="11355"/>
            </a:xfrm>
            <a:custGeom>
              <a:avLst/>
              <a:gdLst>
                <a:gd name="T0" fmla="*/ 0 w 5"/>
                <a:gd name="T1" fmla="*/ 1 h 2"/>
                <a:gd name="T2" fmla="*/ 4 w 5"/>
                <a:gd name="T3" fmla="*/ 0 h 2"/>
                <a:gd name="T4" fmla="*/ 0 w 5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2">
                  <a:moveTo>
                    <a:pt x="0" y="1"/>
                  </a:moveTo>
                  <a:cubicBezTo>
                    <a:pt x="2" y="2"/>
                    <a:pt x="5" y="1"/>
                    <a:pt x="4" y="0"/>
                  </a:cubicBezTo>
                  <a:cubicBezTo>
                    <a:pt x="2" y="0"/>
                    <a:pt x="0" y="1"/>
                    <a:pt x="0" y="1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5" name="Freeform 555">
              <a:extLst>
                <a:ext uri="{FF2B5EF4-FFF2-40B4-BE49-F238E27FC236}">
                  <a16:creationId xmlns:a16="http://schemas.microsoft.com/office/drawing/2014/main" id="{8C9D8B71-C49B-B7C1-A9DD-43B71399E02E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2423" y="1766019"/>
              <a:ext cx="137695" cy="62449"/>
            </a:xfrm>
            <a:custGeom>
              <a:avLst/>
              <a:gdLst>
                <a:gd name="T0" fmla="*/ 25 w 26"/>
                <a:gd name="T1" fmla="*/ 9 h 11"/>
                <a:gd name="T2" fmla="*/ 18 w 26"/>
                <a:gd name="T3" fmla="*/ 8 h 11"/>
                <a:gd name="T4" fmla="*/ 10 w 26"/>
                <a:gd name="T5" fmla="*/ 10 h 11"/>
                <a:gd name="T6" fmla="*/ 3 w 26"/>
                <a:gd name="T7" fmla="*/ 6 h 11"/>
                <a:gd name="T8" fmla="*/ 2 w 26"/>
                <a:gd name="T9" fmla="*/ 1 h 11"/>
                <a:gd name="T10" fmla="*/ 8 w 26"/>
                <a:gd name="T11" fmla="*/ 2 h 11"/>
                <a:gd name="T12" fmla="*/ 17 w 26"/>
                <a:gd name="T13" fmla="*/ 2 h 11"/>
                <a:gd name="T14" fmla="*/ 22 w 26"/>
                <a:gd name="T15" fmla="*/ 5 h 11"/>
                <a:gd name="T16" fmla="*/ 25 w 26"/>
                <a:gd name="T17" fmla="*/ 9 h 11"/>
                <a:gd name="T18" fmla="*/ 25 w 26"/>
                <a:gd name="T1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1">
                  <a:moveTo>
                    <a:pt x="25" y="9"/>
                  </a:moveTo>
                  <a:cubicBezTo>
                    <a:pt x="22" y="9"/>
                    <a:pt x="20" y="8"/>
                    <a:pt x="18" y="8"/>
                  </a:cubicBezTo>
                  <a:cubicBezTo>
                    <a:pt x="15" y="8"/>
                    <a:pt x="13" y="10"/>
                    <a:pt x="10" y="10"/>
                  </a:cubicBezTo>
                  <a:cubicBezTo>
                    <a:pt x="7" y="11"/>
                    <a:pt x="6" y="7"/>
                    <a:pt x="3" y="6"/>
                  </a:cubicBezTo>
                  <a:cubicBezTo>
                    <a:pt x="2" y="5"/>
                    <a:pt x="0" y="3"/>
                    <a:pt x="2" y="1"/>
                  </a:cubicBezTo>
                  <a:cubicBezTo>
                    <a:pt x="3" y="0"/>
                    <a:pt x="7" y="2"/>
                    <a:pt x="8" y="2"/>
                  </a:cubicBezTo>
                  <a:cubicBezTo>
                    <a:pt x="11" y="3"/>
                    <a:pt x="14" y="1"/>
                    <a:pt x="17" y="2"/>
                  </a:cubicBezTo>
                  <a:cubicBezTo>
                    <a:pt x="19" y="2"/>
                    <a:pt x="20" y="4"/>
                    <a:pt x="22" y="5"/>
                  </a:cubicBezTo>
                  <a:cubicBezTo>
                    <a:pt x="22" y="6"/>
                    <a:pt x="25" y="9"/>
                    <a:pt x="25" y="9"/>
                  </a:cubicBezTo>
                  <a:cubicBezTo>
                    <a:pt x="23" y="9"/>
                    <a:pt x="26" y="9"/>
                    <a:pt x="25" y="9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2" name="Freeform 569">
              <a:extLst>
                <a:ext uri="{FF2B5EF4-FFF2-40B4-BE49-F238E27FC236}">
                  <a16:creationId xmlns:a16="http://schemas.microsoft.com/office/drawing/2014/main" id="{8817B1F3-5D57-4F12-9E4C-B85C4A4F4E9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26747" y="1966609"/>
              <a:ext cx="109084" cy="71909"/>
            </a:xfrm>
            <a:custGeom>
              <a:avLst/>
              <a:gdLst>
                <a:gd name="T0" fmla="*/ 19 w 21"/>
                <a:gd name="T1" fmla="*/ 9 h 13"/>
                <a:gd name="T2" fmla="*/ 18 w 21"/>
                <a:gd name="T3" fmla="*/ 7 h 13"/>
                <a:gd name="T4" fmla="*/ 14 w 21"/>
                <a:gd name="T5" fmla="*/ 4 h 13"/>
                <a:gd name="T6" fmla="*/ 8 w 21"/>
                <a:gd name="T7" fmla="*/ 1 h 13"/>
                <a:gd name="T8" fmla="*/ 5 w 21"/>
                <a:gd name="T9" fmla="*/ 6 h 13"/>
                <a:gd name="T10" fmla="*/ 0 w 21"/>
                <a:gd name="T11" fmla="*/ 8 h 13"/>
                <a:gd name="T12" fmla="*/ 7 w 21"/>
                <a:gd name="T13" fmla="*/ 11 h 13"/>
                <a:gd name="T14" fmla="*/ 15 w 21"/>
                <a:gd name="T15" fmla="*/ 12 h 13"/>
                <a:gd name="T16" fmla="*/ 20 w 21"/>
                <a:gd name="T17" fmla="*/ 9 h 13"/>
                <a:gd name="T18" fmla="*/ 19 w 21"/>
                <a:gd name="T19" fmla="*/ 9 h 13"/>
                <a:gd name="T20" fmla="*/ 19 w 21"/>
                <a:gd name="T21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13">
                  <a:moveTo>
                    <a:pt x="19" y="9"/>
                  </a:moveTo>
                  <a:cubicBezTo>
                    <a:pt x="15" y="10"/>
                    <a:pt x="19" y="8"/>
                    <a:pt x="18" y="7"/>
                  </a:cubicBezTo>
                  <a:cubicBezTo>
                    <a:pt x="17" y="7"/>
                    <a:pt x="15" y="4"/>
                    <a:pt x="14" y="4"/>
                  </a:cubicBezTo>
                  <a:cubicBezTo>
                    <a:pt x="12" y="4"/>
                    <a:pt x="10" y="1"/>
                    <a:pt x="8" y="1"/>
                  </a:cubicBezTo>
                  <a:cubicBezTo>
                    <a:pt x="6" y="0"/>
                    <a:pt x="6" y="5"/>
                    <a:pt x="5" y="6"/>
                  </a:cubicBezTo>
                  <a:cubicBezTo>
                    <a:pt x="4" y="6"/>
                    <a:pt x="0" y="6"/>
                    <a:pt x="0" y="8"/>
                  </a:cubicBezTo>
                  <a:cubicBezTo>
                    <a:pt x="1" y="10"/>
                    <a:pt x="6" y="11"/>
                    <a:pt x="7" y="11"/>
                  </a:cubicBezTo>
                  <a:cubicBezTo>
                    <a:pt x="9" y="12"/>
                    <a:pt x="13" y="13"/>
                    <a:pt x="15" y="12"/>
                  </a:cubicBezTo>
                  <a:cubicBezTo>
                    <a:pt x="15" y="12"/>
                    <a:pt x="20" y="10"/>
                    <a:pt x="20" y="9"/>
                  </a:cubicBezTo>
                  <a:cubicBezTo>
                    <a:pt x="20" y="9"/>
                    <a:pt x="19" y="9"/>
                    <a:pt x="19" y="9"/>
                  </a:cubicBezTo>
                  <a:cubicBezTo>
                    <a:pt x="18" y="10"/>
                    <a:pt x="21" y="9"/>
                    <a:pt x="19" y="9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3" name="Freeform 570">
              <a:extLst>
                <a:ext uri="{FF2B5EF4-FFF2-40B4-BE49-F238E27FC236}">
                  <a16:creationId xmlns:a16="http://schemas.microsoft.com/office/drawing/2014/main" id="{D2D4BF38-DB54-139F-C1A1-3CFB26E3B741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9195" y="2000672"/>
              <a:ext cx="26823" cy="20817"/>
            </a:xfrm>
            <a:custGeom>
              <a:avLst/>
              <a:gdLst>
                <a:gd name="T0" fmla="*/ 2 w 5"/>
                <a:gd name="T1" fmla="*/ 4 h 4"/>
                <a:gd name="T2" fmla="*/ 4 w 5"/>
                <a:gd name="T3" fmla="*/ 1 h 4"/>
                <a:gd name="T4" fmla="*/ 2 w 5"/>
                <a:gd name="T5" fmla="*/ 4 h 4"/>
                <a:gd name="T6" fmla="*/ 2 w 5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4">
                  <a:moveTo>
                    <a:pt x="2" y="4"/>
                  </a:moveTo>
                  <a:cubicBezTo>
                    <a:pt x="0" y="4"/>
                    <a:pt x="4" y="0"/>
                    <a:pt x="4" y="1"/>
                  </a:cubicBezTo>
                  <a:cubicBezTo>
                    <a:pt x="5" y="1"/>
                    <a:pt x="3" y="4"/>
                    <a:pt x="2" y="4"/>
                  </a:cubicBezTo>
                  <a:cubicBezTo>
                    <a:pt x="1" y="4"/>
                    <a:pt x="4" y="4"/>
                    <a:pt x="2" y="4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4" name="Freeform 571">
              <a:extLst>
                <a:ext uri="{FF2B5EF4-FFF2-40B4-BE49-F238E27FC236}">
                  <a16:creationId xmlns:a16="http://schemas.microsoft.com/office/drawing/2014/main" id="{21B7F662-EF22-2981-D3C7-F50B479C29CD}"/>
                </a:ext>
              </a:extLst>
            </p:cNvPr>
            <p:cNvSpPr>
              <a:spLocks/>
            </p:cNvSpPr>
            <p:nvPr/>
          </p:nvSpPr>
          <p:spPr bwMode="auto">
            <a:xfrm>
              <a:off x="3157006" y="2021487"/>
              <a:ext cx="10730" cy="11355"/>
            </a:xfrm>
            <a:custGeom>
              <a:avLst/>
              <a:gdLst>
                <a:gd name="T0" fmla="*/ 1 w 2"/>
                <a:gd name="T1" fmla="*/ 2 h 2"/>
                <a:gd name="T2" fmla="*/ 1 w 2"/>
                <a:gd name="T3" fmla="*/ 0 h 2"/>
                <a:gd name="T4" fmla="*/ 1 w 2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1" y="2"/>
                  </a:move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2" y="2"/>
                    <a:pt x="1" y="2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5" name="Freeform 572">
              <a:extLst>
                <a:ext uri="{FF2B5EF4-FFF2-40B4-BE49-F238E27FC236}">
                  <a16:creationId xmlns:a16="http://schemas.microsoft.com/office/drawing/2014/main" id="{8E6A0BDA-0C17-414D-77A8-134442EC8B8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6365" y="1788728"/>
              <a:ext cx="482829" cy="249792"/>
            </a:xfrm>
            <a:custGeom>
              <a:avLst/>
              <a:gdLst>
                <a:gd name="T0" fmla="*/ 76 w 92"/>
                <a:gd name="T1" fmla="*/ 41 h 45"/>
                <a:gd name="T2" fmla="*/ 71 w 92"/>
                <a:gd name="T3" fmla="*/ 39 h 45"/>
                <a:gd name="T4" fmla="*/ 61 w 92"/>
                <a:gd name="T5" fmla="*/ 38 h 45"/>
                <a:gd name="T6" fmla="*/ 45 w 92"/>
                <a:gd name="T7" fmla="*/ 43 h 45"/>
                <a:gd name="T8" fmla="*/ 29 w 92"/>
                <a:gd name="T9" fmla="*/ 41 h 45"/>
                <a:gd name="T10" fmla="*/ 21 w 92"/>
                <a:gd name="T11" fmla="*/ 38 h 45"/>
                <a:gd name="T12" fmla="*/ 10 w 92"/>
                <a:gd name="T13" fmla="*/ 31 h 45"/>
                <a:gd name="T14" fmla="*/ 40 w 92"/>
                <a:gd name="T15" fmla="*/ 29 h 45"/>
                <a:gd name="T16" fmla="*/ 9 w 92"/>
                <a:gd name="T17" fmla="*/ 26 h 45"/>
                <a:gd name="T18" fmla="*/ 16 w 92"/>
                <a:gd name="T19" fmla="*/ 19 h 45"/>
                <a:gd name="T20" fmla="*/ 14 w 92"/>
                <a:gd name="T21" fmla="*/ 18 h 45"/>
                <a:gd name="T22" fmla="*/ 7 w 92"/>
                <a:gd name="T23" fmla="*/ 17 h 45"/>
                <a:gd name="T24" fmla="*/ 4 w 92"/>
                <a:gd name="T25" fmla="*/ 11 h 45"/>
                <a:gd name="T26" fmla="*/ 8 w 92"/>
                <a:gd name="T27" fmla="*/ 7 h 45"/>
                <a:gd name="T28" fmla="*/ 24 w 92"/>
                <a:gd name="T29" fmla="*/ 1 h 45"/>
                <a:gd name="T30" fmla="*/ 29 w 92"/>
                <a:gd name="T31" fmla="*/ 7 h 45"/>
                <a:gd name="T32" fmla="*/ 39 w 92"/>
                <a:gd name="T33" fmla="*/ 6 h 45"/>
                <a:gd name="T34" fmla="*/ 43 w 92"/>
                <a:gd name="T35" fmla="*/ 8 h 45"/>
                <a:gd name="T36" fmla="*/ 47 w 92"/>
                <a:gd name="T37" fmla="*/ 9 h 45"/>
                <a:gd name="T38" fmla="*/ 43 w 92"/>
                <a:gd name="T39" fmla="*/ 4 h 45"/>
                <a:gd name="T40" fmla="*/ 54 w 92"/>
                <a:gd name="T41" fmla="*/ 10 h 45"/>
                <a:gd name="T42" fmla="*/ 60 w 92"/>
                <a:gd name="T43" fmla="*/ 14 h 45"/>
                <a:gd name="T44" fmla="*/ 59 w 92"/>
                <a:gd name="T45" fmla="*/ 1 h 45"/>
                <a:gd name="T46" fmla="*/ 69 w 92"/>
                <a:gd name="T47" fmla="*/ 6 h 45"/>
                <a:gd name="T48" fmla="*/ 74 w 92"/>
                <a:gd name="T49" fmla="*/ 19 h 45"/>
                <a:gd name="T50" fmla="*/ 82 w 92"/>
                <a:gd name="T51" fmla="*/ 26 h 45"/>
                <a:gd name="T52" fmla="*/ 92 w 92"/>
                <a:gd name="T53" fmla="*/ 33 h 45"/>
                <a:gd name="T54" fmla="*/ 83 w 92"/>
                <a:gd name="T55" fmla="*/ 35 h 45"/>
                <a:gd name="T56" fmla="*/ 81 w 92"/>
                <a:gd name="T57" fmla="*/ 36 h 45"/>
                <a:gd name="T58" fmla="*/ 85 w 92"/>
                <a:gd name="T59" fmla="*/ 36 h 45"/>
                <a:gd name="T60" fmla="*/ 89 w 92"/>
                <a:gd name="T61" fmla="*/ 39 h 45"/>
                <a:gd name="T62" fmla="*/ 83 w 92"/>
                <a:gd name="T63" fmla="*/ 4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92" h="45">
                  <a:moveTo>
                    <a:pt x="83" y="41"/>
                  </a:moveTo>
                  <a:cubicBezTo>
                    <a:pt x="81" y="41"/>
                    <a:pt x="79" y="41"/>
                    <a:pt x="76" y="41"/>
                  </a:cubicBezTo>
                  <a:cubicBezTo>
                    <a:pt x="75" y="41"/>
                    <a:pt x="74" y="41"/>
                    <a:pt x="73" y="41"/>
                  </a:cubicBezTo>
                  <a:cubicBezTo>
                    <a:pt x="72" y="41"/>
                    <a:pt x="72" y="40"/>
                    <a:pt x="71" y="39"/>
                  </a:cubicBezTo>
                  <a:cubicBezTo>
                    <a:pt x="70" y="39"/>
                    <a:pt x="66" y="40"/>
                    <a:pt x="65" y="38"/>
                  </a:cubicBezTo>
                  <a:cubicBezTo>
                    <a:pt x="65" y="35"/>
                    <a:pt x="63" y="37"/>
                    <a:pt x="61" y="38"/>
                  </a:cubicBezTo>
                  <a:cubicBezTo>
                    <a:pt x="58" y="40"/>
                    <a:pt x="56" y="39"/>
                    <a:pt x="54" y="40"/>
                  </a:cubicBezTo>
                  <a:cubicBezTo>
                    <a:pt x="51" y="41"/>
                    <a:pt x="48" y="42"/>
                    <a:pt x="45" y="43"/>
                  </a:cubicBezTo>
                  <a:cubicBezTo>
                    <a:pt x="41" y="43"/>
                    <a:pt x="35" y="45"/>
                    <a:pt x="31" y="43"/>
                  </a:cubicBezTo>
                  <a:cubicBezTo>
                    <a:pt x="31" y="43"/>
                    <a:pt x="29" y="42"/>
                    <a:pt x="29" y="41"/>
                  </a:cubicBezTo>
                  <a:cubicBezTo>
                    <a:pt x="29" y="40"/>
                    <a:pt x="29" y="38"/>
                    <a:pt x="27" y="38"/>
                  </a:cubicBezTo>
                  <a:cubicBezTo>
                    <a:pt x="25" y="38"/>
                    <a:pt x="23" y="38"/>
                    <a:pt x="21" y="38"/>
                  </a:cubicBezTo>
                  <a:cubicBezTo>
                    <a:pt x="19" y="38"/>
                    <a:pt x="17" y="38"/>
                    <a:pt x="15" y="36"/>
                  </a:cubicBezTo>
                  <a:cubicBezTo>
                    <a:pt x="14" y="36"/>
                    <a:pt x="9" y="32"/>
                    <a:pt x="10" y="31"/>
                  </a:cubicBezTo>
                  <a:cubicBezTo>
                    <a:pt x="16" y="28"/>
                    <a:pt x="23" y="29"/>
                    <a:pt x="28" y="29"/>
                  </a:cubicBezTo>
                  <a:cubicBezTo>
                    <a:pt x="29" y="29"/>
                    <a:pt x="40" y="29"/>
                    <a:pt x="40" y="29"/>
                  </a:cubicBezTo>
                  <a:cubicBezTo>
                    <a:pt x="40" y="27"/>
                    <a:pt x="26" y="25"/>
                    <a:pt x="25" y="25"/>
                  </a:cubicBezTo>
                  <a:cubicBezTo>
                    <a:pt x="20" y="25"/>
                    <a:pt x="14" y="28"/>
                    <a:pt x="9" y="26"/>
                  </a:cubicBezTo>
                  <a:cubicBezTo>
                    <a:pt x="7" y="25"/>
                    <a:pt x="3" y="23"/>
                    <a:pt x="7" y="21"/>
                  </a:cubicBezTo>
                  <a:cubicBezTo>
                    <a:pt x="10" y="20"/>
                    <a:pt x="13" y="19"/>
                    <a:pt x="16" y="19"/>
                  </a:cubicBezTo>
                  <a:cubicBezTo>
                    <a:pt x="18" y="18"/>
                    <a:pt x="20" y="18"/>
                    <a:pt x="21" y="18"/>
                  </a:cubicBezTo>
                  <a:cubicBezTo>
                    <a:pt x="19" y="19"/>
                    <a:pt x="16" y="18"/>
                    <a:pt x="14" y="18"/>
                  </a:cubicBezTo>
                  <a:cubicBezTo>
                    <a:pt x="13" y="18"/>
                    <a:pt x="7" y="19"/>
                    <a:pt x="6" y="18"/>
                  </a:cubicBezTo>
                  <a:cubicBezTo>
                    <a:pt x="6" y="18"/>
                    <a:pt x="7" y="17"/>
                    <a:pt x="7" y="17"/>
                  </a:cubicBezTo>
                  <a:cubicBezTo>
                    <a:pt x="7" y="16"/>
                    <a:pt x="0" y="17"/>
                    <a:pt x="1" y="15"/>
                  </a:cubicBezTo>
                  <a:cubicBezTo>
                    <a:pt x="2" y="14"/>
                    <a:pt x="3" y="12"/>
                    <a:pt x="4" y="11"/>
                  </a:cubicBezTo>
                  <a:cubicBezTo>
                    <a:pt x="8" y="10"/>
                    <a:pt x="4" y="10"/>
                    <a:pt x="4" y="9"/>
                  </a:cubicBezTo>
                  <a:cubicBezTo>
                    <a:pt x="4" y="9"/>
                    <a:pt x="7" y="7"/>
                    <a:pt x="8" y="7"/>
                  </a:cubicBezTo>
                  <a:cubicBezTo>
                    <a:pt x="10" y="6"/>
                    <a:pt x="11" y="5"/>
                    <a:pt x="13" y="4"/>
                  </a:cubicBezTo>
                  <a:cubicBezTo>
                    <a:pt x="17" y="2"/>
                    <a:pt x="20" y="1"/>
                    <a:pt x="24" y="1"/>
                  </a:cubicBezTo>
                  <a:cubicBezTo>
                    <a:pt x="29" y="1"/>
                    <a:pt x="24" y="7"/>
                    <a:pt x="24" y="7"/>
                  </a:cubicBezTo>
                  <a:cubicBezTo>
                    <a:pt x="26" y="8"/>
                    <a:pt x="28" y="8"/>
                    <a:pt x="29" y="7"/>
                  </a:cubicBezTo>
                  <a:cubicBezTo>
                    <a:pt x="30" y="7"/>
                    <a:pt x="30" y="4"/>
                    <a:pt x="31" y="4"/>
                  </a:cubicBezTo>
                  <a:cubicBezTo>
                    <a:pt x="33" y="4"/>
                    <a:pt x="37" y="4"/>
                    <a:pt x="39" y="6"/>
                  </a:cubicBezTo>
                  <a:cubicBezTo>
                    <a:pt x="42" y="8"/>
                    <a:pt x="35" y="11"/>
                    <a:pt x="40" y="10"/>
                  </a:cubicBezTo>
                  <a:cubicBezTo>
                    <a:pt x="41" y="10"/>
                    <a:pt x="42" y="9"/>
                    <a:pt x="43" y="8"/>
                  </a:cubicBezTo>
                  <a:cubicBezTo>
                    <a:pt x="44" y="8"/>
                    <a:pt x="44" y="8"/>
                    <a:pt x="45" y="8"/>
                  </a:cubicBezTo>
                  <a:cubicBezTo>
                    <a:pt x="46" y="8"/>
                    <a:pt x="46" y="8"/>
                    <a:pt x="47" y="9"/>
                  </a:cubicBezTo>
                  <a:cubicBezTo>
                    <a:pt x="48" y="9"/>
                    <a:pt x="48" y="7"/>
                    <a:pt x="48" y="6"/>
                  </a:cubicBezTo>
                  <a:cubicBezTo>
                    <a:pt x="47" y="6"/>
                    <a:pt x="44" y="4"/>
                    <a:pt x="43" y="4"/>
                  </a:cubicBezTo>
                  <a:cubicBezTo>
                    <a:pt x="45" y="3"/>
                    <a:pt x="49" y="5"/>
                    <a:pt x="50" y="6"/>
                  </a:cubicBezTo>
                  <a:cubicBezTo>
                    <a:pt x="53" y="7"/>
                    <a:pt x="53" y="8"/>
                    <a:pt x="54" y="10"/>
                  </a:cubicBezTo>
                  <a:cubicBezTo>
                    <a:pt x="54" y="11"/>
                    <a:pt x="54" y="16"/>
                    <a:pt x="56" y="16"/>
                  </a:cubicBezTo>
                  <a:cubicBezTo>
                    <a:pt x="57" y="16"/>
                    <a:pt x="61" y="16"/>
                    <a:pt x="60" y="14"/>
                  </a:cubicBezTo>
                  <a:cubicBezTo>
                    <a:pt x="59" y="10"/>
                    <a:pt x="57" y="7"/>
                    <a:pt x="56" y="3"/>
                  </a:cubicBezTo>
                  <a:cubicBezTo>
                    <a:pt x="55" y="0"/>
                    <a:pt x="58" y="1"/>
                    <a:pt x="59" y="1"/>
                  </a:cubicBezTo>
                  <a:cubicBezTo>
                    <a:pt x="62" y="2"/>
                    <a:pt x="62" y="0"/>
                    <a:pt x="64" y="1"/>
                  </a:cubicBezTo>
                  <a:cubicBezTo>
                    <a:pt x="66" y="3"/>
                    <a:pt x="69" y="4"/>
                    <a:pt x="69" y="6"/>
                  </a:cubicBezTo>
                  <a:cubicBezTo>
                    <a:pt x="70" y="9"/>
                    <a:pt x="71" y="11"/>
                    <a:pt x="73" y="13"/>
                  </a:cubicBezTo>
                  <a:cubicBezTo>
                    <a:pt x="74" y="16"/>
                    <a:pt x="75" y="17"/>
                    <a:pt x="74" y="19"/>
                  </a:cubicBezTo>
                  <a:cubicBezTo>
                    <a:pt x="73" y="22"/>
                    <a:pt x="76" y="25"/>
                    <a:pt x="78" y="26"/>
                  </a:cubicBezTo>
                  <a:cubicBezTo>
                    <a:pt x="79" y="26"/>
                    <a:pt x="81" y="26"/>
                    <a:pt x="82" y="26"/>
                  </a:cubicBezTo>
                  <a:cubicBezTo>
                    <a:pt x="83" y="27"/>
                    <a:pt x="84" y="28"/>
                    <a:pt x="85" y="28"/>
                  </a:cubicBezTo>
                  <a:cubicBezTo>
                    <a:pt x="88" y="29"/>
                    <a:pt x="92" y="29"/>
                    <a:pt x="92" y="33"/>
                  </a:cubicBezTo>
                  <a:cubicBezTo>
                    <a:pt x="92" y="35"/>
                    <a:pt x="83" y="32"/>
                    <a:pt x="83" y="32"/>
                  </a:cubicBezTo>
                  <a:cubicBezTo>
                    <a:pt x="83" y="33"/>
                    <a:pt x="83" y="34"/>
                    <a:pt x="83" y="35"/>
                  </a:cubicBezTo>
                  <a:cubicBezTo>
                    <a:pt x="83" y="35"/>
                    <a:pt x="80" y="35"/>
                    <a:pt x="80" y="35"/>
                  </a:cubicBezTo>
                  <a:cubicBezTo>
                    <a:pt x="81" y="35"/>
                    <a:pt x="81" y="36"/>
                    <a:pt x="81" y="36"/>
                  </a:cubicBezTo>
                  <a:cubicBezTo>
                    <a:pt x="81" y="37"/>
                    <a:pt x="81" y="38"/>
                    <a:pt x="81" y="38"/>
                  </a:cubicBezTo>
                  <a:cubicBezTo>
                    <a:pt x="81" y="38"/>
                    <a:pt x="85" y="36"/>
                    <a:pt x="85" y="36"/>
                  </a:cubicBezTo>
                  <a:cubicBezTo>
                    <a:pt x="87" y="36"/>
                    <a:pt x="86" y="37"/>
                    <a:pt x="86" y="38"/>
                  </a:cubicBezTo>
                  <a:cubicBezTo>
                    <a:pt x="86" y="38"/>
                    <a:pt x="88" y="38"/>
                    <a:pt x="89" y="39"/>
                  </a:cubicBezTo>
                  <a:cubicBezTo>
                    <a:pt x="89" y="39"/>
                    <a:pt x="83" y="41"/>
                    <a:pt x="83" y="41"/>
                  </a:cubicBezTo>
                  <a:cubicBezTo>
                    <a:pt x="81" y="41"/>
                    <a:pt x="86" y="41"/>
                    <a:pt x="83" y="41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6" name="Freeform 573">
              <a:extLst>
                <a:ext uri="{FF2B5EF4-FFF2-40B4-BE49-F238E27FC236}">
                  <a16:creationId xmlns:a16="http://schemas.microsoft.com/office/drawing/2014/main" id="{77E47FAE-78A0-4D38-9837-8FA070EC4A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6464" y="1766019"/>
              <a:ext cx="73319" cy="51094"/>
            </a:xfrm>
            <a:custGeom>
              <a:avLst/>
              <a:gdLst>
                <a:gd name="T0" fmla="*/ 9 w 14"/>
                <a:gd name="T1" fmla="*/ 8 h 9"/>
                <a:gd name="T2" fmla="*/ 5 w 14"/>
                <a:gd name="T3" fmla="*/ 5 h 9"/>
                <a:gd name="T4" fmla="*/ 0 w 14"/>
                <a:gd name="T5" fmla="*/ 3 h 9"/>
                <a:gd name="T6" fmla="*/ 4 w 14"/>
                <a:gd name="T7" fmla="*/ 0 h 9"/>
                <a:gd name="T8" fmla="*/ 10 w 14"/>
                <a:gd name="T9" fmla="*/ 1 h 9"/>
                <a:gd name="T10" fmla="*/ 12 w 14"/>
                <a:gd name="T11" fmla="*/ 4 h 9"/>
                <a:gd name="T12" fmla="*/ 9 w 14"/>
                <a:gd name="T13" fmla="*/ 8 h 9"/>
                <a:gd name="T14" fmla="*/ 9 w 14"/>
                <a:gd name="T1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9">
                  <a:moveTo>
                    <a:pt x="9" y="8"/>
                  </a:moveTo>
                  <a:cubicBezTo>
                    <a:pt x="7" y="8"/>
                    <a:pt x="6" y="5"/>
                    <a:pt x="5" y="5"/>
                  </a:cubicBezTo>
                  <a:cubicBezTo>
                    <a:pt x="4" y="4"/>
                    <a:pt x="0" y="3"/>
                    <a:pt x="0" y="3"/>
                  </a:cubicBezTo>
                  <a:cubicBezTo>
                    <a:pt x="1" y="2"/>
                    <a:pt x="3" y="1"/>
                    <a:pt x="4" y="0"/>
                  </a:cubicBezTo>
                  <a:cubicBezTo>
                    <a:pt x="6" y="0"/>
                    <a:pt x="8" y="0"/>
                    <a:pt x="10" y="1"/>
                  </a:cubicBezTo>
                  <a:cubicBezTo>
                    <a:pt x="12" y="2"/>
                    <a:pt x="14" y="2"/>
                    <a:pt x="12" y="4"/>
                  </a:cubicBezTo>
                  <a:cubicBezTo>
                    <a:pt x="11" y="5"/>
                    <a:pt x="10" y="9"/>
                    <a:pt x="9" y="8"/>
                  </a:cubicBezTo>
                  <a:cubicBezTo>
                    <a:pt x="8" y="8"/>
                    <a:pt x="9" y="8"/>
                    <a:pt x="9" y="8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7" name="Freeform 574">
              <a:extLst>
                <a:ext uri="{FF2B5EF4-FFF2-40B4-BE49-F238E27FC236}">
                  <a16:creationId xmlns:a16="http://schemas.microsoft.com/office/drawing/2014/main" id="{BADAA3EF-E803-C8AE-27F6-51F67C050CCC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2700" y="1743310"/>
              <a:ext cx="166307" cy="162744"/>
            </a:xfrm>
            <a:custGeom>
              <a:avLst/>
              <a:gdLst>
                <a:gd name="T0" fmla="*/ 18 w 32"/>
                <a:gd name="T1" fmla="*/ 27 h 29"/>
                <a:gd name="T2" fmla="*/ 10 w 32"/>
                <a:gd name="T3" fmla="*/ 19 h 29"/>
                <a:gd name="T4" fmla="*/ 1 w 32"/>
                <a:gd name="T5" fmla="*/ 15 h 29"/>
                <a:gd name="T6" fmla="*/ 0 w 32"/>
                <a:gd name="T7" fmla="*/ 13 h 29"/>
                <a:gd name="T8" fmla="*/ 4 w 32"/>
                <a:gd name="T9" fmla="*/ 12 h 29"/>
                <a:gd name="T10" fmla="*/ 11 w 32"/>
                <a:gd name="T11" fmla="*/ 14 h 29"/>
                <a:gd name="T12" fmla="*/ 11 w 32"/>
                <a:gd name="T13" fmla="*/ 12 h 29"/>
                <a:gd name="T14" fmla="*/ 13 w 32"/>
                <a:gd name="T15" fmla="*/ 11 h 29"/>
                <a:gd name="T16" fmla="*/ 7 w 32"/>
                <a:gd name="T17" fmla="*/ 8 h 29"/>
                <a:gd name="T18" fmla="*/ 7 w 32"/>
                <a:gd name="T19" fmla="*/ 6 h 29"/>
                <a:gd name="T20" fmla="*/ 10 w 32"/>
                <a:gd name="T21" fmla="*/ 7 h 29"/>
                <a:gd name="T22" fmla="*/ 11 w 32"/>
                <a:gd name="T23" fmla="*/ 5 h 29"/>
                <a:gd name="T24" fmla="*/ 8 w 32"/>
                <a:gd name="T25" fmla="*/ 4 h 29"/>
                <a:gd name="T26" fmla="*/ 10 w 32"/>
                <a:gd name="T27" fmla="*/ 3 h 29"/>
                <a:gd name="T28" fmla="*/ 14 w 32"/>
                <a:gd name="T29" fmla="*/ 4 h 29"/>
                <a:gd name="T30" fmla="*/ 13 w 32"/>
                <a:gd name="T31" fmla="*/ 3 h 29"/>
                <a:gd name="T32" fmla="*/ 19 w 32"/>
                <a:gd name="T33" fmla="*/ 5 h 29"/>
                <a:gd name="T34" fmla="*/ 18 w 32"/>
                <a:gd name="T35" fmla="*/ 3 h 29"/>
                <a:gd name="T36" fmla="*/ 19 w 32"/>
                <a:gd name="T37" fmla="*/ 3 h 29"/>
                <a:gd name="T38" fmla="*/ 17 w 32"/>
                <a:gd name="T39" fmla="*/ 2 h 29"/>
                <a:gd name="T40" fmla="*/ 25 w 32"/>
                <a:gd name="T41" fmla="*/ 1 h 29"/>
                <a:gd name="T42" fmla="*/ 23 w 32"/>
                <a:gd name="T43" fmla="*/ 3 h 29"/>
                <a:gd name="T44" fmla="*/ 28 w 32"/>
                <a:gd name="T45" fmla="*/ 4 h 29"/>
                <a:gd name="T46" fmla="*/ 27 w 32"/>
                <a:gd name="T47" fmla="*/ 7 h 29"/>
                <a:gd name="T48" fmla="*/ 26 w 32"/>
                <a:gd name="T49" fmla="*/ 8 h 29"/>
                <a:gd name="T50" fmla="*/ 23 w 32"/>
                <a:gd name="T51" fmla="*/ 10 h 29"/>
                <a:gd name="T52" fmla="*/ 21 w 32"/>
                <a:gd name="T53" fmla="*/ 13 h 29"/>
                <a:gd name="T54" fmla="*/ 24 w 32"/>
                <a:gd name="T55" fmla="*/ 11 h 29"/>
                <a:gd name="T56" fmla="*/ 26 w 32"/>
                <a:gd name="T57" fmla="*/ 13 h 29"/>
                <a:gd name="T58" fmla="*/ 29 w 32"/>
                <a:gd name="T59" fmla="*/ 13 h 29"/>
                <a:gd name="T60" fmla="*/ 28 w 32"/>
                <a:gd name="T61" fmla="*/ 10 h 29"/>
                <a:gd name="T62" fmla="*/ 30 w 32"/>
                <a:gd name="T63" fmla="*/ 11 h 29"/>
                <a:gd name="T64" fmla="*/ 30 w 32"/>
                <a:gd name="T65" fmla="*/ 14 h 29"/>
                <a:gd name="T66" fmla="*/ 31 w 32"/>
                <a:gd name="T67" fmla="*/ 17 h 29"/>
                <a:gd name="T68" fmla="*/ 28 w 32"/>
                <a:gd name="T69" fmla="*/ 23 h 29"/>
                <a:gd name="T70" fmla="*/ 22 w 32"/>
                <a:gd name="T71" fmla="*/ 23 h 29"/>
                <a:gd name="T72" fmla="*/ 21 w 32"/>
                <a:gd name="T73" fmla="*/ 23 h 29"/>
                <a:gd name="T74" fmla="*/ 23 w 32"/>
                <a:gd name="T75" fmla="*/ 26 h 29"/>
                <a:gd name="T76" fmla="*/ 18 w 32"/>
                <a:gd name="T77" fmla="*/ 27 h 29"/>
                <a:gd name="T78" fmla="*/ 18 w 32"/>
                <a:gd name="T79" fmla="*/ 27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" h="29">
                  <a:moveTo>
                    <a:pt x="18" y="27"/>
                  </a:moveTo>
                  <a:cubicBezTo>
                    <a:pt x="15" y="25"/>
                    <a:pt x="13" y="21"/>
                    <a:pt x="10" y="19"/>
                  </a:cubicBezTo>
                  <a:cubicBezTo>
                    <a:pt x="7" y="18"/>
                    <a:pt x="4" y="16"/>
                    <a:pt x="1" y="15"/>
                  </a:cubicBezTo>
                  <a:cubicBezTo>
                    <a:pt x="0" y="14"/>
                    <a:pt x="0" y="14"/>
                    <a:pt x="0" y="13"/>
                  </a:cubicBezTo>
                  <a:cubicBezTo>
                    <a:pt x="0" y="10"/>
                    <a:pt x="2" y="11"/>
                    <a:pt x="4" y="12"/>
                  </a:cubicBezTo>
                  <a:cubicBezTo>
                    <a:pt x="6" y="13"/>
                    <a:pt x="8" y="15"/>
                    <a:pt x="11" y="14"/>
                  </a:cubicBezTo>
                  <a:cubicBezTo>
                    <a:pt x="12" y="14"/>
                    <a:pt x="11" y="12"/>
                    <a:pt x="11" y="12"/>
                  </a:cubicBezTo>
                  <a:cubicBezTo>
                    <a:pt x="11" y="11"/>
                    <a:pt x="13" y="12"/>
                    <a:pt x="13" y="11"/>
                  </a:cubicBezTo>
                  <a:cubicBezTo>
                    <a:pt x="14" y="10"/>
                    <a:pt x="7" y="8"/>
                    <a:pt x="7" y="8"/>
                  </a:cubicBezTo>
                  <a:cubicBezTo>
                    <a:pt x="5" y="7"/>
                    <a:pt x="6" y="6"/>
                    <a:pt x="7" y="6"/>
                  </a:cubicBezTo>
                  <a:cubicBezTo>
                    <a:pt x="9" y="5"/>
                    <a:pt x="9" y="6"/>
                    <a:pt x="10" y="7"/>
                  </a:cubicBezTo>
                  <a:cubicBezTo>
                    <a:pt x="10" y="7"/>
                    <a:pt x="11" y="5"/>
                    <a:pt x="11" y="5"/>
                  </a:cubicBezTo>
                  <a:cubicBezTo>
                    <a:pt x="12" y="5"/>
                    <a:pt x="8" y="4"/>
                    <a:pt x="8" y="4"/>
                  </a:cubicBezTo>
                  <a:cubicBezTo>
                    <a:pt x="8" y="4"/>
                    <a:pt x="10" y="3"/>
                    <a:pt x="10" y="3"/>
                  </a:cubicBezTo>
                  <a:cubicBezTo>
                    <a:pt x="11" y="3"/>
                    <a:pt x="13" y="4"/>
                    <a:pt x="14" y="4"/>
                  </a:cubicBezTo>
                  <a:cubicBezTo>
                    <a:pt x="14" y="4"/>
                    <a:pt x="13" y="3"/>
                    <a:pt x="13" y="3"/>
                  </a:cubicBezTo>
                  <a:cubicBezTo>
                    <a:pt x="14" y="2"/>
                    <a:pt x="18" y="5"/>
                    <a:pt x="19" y="5"/>
                  </a:cubicBezTo>
                  <a:cubicBezTo>
                    <a:pt x="20" y="4"/>
                    <a:pt x="18" y="4"/>
                    <a:pt x="18" y="3"/>
                  </a:cubicBezTo>
                  <a:cubicBezTo>
                    <a:pt x="18" y="3"/>
                    <a:pt x="19" y="3"/>
                    <a:pt x="19" y="3"/>
                  </a:cubicBezTo>
                  <a:cubicBezTo>
                    <a:pt x="19" y="3"/>
                    <a:pt x="17" y="3"/>
                    <a:pt x="17" y="2"/>
                  </a:cubicBezTo>
                  <a:cubicBezTo>
                    <a:pt x="17" y="2"/>
                    <a:pt x="24" y="0"/>
                    <a:pt x="25" y="1"/>
                  </a:cubicBezTo>
                  <a:cubicBezTo>
                    <a:pt x="26" y="1"/>
                    <a:pt x="23" y="2"/>
                    <a:pt x="23" y="3"/>
                  </a:cubicBezTo>
                  <a:cubicBezTo>
                    <a:pt x="24" y="4"/>
                    <a:pt x="27" y="3"/>
                    <a:pt x="28" y="4"/>
                  </a:cubicBezTo>
                  <a:cubicBezTo>
                    <a:pt x="28" y="5"/>
                    <a:pt x="24" y="7"/>
                    <a:pt x="27" y="7"/>
                  </a:cubicBezTo>
                  <a:cubicBezTo>
                    <a:pt x="28" y="7"/>
                    <a:pt x="27" y="8"/>
                    <a:pt x="26" y="8"/>
                  </a:cubicBezTo>
                  <a:cubicBezTo>
                    <a:pt x="25" y="8"/>
                    <a:pt x="24" y="8"/>
                    <a:pt x="23" y="10"/>
                  </a:cubicBezTo>
                  <a:cubicBezTo>
                    <a:pt x="23" y="10"/>
                    <a:pt x="21" y="13"/>
                    <a:pt x="21" y="13"/>
                  </a:cubicBezTo>
                  <a:cubicBezTo>
                    <a:pt x="22" y="13"/>
                    <a:pt x="23" y="11"/>
                    <a:pt x="24" y="11"/>
                  </a:cubicBezTo>
                  <a:cubicBezTo>
                    <a:pt x="25" y="11"/>
                    <a:pt x="25" y="12"/>
                    <a:pt x="26" y="13"/>
                  </a:cubicBezTo>
                  <a:cubicBezTo>
                    <a:pt x="27" y="13"/>
                    <a:pt x="30" y="17"/>
                    <a:pt x="29" y="13"/>
                  </a:cubicBezTo>
                  <a:cubicBezTo>
                    <a:pt x="29" y="12"/>
                    <a:pt x="27" y="11"/>
                    <a:pt x="28" y="10"/>
                  </a:cubicBezTo>
                  <a:cubicBezTo>
                    <a:pt x="29" y="10"/>
                    <a:pt x="30" y="10"/>
                    <a:pt x="30" y="11"/>
                  </a:cubicBezTo>
                  <a:cubicBezTo>
                    <a:pt x="30" y="12"/>
                    <a:pt x="29" y="13"/>
                    <a:pt x="30" y="14"/>
                  </a:cubicBezTo>
                  <a:cubicBezTo>
                    <a:pt x="31" y="15"/>
                    <a:pt x="32" y="16"/>
                    <a:pt x="31" y="17"/>
                  </a:cubicBezTo>
                  <a:cubicBezTo>
                    <a:pt x="29" y="19"/>
                    <a:pt x="32" y="22"/>
                    <a:pt x="28" y="23"/>
                  </a:cubicBezTo>
                  <a:cubicBezTo>
                    <a:pt x="28" y="23"/>
                    <a:pt x="21" y="25"/>
                    <a:pt x="22" y="23"/>
                  </a:cubicBezTo>
                  <a:cubicBezTo>
                    <a:pt x="22" y="22"/>
                    <a:pt x="21" y="22"/>
                    <a:pt x="21" y="23"/>
                  </a:cubicBezTo>
                  <a:cubicBezTo>
                    <a:pt x="22" y="24"/>
                    <a:pt x="22" y="25"/>
                    <a:pt x="23" y="26"/>
                  </a:cubicBezTo>
                  <a:cubicBezTo>
                    <a:pt x="23" y="28"/>
                    <a:pt x="19" y="27"/>
                    <a:pt x="18" y="27"/>
                  </a:cubicBezTo>
                  <a:cubicBezTo>
                    <a:pt x="17" y="26"/>
                    <a:pt x="22" y="29"/>
                    <a:pt x="18" y="27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8" name="Freeform 575">
              <a:extLst>
                <a:ext uri="{FF2B5EF4-FFF2-40B4-BE49-F238E27FC236}">
                  <a16:creationId xmlns:a16="http://schemas.microsoft.com/office/drawing/2014/main" id="{DCE556D3-78BE-3EF6-3C18-7B169E8699DD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9737" y="1743310"/>
              <a:ext cx="146636" cy="123003"/>
            </a:xfrm>
            <a:custGeom>
              <a:avLst/>
              <a:gdLst>
                <a:gd name="T0" fmla="*/ 7 w 28"/>
                <a:gd name="T1" fmla="*/ 22 h 22"/>
                <a:gd name="T2" fmla="*/ 3 w 28"/>
                <a:gd name="T3" fmla="*/ 19 h 22"/>
                <a:gd name="T4" fmla="*/ 1 w 28"/>
                <a:gd name="T5" fmla="*/ 11 h 22"/>
                <a:gd name="T6" fmla="*/ 1 w 28"/>
                <a:gd name="T7" fmla="*/ 4 h 22"/>
                <a:gd name="T8" fmla="*/ 6 w 28"/>
                <a:gd name="T9" fmla="*/ 4 h 22"/>
                <a:gd name="T10" fmla="*/ 5 w 28"/>
                <a:gd name="T11" fmla="*/ 1 h 22"/>
                <a:gd name="T12" fmla="*/ 16 w 28"/>
                <a:gd name="T13" fmla="*/ 2 h 22"/>
                <a:gd name="T14" fmla="*/ 25 w 28"/>
                <a:gd name="T15" fmla="*/ 3 h 22"/>
                <a:gd name="T16" fmla="*/ 23 w 28"/>
                <a:gd name="T17" fmla="*/ 8 h 22"/>
                <a:gd name="T18" fmla="*/ 19 w 28"/>
                <a:gd name="T19" fmla="*/ 13 h 22"/>
                <a:gd name="T20" fmla="*/ 12 w 28"/>
                <a:gd name="T21" fmla="*/ 13 h 22"/>
                <a:gd name="T22" fmla="*/ 10 w 28"/>
                <a:gd name="T23" fmla="*/ 14 h 22"/>
                <a:gd name="T24" fmla="*/ 11 w 28"/>
                <a:gd name="T25" fmla="*/ 17 h 22"/>
                <a:gd name="T26" fmla="*/ 7 w 28"/>
                <a:gd name="T27" fmla="*/ 22 h 22"/>
                <a:gd name="T28" fmla="*/ 7 w 28"/>
                <a:gd name="T29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22">
                  <a:moveTo>
                    <a:pt x="7" y="22"/>
                  </a:moveTo>
                  <a:cubicBezTo>
                    <a:pt x="5" y="21"/>
                    <a:pt x="3" y="21"/>
                    <a:pt x="3" y="19"/>
                  </a:cubicBezTo>
                  <a:cubicBezTo>
                    <a:pt x="3" y="16"/>
                    <a:pt x="0" y="14"/>
                    <a:pt x="1" y="11"/>
                  </a:cubicBezTo>
                  <a:cubicBezTo>
                    <a:pt x="1" y="9"/>
                    <a:pt x="0" y="6"/>
                    <a:pt x="1" y="4"/>
                  </a:cubicBezTo>
                  <a:cubicBezTo>
                    <a:pt x="2" y="4"/>
                    <a:pt x="6" y="5"/>
                    <a:pt x="6" y="4"/>
                  </a:cubicBezTo>
                  <a:cubicBezTo>
                    <a:pt x="6" y="3"/>
                    <a:pt x="0" y="3"/>
                    <a:pt x="5" y="1"/>
                  </a:cubicBezTo>
                  <a:cubicBezTo>
                    <a:pt x="9" y="0"/>
                    <a:pt x="12" y="1"/>
                    <a:pt x="16" y="2"/>
                  </a:cubicBezTo>
                  <a:cubicBezTo>
                    <a:pt x="19" y="2"/>
                    <a:pt x="22" y="2"/>
                    <a:pt x="25" y="3"/>
                  </a:cubicBezTo>
                  <a:cubicBezTo>
                    <a:pt x="28" y="4"/>
                    <a:pt x="25" y="6"/>
                    <a:pt x="23" y="8"/>
                  </a:cubicBezTo>
                  <a:cubicBezTo>
                    <a:pt x="22" y="10"/>
                    <a:pt x="21" y="12"/>
                    <a:pt x="19" y="13"/>
                  </a:cubicBezTo>
                  <a:cubicBezTo>
                    <a:pt x="18" y="15"/>
                    <a:pt x="14" y="13"/>
                    <a:pt x="12" y="13"/>
                  </a:cubicBezTo>
                  <a:cubicBezTo>
                    <a:pt x="12" y="13"/>
                    <a:pt x="9" y="13"/>
                    <a:pt x="10" y="14"/>
                  </a:cubicBezTo>
                  <a:cubicBezTo>
                    <a:pt x="10" y="15"/>
                    <a:pt x="12" y="15"/>
                    <a:pt x="11" y="17"/>
                  </a:cubicBezTo>
                  <a:cubicBezTo>
                    <a:pt x="10" y="17"/>
                    <a:pt x="8" y="22"/>
                    <a:pt x="7" y="22"/>
                  </a:cubicBezTo>
                  <a:cubicBezTo>
                    <a:pt x="5" y="21"/>
                    <a:pt x="8" y="22"/>
                    <a:pt x="7" y="22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0" name="Freeform 577">
              <a:extLst>
                <a:ext uri="{FF2B5EF4-FFF2-40B4-BE49-F238E27FC236}">
                  <a16:creationId xmlns:a16="http://schemas.microsoft.com/office/drawing/2014/main" id="{3BC24112-2FE2-7AA2-CE43-2007C4A78EFE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3688" y="1677078"/>
              <a:ext cx="37553" cy="22709"/>
            </a:xfrm>
            <a:custGeom>
              <a:avLst/>
              <a:gdLst>
                <a:gd name="T0" fmla="*/ 4 w 7"/>
                <a:gd name="T1" fmla="*/ 4 h 4"/>
                <a:gd name="T2" fmla="*/ 1 w 7"/>
                <a:gd name="T3" fmla="*/ 3 h 4"/>
                <a:gd name="T4" fmla="*/ 3 w 7"/>
                <a:gd name="T5" fmla="*/ 0 h 4"/>
                <a:gd name="T6" fmla="*/ 4 w 7"/>
                <a:gd name="T7" fmla="*/ 4 h 4"/>
                <a:gd name="T8" fmla="*/ 4 w 7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4" y="4"/>
                  </a:moveTo>
                  <a:cubicBezTo>
                    <a:pt x="3" y="4"/>
                    <a:pt x="1" y="4"/>
                    <a:pt x="1" y="3"/>
                  </a:cubicBezTo>
                  <a:cubicBezTo>
                    <a:pt x="0" y="2"/>
                    <a:pt x="3" y="0"/>
                    <a:pt x="3" y="0"/>
                  </a:cubicBezTo>
                  <a:cubicBezTo>
                    <a:pt x="6" y="0"/>
                    <a:pt x="7" y="4"/>
                    <a:pt x="4" y="4"/>
                  </a:cubicBezTo>
                  <a:cubicBezTo>
                    <a:pt x="1" y="3"/>
                    <a:pt x="6" y="4"/>
                    <a:pt x="4" y="4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1" name="Freeform 578">
              <a:extLst>
                <a:ext uri="{FF2B5EF4-FFF2-40B4-BE49-F238E27FC236}">
                  <a16:creationId xmlns:a16="http://schemas.microsoft.com/office/drawing/2014/main" id="{E0933E3A-39CF-ABB3-ADBA-2F4FCB137D02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0013" y="1576784"/>
              <a:ext cx="314732" cy="157066"/>
            </a:xfrm>
            <a:custGeom>
              <a:avLst/>
              <a:gdLst>
                <a:gd name="T0" fmla="*/ 50 w 60"/>
                <a:gd name="T1" fmla="*/ 22 h 28"/>
                <a:gd name="T2" fmla="*/ 48 w 60"/>
                <a:gd name="T3" fmla="*/ 21 h 28"/>
                <a:gd name="T4" fmla="*/ 46 w 60"/>
                <a:gd name="T5" fmla="*/ 23 h 28"/>
                <a:gd name="T6" fmla="*/ 43 w 60"/>
                <a:gd name="T7" fmla="*/ 22 h 28"/>
                <a:gd name="T8" fmla="*/ 40 w 60"/>
                <a:gd name="T9" fmla="*/ 23 h 28"/>
                <a:gd name="T10" fmla="*/ 24 w 60"/>
                <a:gd name="T11" fmla="*/ 27 h 28"/>
                <a:gd name="T12" fmla="*/ 19 w 60"/>
                <a:gd name="T13" fmla="*/ 28 h 28"/>
                <a:gd name="T14" fmla="*/ 17 w 60"/>
                <a:gd name="T15" fmla="*/ 24 h 28"/>
                <a:gd name="T16" fmla="*/ 24 w 60"/>
                <a:gd name="T17" fmla="*/ 22 h 28"/>
                <a:gd name="T18" fmla="*/ 29 w 60"/>
                <a:gd name="T19" fmla="*/ 22 h 28"/>
                <a:gd name="T20" fmla="*/ 31 w 60"/>
                <a:gd name="T21" fmla="*/ 20 h 28"/>
                <a:gd name="T22" fmla="*/ 24 w 60"/>
                <a:gd name="T23" fmla="*/ 20 h 28"/>
                <a:gd name="T24" fmla="*/ 19 w 60"/>
                <a:gd name="T25" fmla="*/ 21 h 28"/>
                <a:gd name="T26" fmla="*/ 19 w 60"/>
                <a:gd name="T27" fmla="*/ 19 h 28"/>
                <a:gd name="T28" fmla="*/ 12 w 60"/>
                <a:gd name="T29" fmla="*/ 21 h 28"/>
                <a:gd name="T30" fmla="*/ 11 w 60"/>
                <a:gd name="T31" fmla="*/ 22 h 28"/>
                <a:gd name="T32" fmla="*/ 9 w 60"/>
                <a:gd name="T33" fmla="*/ 23 h 28"/>
                <a:gd name="T34" fmla="*/ 5 w 60"/>
                <a:gd name="T35" fmla="*/ 21 h 28"/>
                <a:gd name="T36" fmla="*/ 0 w 60"/>
                <a:gd name="T37" fmla="*/ 20 h 28"/>
                <a:gd name="T38" fmla="*/ 4 w 60"/>
                <a:gd name="T39" fmla="*/ 18 h 28"/>
                <a:gd name="T40" fmla="*/ 9 w 60"/>
                <a:gd name="T41" fmla="*/ 17 h 28"/>
                <a:gd name="T42" fmla="*/ 11 w 60"/>
                <a:gd name="T43" fmla="*/ 16 h 28"/>
                <a:gd name="T44" fmla="*/ 5 w 60"/>
                <a:gd name="T45" fmla="*/ 16 h 28"/>
                <a:gd name="T46" fmla="*/ 4 w 60"/>
                <a:gd name="T47" fmla="*/ 14 h 28"/>
                <a:gd name="T48" fmla="*/ 12 w 60"/>
                <a:gd name="T49" fmla="*/ 13 h 28"/>
                <a:gd name="T50" fmla="*/ 4 w 60"/>
                <a:gd name="T51" fmla="*/ 12 h 28"/>
                <a:gd name="T52" fmla="*/ 13 w 60"/>
                <a:gd name="T53" fmla="*/ 10 h 28"/>
                <a:gd name="T54" fmla="*/ 9 w 60"/>
                <a:gd name="T55" fmla="*/ 8 h 28"/>
                <a:gd name="T56" fmla="*/ 14 w 60"/>
                <a:gd name="T57" fmla="*/ 6 h 28"/>
                <a:gd name="T58" fmla="*/ 17 w 60"/>
                <a:gd name="T59" fmla="*/ 10 h 28"/>
                <a:gd name="T60" fmla="*/ 25 w 60"/>
                <a:gd name="T61" fmla="*/ 11 h 28"/>
                <a:gd name="T62" fmla="*/ 29 w 60"/>
                <a:gd name="T63" fmla="*/ 14 h 28"/>
                <a:gd name="T64" fmla="*/ 32 w 60"/>
                <a:gd name="T65" fmla="*/ 17 h 28"/>
                <a:gd name="T66" fmla="*/ 39 w 60"/>
                <a:gd name="T67" fmla="*/ 16 h 28"/>
                <a:gd name="T68" fmla="*/ 37 w 60"/>
                <a:gd name="T69" fmla="*/ 13 h 28"/>
                <a:gd name="T70" fmla="*/ 38 w 60"/>
                <a:gd name="T71" fmla="*/ 9 h 28"/>
                <a:gd name="T72" fmla="*/ 36 w 60"/>
                <a:gd name="T73" fmla="*/ 8 h 28"/>
                <a:gd name="T74" fmla="*/ 38 w 60"/>
                <a:gd name="T75" fmla="*/ 5 h 28"/>
                <a:gd name="T76" fmla="*/ 43 w 60"/>
                <a:gd name="T77" fmla="*/ 3 h 28"/>
                <a:gd name="T78" fmla="*/ 44 w 60"/>
                <a:gd name="T79" fmla="*/ 7 h 28"/>
                <a:gd name="T80" fmla="*/ 45 w 60"/>
                <a:gd name="T81" fmla="*/ 9 h 28"/>
                <a:gd name="T82" fmla="*/ 44 w 60"/>
                <a:gd name="T83" fmla="*/ 10 h 28"/>
                <a:gd name="T84" fmla="*/ 47 w 60"/>
                <a:gd name="T85" fmla="*/ 11 h 28"/>
                <a:gd name="T86" fmla="*/ 51 w 60"/>
                <a:gd name="T87" fmla="*/ 14 h 28"/>
                <a:gd name="T88" fmla="*/ 53 w 60"/>
                <a:gd name="T89" fmla="*/ 13 h 28"/>
                <a:gd name="T90" fmla="*/ 57 w 60"/>
                <a:gd name="T91" fmla="*/ 12 h 28"/>
                <a:gd name="T92" fmla="*/ 59 w 60"/>
                <a:gd name="T93" fmla="*/ 15 h 28"/>
                <a:gd name="T94" fmla="*/ 58 w 60"/>
                <a:gd name="T95" fmla="*/ 20 h 28"/>
                <a:gd name="T96" fmla="*/ 50 w 60"/>
                <a:gd name="T97" fmla="*/ 22 h 28"/>
                <a:gd name="T98" fmla="*/ 50 w 60"/>
                <a:gd name="T99" fmla="*/ 2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60" h="28">
                  <a:moveTo>
                    <a:pt x="50" y="22"/>
                  </a:moveTo>
                  <a:cubicBezTo>
                    <a:pt x="49" y="22"/>
                    <a:pt x="49" y="21"/>
                    <a:pt x="48" y="21"/>
                  </a:cubicBezTo>
                  <a:cubicBezTo>
                    <a:pt x="48" y="21"/>
                    <a:pt x="46" y="22"/>
                    <a:pt x="46" y="23"/>
                  </a:cubicBezTo>
                  <a:cubicBezTo>
                    <a:pt x="45" y="23"/>
                    <a:pt x="44" y="23"/>
                    <a:pt x="43" y="22"/>
                  </a:cubicBezTo>
                  <a:cubicBezTo>
                    <a:pt x="42" y="22"/>
                    <a:pt x="41" y="22"/>
                    <a:pt x="40" y="23"/>
                  </a:cubicBezTo>
                  <a:cubicBezTo>
                    <a:pt x="35" y="25"/>
                    <a:pt x="30" y="26"/>
                    <a:pt x="24" y="27"/>
                  </a:cubicBezTo>
                  <a:cubicBezTo>
                    <a:pt x="23" y="27"/>
                    <a:pt x="20" y="28"/>
                    <a:pt x="19" y="28"/>
                  </a:cubicBezTo>
                  <a:cubicBezTo>
                    <a:pt x="17" y="27"/>
                    <a:pt x="13" y="26"/>
                    <a:pt x="17" y="24"/>
                  </a:cubicBezTo>
                  <a:cubicBezTo>
                    <a:pt x="19" y="24"/>
                    <a:pt x="22" y="22"/>
                    <a:pt x="24" y="22"/>
                  </a:cubicBezTo>
                  <a:cubicBezTo>
                    <a:pt x="26" y="22"/>
                    <a:pt x="28" y="22"/>
                    <a:pt x="29" y="22"/>
                  </a:cubicBezTo>
                  <a:cubicBezTo>
                    <a:pt x="29" y="22"/>
                    <a:pt x="32" y="20"/>
                    <a:pt x="31" y="20"/>
                  </a:cubicBezTo>
                  <a:cubicBezTo>
                    <a:pt x="30" y="19"/>
                    <a:pt x="25" y="20"/>
                    <a:pt x="24" y="20"/>
                  </a:cubicBezTo>
                  <a:cubicBezTo>
                    <a:pt x="22" y="21"/>
                    <a:pt x="21" y="21"/>
                    <a:pt x="19" y="21"/>
                  </a:cubicBezTo>
                  <a:cubicBezTo>
                    <a:pt x="17" y="21"/>
                    <a:pt x="19" y="20"/>
                    <a:pt x="19" y="19"/>
                  </a:cubicBezTo>
                  <a:cubicBezTo>
                    <a:pt x="19" y="16"/>
                    <a:pt x="13" y="21"/>
                    <a:pt x="12" y="21"/>
                  </a:cubicBezTo>
                  <a:cubicBezTo>
                    <a:pt x="12" y="21"/>
                    <a:pt x="11" y="22"/>
                    <a:pt x="11" y="22"/>
                  </a:cubicBezTo>
                  <a:cubicBezTo>
                    <a:pt x="9" y="20"/>
                    <a:pt x="9" y="22"/>
                    <a:pt x="9" y="23"/>
                  </a:cubicBezTo>
                  <a:cubicBezTo>
                    <a:pt x="9" y="23"/>
                    <a:pt x="6" y="21"/>
                    <a:pt x="5" y="21"/>
                  </a:cubicBezTo>
                  <a:cubicBezTo>
                    <a:pt x="4" y="21"/>
                    <a:pt x="0" y="22"/>
                    <a:pt x="0" y="20"/>
                  </a:cubicBezTo>
                  <a:cubicBezTo>
                    <a:pt x="0" y="18"/>
                    <a:pt x="2" y="19"/>
                    <a:pt x="4" y="18"/>
                  </a:cubicBezTo>
                  <a:cubicBezTo>
                    <a:pt x="6" y="18"/>
                    <a:pt x="8" y="18"/>
                    <a:pt x="9" y="17"/>
                  </a:cubicBezTo>
                  <a:cubicBezTo>
                    <a:pt x="9" y="17"/>
                    <a:pt x="12" y="16"/>
                    <a:pt x="11" y="16"/>
                  </a:cubicBezTo>
                  <a:cubicBezTo>
                    <a:pt x="9" y="15"/>
                    <a:pt x="6" y="16"/>
                    <a:pt x="5" y="16"/>
                  </a:cubicBezTo>
                  <a:cubicBezTo>
                    <a:pt x="2" y="16"/>
                    <a:pt x="0" y="14"/>
                    <a:pt x="4" y="14"/>
                  </a:cubicBezTo>
                  <a:cubicBezTo>
                    <a:pt x="6" y="14"/>
                    <a:pt x="10" y="13"/>
                    <a:pt x="12" y="13"/>
                  </a:cubicBezTo>
                  <a:cubicBezTo>
                    <a:pt x="11" y="13"/>
                    <a:pt x="4" y="14"/>
                    <a:pt x="4" y="12"/>
                  </a:cubicBezTo>
                  <a:cubicBezTo>
                    <a:pt x="3" y="10"/>
                    <a:pt x="12" y="11"/>
                    <a:pt x="13" y="10"/>
                  </a:cubicBezTo>
                  <a:cubicBezTo>
                    <a:pt x="13" y="10"/>
                    <a:pt x="9" y="9"/>
                    <a:pt x="9" y="8"/>
                  </a:cubicBezTo>
                  <a:cubicBezTo>
                    <a:pt x="8" y="7"/>
                    <a:pt x="14" y="6"/>
                    <a:pt x="14" y="6"/>
                  </a:cubicBezTo>
                  <a:cubicBezTo>
                    <a:pt x="17" y="6"/>
                    <a:pt x="15" y="10"/>
                    <a:pt x="17" y="10"/>
                  </a:cubicBezTo>
                  <a:cubicBezTo>
                    <a:pt x="20" y="10"/>
                    <a:pt x="22" y="10"/>
                    <a:pt x="25" y="11"/>
                  </a:cubicBezTo>
                  <a:cubicBezTo>
                    <a:pt x="26" y="12"/>
                    <a:pt x="28" y="13"/>
                    <a:pt x="29" y="14"/>
                  </a:cubicBezTo>
                  <a:cubicBezTo>
                    <a:pt x="31" y="16"/>
                    <a:pt x="30" y="17"/>
                    <a:pt x="32" y="17"/>
                  </a:cubicBezTo>
                  <a:cubicBezTo>
                    <a:pt x="35" y="17"/>
                    <a:pt x="37" y="17"/>
                    <a:pt x="39" y="16"/>
                  </a:cubicBezTo>
                  <a:cubicBezTo>
                    <a:pt x="43" y="15"/>
                    <a:pt x="37" y="14"/>
                    <a:pt x="37" y="13"/>
                  </a:cubicBezTo>
                  <a:cubicBezTo>
                    <a:pt x="37" y="13"/>
                    <a:pt x="45" y="12"/>
                    <a:pt x="38" y="9"/>
                  </a:cubicBezTo>
                  <a:cubicBezTo>
                    <a:pt x="37" y="9"/>
                    <a:pt x="35" y="9"/>
                    <a:pt x="36" y="8"/>
                  </a:cubicBezTo>
                  <a:cubicBezTo>
                    <a:pt x="37" y="7"/>
                    <a:pt x="38" y="6"/>
                    <a:pt x="38" y="5"/>
                  </a:cubicBezTo>
                  <a:cubicBezTo>
                    <a:pt x="39" y="4"/>
                    <a:pt x="43" y="0"/>
                    <a:pt x="43" y="3"/>
                  </a:cubicBezTo>
                  <a:cubicBezTo>
                    <a:pt x="43" y="4"/>
                    <a:pt x="44" y="5"/>
                    <a:pt x="44" y="7"/>
                  </a:cubicBezTo>
                  <a:cubicBezTo>
                    <a:pt x="45" y="7"/>
                    <a:pt x="45" y="8"/>
                    <a:pt x="45" y="9"/>
                  </a:cubicBezTo>
                  <a:cubicBezTo>
                    <a:pt x="46" y="10"/>
                    <a:pt x="44" y="9"/>
                    <a:pt x="44" y="10"/>
                  </a:cubicBezTo>
                  <a:cubicBezTo>
                    <a:pt x="44" y="12"/>
                    <a:pt x="47" y="10"/>
                    <a:pt x="47" y="11"/>
                  </a:cubicBezTo>
                  <a:cubicBezTo>
                    <a:pt x="47" y="13"/>
                    <a:pt x="50" y="14"/>
                    <a:pt x="51" y="14"/>
                  </a:cubicBezTo>
                  <a:cubicBezTo>
                    <a:pt x="53" y="14"/>
                    <a:pt x="53" y="15"/>
                    <a:pt x="53" y="13"/>
                  </a:cubicBezTo>
                  <a:cubicBezTo>
                    <a:pt x="53" y="11"/>
                    <a:pt x="55" y="11"/>
                    <a:pt x="57" y="12"/>
                  </a:cubicBezTo>
                  <a:cubicBezTo>
                    <a:pt x="58" y="12"/>
                    <a:pt x="60" y="14"/>
                    <a:pt x="59" y="15"/>
                  </a:cubicBezTo>
                  <a:cubicBezTo>
                    <a:pt x="59" y="16"/>
                    <a:pt x="58" y="19"/>
                    <a:pt x="58" y="20"/>
                  </a:cubicBezTo>
                  <a:cubicBezTo>
                    <a:pt x="57" y="21"/>
                    <a:pt x="51" y="22"/>
                    <a:pt x="50" y="22"/>
                  </a:cubicBezTo>
                  <a:cubicBezTo>
                    <a:pt x="48" y="21"/>
                    <a:pt x="51" y="22"/>
                    <a:pt x="50" y="22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2" name="Freeform 579">
              <a:extLst>
                <a:ext uri="{FF2B5EF4-FFF2-40B4-BE49-F238E27FC236}">
                  <a16:creationId xmlns:a16="http://schemas.microsoft.com/office/drawing/2014/main" id="{B7D8597E-BC21-2A11-EB62-1BFB6BB83A12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6365" y="1639232"/>
              <a:ext cx="53647" cy="37847"/>
            </a:xfrm>
            <a:custGeom>
              <a:avLst/>
              <a:gdLst>
                <a:gd name="T0" fmla="*/ 9 w 10"/>
                <a:gd name="T1" fmla="*/ 1 h 7"/>
                <a:gd name="T2" fmla="*/ 0 w 10"/>
                <a:gd name="T3" fmla="*/ 5 h 7"/>
                <a:gd name="T4" fmla="*/ 6 w 10"/>
                <a:gd name="T5" fmla="*/ 5 h 7"/>
                <a:gd name="T6" fmla="*/ 9 w 10"/>
                <a:gd name="T7" fmla="*/ 1 h 7"/>
                <a:gd name="T8" fmla="*/ 9 w 10"/>
                <a:gd name="T9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7">
                  <a:moveTo>
                    <a:pt x="9" y="1"/>
                  </a:moveTo>
                  <a:cubicBezTo>
                    <a:pt x="8" y="1"/>
                    <a:pt x="0" y="5"/>
                    <a:pt x="0" y="5"/>
                  </a:cubicBezTo>
                  <a:cubicBezTo>
                    <a:pt x="2" y="6"/>
                    <a:pt x="5" y="7"/>
                    <a:pt x="6" y="5"/>
                  </a:cubicBezTo>
                  <a:cubicBezTo>
                    <a:pt x="7" y="4"/>
                    <a:pt x="9" y="0"/>
                    <a:pt x="9" y="1"/>
                  </a:cubicBezTo>
                  <a:cubicBezTo>
                    <a:pt x="7" y="1"/>
                    <a:pt x="10" y="0"/>
                    <a:pt x="9" y="1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4" name="Freeform 581">
              <a:extLst>
                <a:ext uri="{FF2B5EF4-FFF2-40B4-BE49-F238E27FC236}">
                  <a16:creationId xmlns:a16="http://schemas.microsoft.com/office/drawing/2014/main" id="{D102EA3C-503E-9007-B1A6-A282CC8D0FE1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2602" y="1593813"/>
              <a:ext cx="41130" cy="11355"/>
            </a:xfrm>
            <a:custGeom>
              <a:avLst/>
              <a:gdLst>
                <a:gd name="T0" fmla="*/ 6 w 8"/>
                <a:gd name="T1" fmla="*/ 2 h 2"/>
                <a:gd name="T2" fmla="*/ 3 w 8"/>
                <a:gd name="T3" fmla="*/ 0 h 2"/>
                <a:gd name="T4" fmla="*/ 6 w 8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2">
                  <a:moveTo>
                    <a:pt x="6" y="2"/>
                  </a:moveTo>
                  <a:cubicBezTo>
                    <a:pt x="4" y="2"/>
                    <a:pt x="0" y="1"/>
                    <a:pt x="3" y="0"/>
                  </a:cubicBezTo>
                  <a:cubicBezTo>
                    <a:pt x="5" y="0"/>
                    <a:pt x="8" y="2"/>
                    <a:pt x="6" y="2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5" name="Freeform 582">
              <a:extLst>
                <a:ext uri="{FF2B5EF4-FFF2-40B4-BE49-F238E27FC236}">
                  <a16:creationId xmlns:a16="http://schemas.microsoft.com/office/drawing/2014/main" id="{A454E85D-0267-878A-84FC-B068505D8C56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8368" y="1516229"/>
              <a:ext cx="110872" cy="54878"/>
            </a:xfrm>
            <a:custGeom>
              <a:avLst/>
              <a:gdLst>
                <a:gd name="T0" fmla="*/ 7 w 21"/>
                <a:gd name="T1" fmla="*/ 9 h 10"/>
                <a:gd name="T2" fmla="*/ 2 w 21"/>
                <a:gd name="T3" fmla="*/ 4 h 10"/>
                <a:gd name="T4" fmla="*/ 9 w 21"/>
                <a:gd name="T5" fmla="*/ 2 h 10"/>
                <a:gd name="T6" fmla="*/ 17 w 21"/>
                <a:gd name="T7" fmla="*/ 0 h 10"/>
                <a:gd name="T8" fmla="*/ 19 w 21"/>
                <a:gd name="T9" fmla="*/ 2 h 10"/>
                <a:gd name="T10" fmla="*/ 14 w 21"/>
                <a:gd name="T11" fmla="*/ 4 h 10"/>
                <a:gd name="T12" fmla="*/ 15 w 21"/>
                <a:gd name="T13" fmla="*/ 7 h 10"/>
                <a:gd name="T14" fmla="*/ 7 w 21"/>
                <a:gd name="T15" fmla="*/ 9 h 10"/>
                <a:gd name="T16" fmla="*/ 7 w 21"/>
                <a:gd name="T17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10">
                  <a:moveTo>
                    <a:pt x="7" y="9"/>
                  </a:moveTo>
                  <a:cubicBezTo>
                    <a:pt x="6" y="9"/>
                    <a:pt x="0" y="6"/>
                    <a:pt x="2" y="4"/>
                  </a:cubicBezTo>
                  <a:cubicBezTo>
                    <a:pt x="4" y="2"/>
                    <a:pt x="7" y="2"/>
                    <a:pt x="9" y="2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18" y="0"/>
                    <a:pt x="21" y="1"/>
                    <a:pt x="19" y="2"/>
                  </a:cubicBezTo>
                  <a:cubicBezTo>
                    <a:pt x="18" y="3"/>
                    <a:pt x="15" y="2"/>
                    <a:pt x="14" y="4"/>
                  </a:cubicBezTo>
                  <a:cubicBezTo>
                    <a:pt x="14" y="4"/>
                    <a:pt x="19" y="6"/>
                    <a:pt x="15" y="7"/>
                  </a:cubicBezTo>
                  <a:cubicBezTo>
                    <a:pt x="13" y="8"/>
                    <a:pt x="10" y="10"/>
                    <a:pt x="7" y="9"/>
                  </a:cubicBezTo>
                  <a:cubicBezTo>
                    <a:pt x="5" y="9"/>
                    <a:pt x="9" y="10"/>
                    <a:pt x="7" y="9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6" name="Freeform 583">
              <a:extLst>
                <a:ext uri="{FF2B5EF4-FFF2-40B4-BE49-F238E27FC236}">
                  <a16:creationId xmlns:a16="http://schemas.microsoft.com/office/drawing/2014/main" id="{EE77B63C-1F6E-B3D9-FAFB-D1CB8D3990A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1872" y="1527582"/>
              <a:ext cx="41130" cy="22709"/>
            </a:xfrm>
            <a:custGeom>
              <a:avLst/>
              <a:gdLst>
                <a:gd name="T0" fmla="*/ 6 w 8"/>
                <a:gd name="T1" fmla="*/ 4 h 4"/>
                <a:gd name="T2" fmla="*/ 3 w 8"/>
                <a:gd name="T3" fmla="*/ 0 h 4"/>
                <a:gd name="T4" fmla="*/ 6 w 8"/>
                <a:gd name="T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4">
                  <a:moveTo>
                    <a:pt x="6" y="4"/>
                  </a:moveTo>
                  <a:cubicBezTo>
                    <a:pt x="4" y="4"/>
                    <a:pt x="0" y="0"/>
                    <a:pt x="3" y="0"/>
                  </a:cubicBezTo>
                  <a:cubicBezTo>
                    <a:pt x="6" y="0"/>
                    <a:pt x="8" y="3"/>
                    <a:pt x="6" y="4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7" name="Freeform 584">
              <a:extLst>
                <a:ext uri="{FF2B5EF4-FFF2-40B4-BE49-F238E27FC236}">
                  <a16:creationId xmlns:a16="http://schemas.microsoft.com/office/drawing/2014/main" id="{3E723AD4-8F4C-F7C6-3B96-6437A273138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9097" y="1476488"/>
              <a:ext cx="110872" cy="39739"/>
            </a:xfrm>
            <a:custGeom>
              <a:avLst/>
              <a:gdLst>
                <a:gd name="T0" fmla="*/ 1 w 21"/>
                <a:gd name="T1" fmla="*/ 5 h 7"/>
                <a:gd name="T2" fmla="*/ 4 w 21"/>
                <a:gd name="T3" fmla="*/ 4 h 7"/>
                <a:gd name="T4" fmla="*/ 9 w 21"/>
                <a:gd name="T5" fmla="*/ 1 h 7"/>
                <a:gd name="T6" fmla="*/ 18 w 21"/>
                <a:gd name="T7" fmla="*/ 3 h 7"/>
                <a:gd name="T8" fmla="*/ 11 w 21"/>
                <a:gd name="T9" fmla="*/ 6 h 7"/>
                <a:gd name="T10" fmla="*/ 6 w 21"/>
                <a:gd name="T11" fmla="*/ 6 h 7"/>
                <a:gd name="T12" fmla="*/ 1 w 21"/>
                <a:gd name="T13" fmla="*/ 5 h 7"/>
                <a:gd name="T14" fmla="*/ 1 w 21"/>
                <a:gd name="T15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7">
                  <a:moveTo>
                    <a:pt x="1" y="5"/>
                  </a:moveTo>
                  <a:cubicBezTo>
                    <a:pt x="0" y="5"/>
                    <a:pt x="3" y="4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2" y="0"/>
                    <a:pt x="15" y="1"/>
                    <a:pt x="18" y="3"/>
                  </a:cubicBezTo>
                  <a:cubicBezTo>
                    <a:pt x="21" y="6"/>
                    <a:pt x="12" y="6"/>
                    <a:pt x="11" y="6"/>
                  </a:cubicBezTo>
                  <a:cubicBezTo>
                    <a:pt x="9" y="6"/>
                    <a:pt x="8" y="7"/>
                    <a:pt x="6" y="6"/>
                  </a:cubicBezTo>
                  <a:cubicBezTo>
                    <a:pt x="4" y="5"/>
                    <a:pt x="2" y="6"/>
                    <a:pt x="1" y="5"/>
                  </a:cubicBezTo>
                  <a:cubicBezTo>
                    <a:pt x="0" y="4"/>
                    <a:pt x="2" y="6"/>
                    <a:pt x="1" y="5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8" name="Freeform 585">
              <a:extLst>
                <a:ext uri="{FF2B5EF4-FFF2-40B4-BE49-F238E27FC236}">
                  <a16:creationId xmlns:a16="http://schemas.microsoft.com/office/drawing/2014/main" id="{CEDC95EA-FF25-B04A-D190-F93063AF75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137334" y="1593813"/>
              <a:ext cx="146636" cy="105974"/>
            </a:xfrm>
            <a:custGeom>
              <a:avLst/>
              <a:gdLst>
                <a:gd name="T0" fmla="*/ 22 w 28"/>
                <a:gd name="T1" fmla="*/ 19 h 19"/>
                <a:gd name="T2" fmla="*/ 15 w 28"/>
                <a:gd name="T3" fmla="*/ 19 h 19"/>
                <a:gd name="T4" fmla="*/ 15 w 28"/>
                <a:gd name="T5" fmla="*/ 17 h 19"/>
                <a:gd name="T6" fmla="*/ 12 w 28"/>
                <a:gd name="T7" fmla="*/ 15 h 19"/>
                <a:gd name="T8" fmla="*/ 17 w 28"/>
                <a:gd name="T9" fmla="*/ 13 h 19"/>
                <a:gd name="T10" fmla="*/ 16 w 28"/>
                <a:gd name="T11" fmla="*/ 12 h 19"/>
                <a:gd name="T12" fmla="*/ 9 w 28"/>
                <a:gd name="T13" fmla="*/ 13 h 19"/>
                <a:gd name="T14" fmla="*/ 2 w 28"/>
                <a:gd name="T15" fmla="*/ 13 h 19"/>
                <a:gd name="T16" fmla="*/ 1 w 28"/>
                <a:gd name="T17" fmla="*/ 12 h 19"/>
                <a:gd name="T18" fmla="*/ 7 w 28"/>
                <a:gd name="T19" fmla="*/ 10 h 19"/>
                <a:gd name="T20" fmla="*/ 4 w 28"/>
                <a:gd name="T21" fmla="*/ 8 h 19"/>
                <a:gd name="T22" fmla="*/ 7 w 28"/>
                <a:gd name="T23" fmla="*/ 6 h 19"/>
                <a:gd name="T24" fmla="*/ 3 w 28"/>
                <a:gd name="T25" fmla="*/ 6 h 19"/>
                <a:gd name="T26" fmla="*/ 7 w 28"/>
                <a:gd name="T27" fmla="*/ 4 h 19"/>
                <a:gd name="T28" fmla="*/ 13 w 28"/>
                <a:gd name="T29" fmla="*/ 8 h 19"/>
                <a:gd name="T30" fmla="*/ 16 w 28"/>
                <a:gd name="T31" fmla="*/ 9 h 19"/>
                <a:gd name="T32" fmla="*/ 13 w 28"/>
                <a:gd name="T33" fmla="*/ 7 h 19"/>
                <a:gd name="T34" fmla="*/ 14 w 28"/>
                <a:gd name="T35" fmla="*/ 5 h 19"/>
                <a:gd name="T36" fmla="*/ 11 w 28"/>
                <a:gd name="T37" fmla="*/ 4 h 19"/>
                <a:gd name="T38" fmla="*/ 11 w 28"/>
                <a:gd name="T39" fmla="*/ 2 h 19"/>
                <a:gd name="T40" fmla="*/ 7 w 28"/>
                <a:gd name="T41" fmla="*/ 3 h 19"/>
                <a:gd name="T42" fmla="*/ 13 w 28"/>
                <a:gd name="T43" fmla="*/ 1 h 19"/>
                <a:gd name="T44" fmla="*/ 12 w 28"/>
                <a:gd name="T45" fmla="*/ 2 h 19"/>
                <a:gd name="T46" fmla="*/ 15 w 28"/>
                <a:gd name="T47" fmla="*/ 3 h 19"/>
                <a:gd name="T48" fmla="*/ 21 w 28"/>
                <a:gd name="T49" fmla="*/ 2 h 19"/>
                <a:gd name="T50" fmla="*/ 26 w 28"/>
                <a:gd name="T51" fmla="*/ 8 h 19"/>
                <a:gd name="T52" fmla="*/ 27 w 28"/>
                <a:gd name="T53" fmla="*/ 12 h 19"/>
                <a:gd name="T54" fmla="*/ 26 w 28"/>
                <a:gd name="T55" fmla="*/ 14 h 19"/>
                <a:gd name="T56" fmla="*/ 26 w 28"/>
                <a:gd name="T57" fmla="*/ 17 h 19"/>
                <a:gd name="T58" fmla="*/ 22 w 28"/>
                <a:gd name="T5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8" h="19">
                  <a:moveTo>
                    <a:pt x="22" y="19"/>
                  </a:moveTo>
                  <a:cubicBezTo>
                    <a:pt x="20" y="19"/>
                    <a:pt x="17" y="19"/>
                    <a:pt x="15" y="19"/>
                  </a:cubicBezTo>
                  <a:cubicBezTo>
                    <a:pt x="12" y="19"/>
                    <a:pt x="15" y="18"/>
                    <a:pt x="15" y="17"/>
                  </a:cubicBezTo>
                  <a:cubicBezTo>
                    <a:pt x="16" y="16"/>
                    <a:pt x="11" y="16"/>
                    <a:pt x="12" y="15"/>
                  </a:cubicBezTo>
                  <a:cubicBezTo>
                    <a:pt x="13" y="14"/>
                    <a:pt x="15" y="13"/>
                    <a:pt x="17" y="13"/>
                  </a:cubicBezTo>
                  <a:cubicBezTo>
                    <a:pt x="18" y="12"/>
                    <a:pt x="17" y="12"/>
                    <a:pt x="16" y="12"/>
                  </a:cubicBezTo>
                  <a:cubicBezTo>
                    <a:pt x="14" y="11"/>
                    <a:pt x="12" y="12"/>
                    <a:pt x="9" y="13"/>
                  </a:cubicBezTo>
                  <a:cubicBezTo>
                    <a:pt x="7" y="13"/>
                    <a:pt x="5" y="13"/>
                    <a:pt x="2" y="13"/>
                  </a:cubicBezTo>
                  <a:cubicBezTo>
                    <a:pt x="2" y="14"/>
                    <a:pt x="0" y="14"/>
                    <a:pt x="1" y="12"/>
                  </a:cubicBezTo>
                  <a:cubicBezTo>
                    <a:pt x="3" y="10"/>
                    <a:pt x="5" y="11"/>
                    <a:pt x="7" y="10"/>
                  </a:cubicBezTo>
                  <a:cubicBezTo>
                    <a:pt x="11" y="9"/>
                    <a:pt x="4" y="9"/>
                    <a:pt x="4" y="8"/>
                  </a:cubicBezTo>
                  <a:cubicBezTo>
                    <a:pt x="3" y="8"/>
                    <a:pt x="7" y="6"/>
                    <a:pt x="7" y="6"/>
                  </a:cubicBezTo>
                  <a:cubicBezTo>
                    <a:pt x="7" y="6"/>
                    <a:pt x="4" y="6"/>
                    <a:pt x="3" y="6"/>
                  </a:cubicBezTo>
                  <a:cubicBezTo>
                    <a:pt x="3" y="5"/>
                    <a:pt x="6" y="4"/>
                    <a:pt x="7" y="4"/>
                  </a:cubicBezTo>
                  <a:cubicBezTo>
                    <a:pt x="9" y="4"/>
                    <a:pt x="11" y="7"/>
                    <a:pt x="13" y="8"/>
                  </a:cubicBezTo>
                  <a:cubicBezTo>
                    <a:pt x="14" y="8"/>
                    <a:pt x="15" y="10"/>
                    <a:pt x="16" y="9"/>
                  </a:cubicBezTo>
                  <a:cubicBezTo>
                    <a:pt x="19" y="7"/>
                    <a:pt x="13" y="7"/>
                    <a:pt x="13" y="7"/>
                  </a:cubicBezTo>
                  <a:cubicBezTo>
                    <a:pt x="14" y="7"/>
                    <a:pt x="18" y="6"/>
                    <a:pt x="14" y="5"/>
                  </a:cubicBezTo>
                  <a:cubicBezTo>
                    <a:pt x="13" y="5"/>
                    <a:pt x="12" y="5"/>
                    <a:pt x="11" y="4"/>
                  </a:cubicBezTo>
                  <a:cubicBezTo>
                    <a:pt x="9" y="3"/>
                    <a:pt x="11" y="3"/>
                    <a:pt x="11" y="2"/>
                  </a:cubicBezTo>
                  <a:cubicBezTo>
                    <a:pt x="10" y="2"/>
                    <a:pt x="7" y="3"/>
                    <a:pt x="7" y="3"/>
                  </a:cubicBezTo>
                  <a:cubicBezTo>
                    <a:pt x="6" y="2"/>
                    <a:pt x="13" y="1"/>
                    <a:pt x="13" y="1"/>
                  </a:cubicBezTo>
                  <a:cubicBezTo>
                    <a:pt x="13" y="1"/>
                    <a:pt x="12" y="2"/>
                    <a:pt x="12" y="2"/>
                  </a:cubicBezTo>
                  <a:cubicBezTo>
                    <a:pt x="11" y="3"/>
                    <a:pt x="14" y="3"/>
                    <a:pt x="15" y="3"/>
                  </a:cubicBezTo>
                  <a:cubicBezTo>
                    <a:pt x="18" y="4"/>
                    <a:pt x="19" y="4"/>
                    <a:pt x="21" y="2"/>
                  </a:cubicBezTo>
                  <a:cubicBezTo>
                    <a:pt x="24" y="0"/>
                    <a:pt x="27" y="6"/>
                    <a:pt x="26" y="8"/>
                  </a:cubicBezTo>
                  <a:cubicBezTo>
                    <a:pt x="26" y="10"/>
                    <a:pt x="26" y="11"/>
                    <a:pt x="27" y="12"/>
                  </a:cubicBezTo>
                  <a:cubicBezTo>
                    <a:pt x="28" y="14"/>
                    <a:pt x="28" y="15"/>
                    <a:pt x="26" y="14"/>
                  </a:cubicBezTo>
                  <a:cubicBezTo>
                    <a:pt x="24" y="12"/>
                    <a:pt x="25" y="16"/>
                    <a:pt x="26" y="17"/>
                  </a:cubicBezTo>
                  <a:cubicBezTo>
                    <a:pt x="27" y="18"/>
                    <a:pt x="23" y="19"/>
                    <a:pt x="22" y="19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9" name="Freeform 586">
              <a:extLst>
                <a:ext uri="{FF2B5EF4-FFF2-40B4-BE49-F238E27FC236}">
                  <a16:creationId xmlns:a16="http://schemas.microsoft.com/office/drawing/2014/main" id="{223B5C59-0657-D506-A195-CDC7037F86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121241" y="1644908"/>
              <a:ext cx="46495" cy="15139"/>
            </a:xfrm>
            <a:custGeom>
              <a:avLst/>
              <a:gdLst>
                <a:gd name="T0" fmla="*/ 1 w 9"/>
                <a:gd name="T1" fmla="*/ 3 h 3"/>
                <a:gd name="T2" fmla="*/ 7 w 9"/>
                <a:gd name="T3" fmla="*/ 0 h 3"/>
                <a:gd name="T4" fmla="*/ 1 w 9"/>
                <a:gd name="T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3">
                  <a:moveTo>
                    <a:pt x="1" y="3"/>
                  </a:moveTo>
                  <a:cubicBezTo>
                    <a:pt x="4" y="2"/>
                    <a:pt x="9" y="0"/>
                    <a:pt x="7" y="0"/>
                  </a:cubicBezTo>
                  <a:cubicBezTo>
                    <a:pt x="4" y="0"/>
                    <a:pt x="0" y="3"/>
                    <a:pt x="1" y="3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0" name="Freeform 587">
              <a:extLst>
                <a:ext uri="{FF2B5EF4-FFF2-40B4-BE49-F238E27FC236}">
                  <a16:creationId xmlns:a16="http://schemas.microsoft.com/office/drawing/2014/main" id="{22367E5F-43E6-F933-B915-F82508320787}"/>
                </a:ext>
              </a:extLst>
            </p:cNvPr>
            <p:cNvSpPr>
              <a:spLocks/>
            </p:cNvSpPr>
            <p:nvPr/>
          </p:nvSpPr>
          <p:spPr bwMode="auto">
            <a:xfrm>
              <a:off x="3110511" y="1639232"/>
              <a:ext cx="42917" cy="11355"/>
            </a:xfrm>
            <a:custGeom>
              <a:avLst/>
              <a:gdLst>
                <a:gd name="T0" fmla="*/ 1 w 8"/>
                <a:gd name="T1" fmla="*/ 2 h 2"/>
                <a:gd name="T2" fmla="*/ 6 w 8"/>
                <a:gd name="T3" fmla="*/ 0 h 2"/>
                <a:gd name="T4" fmla="*/ 1 w 8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2">
                  <a:moveTo>
                    <a:pt x="1" y="2"/>
                  </a:moveTo>
                  <a:cubicBezTo>
                    <a:pt x="0" y="2"/>
                    <a:pt x="4" y="0"/>
                    <a:pt x="6" y="0"/>
                  </a:cubicBezTo>
                  <a:cubicBezTo>
                    <a:pt x="8" y="0"/>
                    <a:pt x="4" y="2"/>
                    <a:pt x="1" y="2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1" name="Freeform 588">
              <a:extLst>
                <a:ext uri="{FF2B5EF4-FFF2-40B4-BE49-F238E27FC236}">
                  <a16:creationId xmlns:a16="http://schemas.microsoft.com/office/drawing/2014/main" id="{0FA1E3BA-B2B3-9805-8DEA-8C25B2C32A3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9052" y="1622199"/>
              <a:ext cx="53647" cy="28387"/>
            </a:xfrm>
            <a:custGeom>
              <a:avLst/>
              <a:gdLst>
                <a:gd name="T0" fmla="*/ 2 w 10"/>
                <a:gd name="T1" fmla="*/ 3 h 5"/>
                <a:gd name="T2" fmla="*/ 10 w 10"/>
                <a:gd name="T3" fmla="*/ 1 h 5"/>
                <a:gd name="T4" fmla="*/ 2 w 10"/>
                <a:gd name="T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5">
                  <a:moveTo>
                    <a:pt x="2" y="3"/>
                  </a:moveTo>
                  <a:cubicBezTo>
                    <a:pt x="0" y="2"/>
                    <a:pt x="10" y="0"/>
                    <a:pt x="10" y="1"/>
                  </a:cubicBezTo>
                  <a:cubicBezTo>
                    <a:pt x="10" y="2"/>
                    <a:pt x="6" y="5"/>
                    <a:pt x="2" y="3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2" name="Freeform 589">
              <a:extLst>
                <a:ext uri="{FF2B5EF4-FFF2-40B4-BE49-F238E27FC236}">
                  <a16:creationId xmlns:a16="http://schemas.microsoft.com/office/drawing/2014/main" id="{6E489BC2-0DB5-5AB4-66E6-56C65D0CA44B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417" y="1599492"/>
              <a:ext cx="37553" cy="28387"/>
            </a:xfrm>
            <a:custGeom>
              <a:avLst/>
              <a:gdLst>
                <a:gd name="T0" fmla="*/ 1 w 7"/>
                <a:gd name="T1" fmla="*/ 5 h 5"/>
                <a:gd name="T2" fmla="*/ 0 w 7"/>
                <a:gd name="T3" fmla="*/ 1 h 5"/>
                <a:gd name="T4" fmla="*/ 4 w 7"/>
                <a:gd name="T5" fmla="*/ 2 h 5"/>
                <a:gd name="T6" fmla="*/ 7 w 7"/>
                <a:gd name="T7" fmla="*/ 4 h 5"/>
                <a:gd name="T8" fmla="*/ 1 w 7"/>
                <a:gd name="T9" fmla="*/ 5 h 5"/>
                <a:gd name="T10" fmla="*/ 1 w 7"/>
                <a:gd name="T1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5">
                  <a:moveTo>
                    <a:pt x="1" y="5"/>
                  </a:moveTo>
                  <a:cubicBezTo>
                    <a:pt x="0" y="4"/>
                    <a:pt x="0" y="2"/>
                    <a:pt x="0" y="1"/>
                  </a:cubicBezTo>
                  <a:cubicBezTo>
                    <a:pt x="1" y="0"/>
                    <a:pt x="3" y="1"/>
                    <a:pt x="4" y="2"/>
                  </a:cubicBezTo>
                  <a:cubicBezTo>
                    <a:pt x="4" y="2"/>
                    <a:pt x="7" y="3"/>
                    <a:pt x="7" y="4"/>
                  </a:cubicBezTo>
                  <a:cubicBezTo>
                    <a:pt x="7" y="4"/>
                    <a:pt x="2" y="5"/>
                    <a:pt x="1" y="5"/>
                  </a:cubicBezTo>
                  <a:cubicBezTo>
                    <a:pt x="0" y="4"/>
                    <a:pt x="4" y="5"/>
                    <a:pt x="1" y="5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3" name="Freeform 590">
              <a:extLst>
                <a:ext uri="{FF2B5EF4-FFF2-40B4-BE49-F238E27FC236}">
                  <a16:creationId xmlns:a16="http://schemas.microsoft.com/office/drawing/2014/main" id="{6C758110-9822-A3EC-924E-5933E25F35BB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2558" y="1533258"/>
              <a:ext cx="62589" cy="49203"/>
            </a:xfrm>
            <a:custGeom>
              <a:avLst/>
              <a:gdLst>
                <a:gd name="T0" fmla="*/ 8 w 12"/>
                <a:gd name="T1" fmla="*/ 8 h 9"/>
                <a:gd name="T2" fmla="*/ 3 w 12"/>
                <a:gd name="T3" fmla="*/ 1 h 9"/>
                <a:gd name="T4" fmla="*/ 8 w 12"/>
                <a:gd name="T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9">
                  <a:moveTo>
                    <a:pt x="8" y="8"/>
                  </a:moveTo>
                  <a:cubicBezTo>
                    <a:pt x="6" y="9"/>
                    <a:pt x="0" y="0"/>
                    <a:pt x="3" y="1"/>
                  </a:cubicBezTo>
                  <a:cubicBezTo>
                    <a:pt x="6" y="3"/>
                    <a:pt x="12" y="8"/>
                    <a:pt x="8" y="8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4" name="Freeform 591">
              <a:extLst>
                <a:ext uri="{FF2B5EF4-FFF2-40B4-BE49-F238E27FC236}">
                  <a16:creationId xmlns:a16="http://schemas.microsoft.com/office/drawing/2014/main" id="{BECF404B-5076-CA75-33C1-5200B11DD3E8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2700" y="1527582"/>
              <a:ext cx="46495" cy="17031"/>
            </a:xfrm>
            <a:custGeom>
              <a:avLst/>
              <a:gdLst>
                <a:gd name="T0" fmla="*/ 2 w 9"/>
                <a:gd name="T1" fmla="*/ 1 h 3"/>
                <a:gd name="T2" fmla="*/ 8 w 9"/>
                <a:gd name="T3" fmla="*/ 2 h 3"/>
                <a:gd name="T4" fmla="*/ 2 w 9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3">
                  <a:moveTo>
                    <a:pt x="2" y="1"/>
                  </a:moveTo>
                  <a:cubicBezTo>
                    <a:pt x="5" y="0"/>
                    <a:pt x="9" y="2"/>
                    <a:pt x="8" y="2"/>
                  </a:cubicBezTo>
                  <a:cubicBezTo>
                    <a:pt x="3" y="3"/>
                    <a:pt x="0" y="2"/>
                    <a:pt x="2" y="1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5" name="Freeform 592">
              <a:extLst>
                <a:ext uri="{FF2B5EF4-FFF2-40B4-BE49-F238E27FC236}">
                  <a16:creationId xmlns:a16="http://schemas.microsoft.com/office/drawing/2014/main" id="{2CA236E4-4934-9FF1-C2A2-27F2E1222FC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3286" y="1438640"/>
              <a:ext cx="187767" cy="105974"/>
            </a:xfrm>
            <a:custGeom>
              <a:avLst/>
              <a:gdLst>
                <a:gd name="T0" fmla="*/ 28 w 36"/>
                <a:gd name="T1" fmla="*/ 17 h 19"/>
                <a:gd name="T2" fmla="*/ 27 w 36"/>
                <a:gd name="T3" fmla="*/ 15 h 19"/>
                <a:gd name="T4" fmla="*/ 22 w 36"/>
                <a:gd name="T5" fmla="*/ 13 h 19"/>
                <a:gd name="T6" fmla="*/ 14 w 36"/>
                <a:gd name="T7" fmla="*/ 14 h 19"/>
                <a:gd name="T8" fmla="*/ 18 w 36"/>
                <a:gd name="T9" fmla="*/ 12 h 19"/>
                <a:gd name="T10" fmla="*/ 8 w 36"/>
                <a:gd name="T11" fmla="*/ 12 h 19"/>
                <a:gd name="T12" fmla="*/ 13 w 36"/>
                <a:gd name="T13" fmla="*/ 10 h 19"/>
                <a:gd name="T14" fmla="*/ 12 w 36"/>
                <a:gd name="T15" fmla="*/ 9 h 19"/>
                <a:gd name="T16" fmla="*/ 13 w 36"/>
                <a:gd name="T17" fmla="*/ 8 h 19"/>
                <a:gd name="T18" fmla="*/ 11 w 36"/>
                <a:gd name="T19" fmla="*/ 8 h 19"/>
                <a:gd name="T20" fmla="*/ 10 w 36"/>
                <a:gd name="T21" fmla="*/ 6 h 19"/>
                <a:gd name="T22" fmla="*/ 6 w 36"/>
                <a:gd name="T23" fmla="*/ 6 h 19"/>
                <a:gd name="T24" fmla="*/ 3 w 36"/>
                <a:gd name="T25" fmla="*/ 5 h 19"/>
                <a:gd name="T26" fmla="*/ 9 w 36"/>
                <a:gd name="T27" fmla="*/ 2 h 19"/>
                <a:gd name="T28" fmla="*/ 16 w 36"/>
                <a:gd name="T29" fmla="*/ 1 h 19"/>
                <a:gd name="T30" fmla="*/ 18 w 36"/>
                <a:gd name="T31" fmla="*/ 5 h 19"/>
                <a:gd name="T32" fmla="*/ 22 w 36"/>
                <a:gd name="T33" fmla="*/ 4 h 19"/>
                <a:gd name="T34" fmla="*/ 25 w 36"/>
                <a:gd name="T35" fmla="*/ 7 h 19"/>
                <a:gd name="T36" fmla="*/ 30 w 36"/>
                <a:gd name="T37" fmla="*/ 7 h 19"/>
                <a:gd name="T38" fmla="*/ 33 w 36"/>
                <a:gd name="T39" fmla="*/ 12 h 19"/>
                <a:gd name="T40" fmla="*/ 34 w 36"/>
                <a:gd name="T41" fmla="*/ 16 h 19"/>
                <a:gd name="T42" fmla="*/ 28 w 36"/>
                <a:gd name="T43" fmla="*/ 17 h 19"/>
                <a:gd name="T44" fmla="*/ 28 w 36"/>
                <a:gd name="T45" fmla="*/ 1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6" h="19">
                  <a:moveTo>
                    <a:pt x="28" y="17"/>
                  </a:moveTo>
                  <a:cubicBezTo>
                    <a:pt x="27" y="17"/>
                    <a:pt x="27" y="16"/>
                    <a:pt x="27" y="15"/>
                  </a:cubicBezTo>
                  <a:cubicBezTo>
                    <a:pt x="26" y="14"/>
                    <a:pt x="23" y="13"/>
                    <a:pt x="22" y="13"/>
                  </a:cubicBezTo>
                  <a:cubicBezTo>
                    <a:pt x="21" y="13"/>
                    <a:pt x="14" y="15"/>
                    <a:pt x="14" y="14"/>
                  </a:cubicBezTo>
                  <a:cubicBezTo>
                    <a:pt x="14" y="14"/>
                    <a:pt x="18" y="12"/>
                    <a:pt x="18" y="12"/>
                  </a:cubicBezTo>
                  <a:cubicBezTo>
                    <a:pt x="15" y="11"/>
                    <a:pt x="11" y="14"/>
                    <a:pt x="8" y="12"/>
                  </a:cubicBezTo>
                  <a:cubicBezTo>
                    <a:pt x="2" y="9"/>
                    <a:pt x="13" y="10"/>
                    <a:pt x="13" y="10"/>
                  </a:cubicBezTo>
                  <a:cubicBezTo>
                    <a:pt x="13" y="10"/>
                    <a:pt x="12" y="9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4" y="7"/>
                    <a:pt x="11" y="8"/>
                    <a:pt x="11" y="8"/>
                  </a:cubicBezTo>
                  <a:cubicBezTo>
                    <a:pt x="10" y="7"/>
                    <a:pt x="12" y="6"/>
                    <a:pt x="10" y="6"/>
                  </a:cubicBezTo>
                  <a:cubicBezTo>
                    <a:pt x="9" y="6"/>
                    <a:pt x="7" y="7"/>
                    <a:pt x="6" y="6"/>
                  </a:cubicBezTo>
                  <a:cubicBezTo>
                    <a:pt x="6" y="5"/>
                    <a:pt x="4" y="6"/>
                    <a:pt x="3" y="5"/>
                  </a:cubicBezTo>
                  <a:cubicBezTo>
                    <a:pt x="0" y="0"/>
                    <a:pt x="7" y="2"/>
                    <a:pt x="9" y="2"/>
                  </a:cubicBezTo>
                  <a:cubicBezTo>
                    <a:pt x="11" y="1"/>
                    <a:pt x="14" y="0"/>
                    <a:pt x="16" y="1"/>
                  </a:cubicBezTo>
                  <a:cubicBezTo>
                    <a:pt x="19" y="2"/>
                    <a:pt x="14" y="7"/>
                    <a:pt x="18" y="5"/>
                  </a:cubicBezTo>
                  <a:cubicBezTo>
                    <a:pt x="19" y="5"/>
                    <a:pt x="21" y="3"/>
                    <a:pt x="22" y="4"/>
                  </a:cubicBezTo>
                  <a:cubicBezTo>
                    <a:pt x="23" y="5"/>
                    <a:pt x="24" y="7"/>
                    <a:pt x="25" y="7"/>
                  </a:cubicBezTo>
                  <a:cubicBezTo>
                    <a:pt x="26" y="7"/>
                    <a:pt x="29" y="6"/>
                    <a:pt x="30" y="7"/>
                  </a:cubicBezTo>
                  <a:cubicBezTo>
                    <a:pt x="32" y="8"/>
                    <a:pt x="32" y="11"/>
                    <a:pt x="33" y="12"/>
                  </a:cubicBezTo>
                  <a:cubicBezTo>
                    <a:pt x="34" y="14"/>
                    <a:pt x="36" y="15"/>
                    <a:pt x="34" y="16"/>
                  </a:cubicBezTo>
                  <a:cubicBezTo>
                    <a:pt x="33" y="18"/>
                    <a:pt x="30" y="18"/>
                    <a:pt x="28" y="17"/>
                  </a:cubicBezTo>
                  <a:cubicBezTo>
                    <a:pt x="27" y="16"/>
                    <a:pt x="31" y="19"/>
                    <a:pt x="28" y="17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6" name="Freeform 593">
              <a:extLst>
                <a:ext uri="{FF2B5EF4-FFF2-40B4-BE49-F238E27FC236}">
                  <a16:creationId xmlns:a16="http://schemas.microsoft.com/office/drawing/2014/main" id="{2A36128C-17E7-0F38-C697-D0BA90F80B70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9923" y="1387546"/>
              <a:ext cx="57223" cy="28387"/>
            </a:xfrm>
            <a:custGeom>
              <a:avLst/>
              <a:gdLst>
                <a:gd name="T0" fmla="*/ 8 w 11"/>
                <a:gd name="T1" fmla="*/ 5 h 5"/>
                <a:gd name="T2" fmla="*/ 4 w 11"/>
                <a:gd name="T3" fmla="*/ 4 h 5"/>
                <a:gd name="T4" fmla="*/ 2 w 11"/>
                <a:gd name="T5" fmla="*/ 3 h 5"/>
                <a:gd name="T6" fmla="*/ 7 w 11"/>
                <a:gd name="T7" fmla="*/ 2 h 5"/>
                <a:gd name="T8" fmla="*/ 8 w 11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5">
                  <a:moveTo>
                    <a:pt x="8" y="5"/>
                  </a:moveTo>
                  <a:cubicBezTo>
                    <a:pt x="6" y="5"/>
                    <a:pt x="6" y="4"/>
                    <a:pt x="4" y="4"/>
                  </a:cubicBezTo>
                  <a:cubicBezTo>
                    <a:pt x="4" y="4"/>
                    <a:pt x="0" y="4"/>
                    <a:pt x="2" y="3"/>
                  </a:cubicBezTo>
                  <a:cubicBezTo>
                    <a:pt x="3" y="1"/>
                    <a:pt x="6" y="0"/>
                    <a:pt x="7" y="2"/>
                  </a:cubicBezTo>
                  <a:cubicBezTo>
                    <a:pt x="9" y="3"/>
                    <a:pt x="11" y="5"/>
                    <a:pt x="8" y="5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7" name="Freeform 594">
              <a:extLst>
                <a:ext uri="{FF2B5EF4-FFF2-40B4-BE49-F238E27FC236}">
                  <a16:creationId xmlns:a16="http://schemas.microsoft.com/office/drawing/2014/main" id="{8C760AF5-4A0F-5853-A764-D3FE18FE5D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6418" y="1476488"/>
              <a:ext cx="105506" cy="62449"/>
            </a:xfrm>
            <a:custGeom>
              <a:avLst/>
              <a:gdLst>
                <a:gd name="T0" fmla="*/ 8 w 20"/>
                <a:gd name="T1" fmla="*/ 7 h 11"/>
                <a:gd name="T2" fmla="*/ 3 w 20"/>
                <a:gd name="T3" fmla="*/ 5 h 11"/>
                <a:gd name="T4" fmla="*/ 4 w 20"/>
                <a:gd name="T5" fmla="*/ 3 h 11"/>
                <a:gd name="T6" fmla="*/ 1 w 20"/>
                <a:gd name="T7" fmla="*/ 1 h 11"/>
                <a:gd name="T8" fmla="*/ 6 w 20"/>
                <a:gd name="T9" fmla="*/ 1 h 11"/>
                <a:gd name="T10" fmla="*/ 12 w 20"/>
                <a:gd name="T11" fmla="*/ 3 h 11"/>
                <a:gd name="T12" fmla="*/ 16 w 20"/>
                <a:gd name="T13" fmla="*/ 3 h 11"/>
                <a:gd name="T14" fmla="*/ 19 w 20"/>
                <a:gd name="T15" fmla="*/ 4 h 11"/>
                <a:gd name="T16" fmla="*/ 18 w 20"/>
                <a:gd name="T17" fmla="*/ 8 h 11"/>
                <a:gd name="T18" fmla="*/ 15 w 20"/>
                <a:gd name="T19" fmla="*/ 10 h 11"/>
                <a:gd name="T20" fmla="*/ 9 w 20"/>
                <a:gd name="T21" fmla="*/ 11 h 11"/>
                <a:gd name="T22" fmla="*/ 4 w 20"/>
                <a:gd name="T23" fmla="*/ 8 h 11"/>
                <a:gd name="T24" fmla="*/ 8 w 20"/>
                <a:gd name="T25" fmla="*/ 7 h 11"/>
                <a:gd name="T26" fmla="*/ 8 w 20"/>
                <a:gd name="T27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" h="11">
                  <a:moveTo>
                    <a:pt x="8" y="7"/>
                  </a:moveTo>
                  <a:cubicBezTo>
                    <a:pt x="6" y="7"/>
                    <a:pt x="4" y="6"/>
                    <a:pt x="3" y="5"/>
                  </a:cubicBezTo>
                  <a:cubicBezTo>
                    <a:pt x="0" y="4"/>
                    <a:pt x="4" y="3"/>
                    <a:pt x="4" y="3"/>
                  </a:cubicBezTo>
                  <a:cubicBezTo>
                    <a:pt x="4" y="2"/>
                    <a:pt x="2" y="1"/>
                    <a:pt x="1" y="1"/>
                  </a:cubicBezTo>
                  <a:cubicBezTo>
                    <a:pt x="1" y="0"/>
                    <a:pt x="6" y="1"/>
                    <a:pt x="6" y="1"/>
                  </a:cubicBezTo>
                  <a:cubicBezTo>
                    <a:pt x="8" y="1"/>
                    <a:pt x="10" y="2"/>
                    <a:pt x="12" y="3"/>
                  </a:cubicBezTo>
                  <a:cubicBezTo>
                    <a:pt x="14" y="3"/>
                    <a:pt x="15" y="3"/>
                    <a:pt x="16" y="3"/>
                  </a:cubicBezTo>
                  <a:cubicBezTo>
                    <a:pt x="17" y="3"/>
                    <a:pt x="20" y="4"/>
                    <a:pt x="19" y="4"/>
                  </a:cubicBezTo>
                  <a:cubicBezTo>
                    <a:pt x="17" y="6"/>
                    <a:pt x="16" y="5"/>
                    <a:pt x="18" y="8"/>
                  </a:cubicBezTo>
                  <a:cubicBezTo>
                    <a:pt x="19" y="9"/>
                    <a:pt x="16" y="9"/>
                    <a:pt x="15" y="10"/>
                  </a:cubicBezTo>
                  <a:cubicBezTo>
                    <a:pt x="13" y="10"/>
                    <a:pt x="11" y="11"/>
                    <a:pt x="9" y="11"/>
                  </a:cubicBezTo>
                  <a:cubicBezTo>
                    <a:pt x="8" y="10"/>
                    <a:pt x="4" y="9"/>
                    <a:pt x="4" y="8"/>
                  </a:cubicBezTo>
                  <a:cubicBezTo>
                    <a:pt x="4" y="8"/>
                    <a:pt x="10" y="7"/>
                    <a:pt x="8" y="7"/>
                  </a:cubicBezTo>
                  <a:cubicBezTo>
                    <a:pt x="5" y="6"/>
                    <a:pt x="10" y="7"/>
                    <a:pt x="8" y="7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56" name="Freeform 595">
              <a:extLst>
                <a:ext uri="{FF2B5EF4-FFF2-40B4-BE49-F238E27FC236}">
                  <a16:creationId xmlns:a16="http://schemas.microsoft.com/office/drawing/2014/main" id="{824124B9-DB80-6F79-645C-5594077CCE9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5431" y="1533258"/>
              <a:ext cx="92988" cy="28387"/>
            </a:xfrm>
            <a:custGeom>
              <a:avLst/>
              <a:gdLst>
                <a:gd name="T0" fmla="*/ 14 w 18"/>
                <a:gd name="T1" fmla="*/ 5 h 5"/>
                <a:gd name="T2" fmla="*/ 16 w 18"/>
                <a:gd name="T3" fmla="*/ 2 h 5"/>
                <a:gd name="T4" fmla="*/ 13 w 18"/>
                <a:gd name="T5" fmla="*/ 1 h 5"/>
                <a:gd name="T6" fmla="*/ 3 w 18"/>
                <a:gd name="T7" fmla="*/ 1 h 5"/>
                <a:gd name="T8" fmla="*/ 4 w 18"/>
                <a:gd name="T9" fmla="*/ 4 h 5"/>
                <a:gd name="T10" fmla="*/ 14 w 18"/>
                <a:gd name="T11" fmla="*/ 5 h 5"/>
                <a:gd name="T12" fmla="*/ 14 w 18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5">
                  <a:moveTo>
                    <a:pt x="14" y="5"/>
                  </a:moveTo>
                  <a:cubicBezTo>
                    <a:pt x="14" y="4"/>
                    <a:pt x="18" y="2"/>
                    <a:pt x="16" y="2"/>
                  </a:cubicBezTo>
                  <a:cubicBezTo>
                    <a:pt x="15" y="1"/>
                    <a:pt x="14" y="1"/>
                    <a:pt x="13" y="1"/>
                  </a:cubicBezTo>
                  <a:cubicBezTo>
                    <a:pt x="10" y="1"/>
                    <a:pt x="6" y="0"/>
                    <a:pt x="3" y="1"/>
                  </a:cubicBezTo>
                  <a:cubicBezTo>
                    <a:pt x="0" y="1"/>
                    <a:pt x="1" y="4"/>
                    <a:pt x="4" y="4"/>
                  </a:cubicBezTo>
                  <a:cubicBezTo>
                    <a:pt x="7" y="4"/>
                    <a:pt x="11" y="5"/>
                    <a:pt x="14" y="5"/>
                  </a:cubicBezTo>
                  <a:cubicBezTo>
                    <a:pt x="16" y="4"/>
                    <a:pt x="12" y="5"/>
                    <a:pt x="14" y="5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57" name="Freeform 596">
              <a:extLst>
                <a:ext uri="{FF2B5EF4-FFF2-40B4-BE49-F238E27FC236}">
                  <a16:creationId xmlns:a16="http://schemas.microsoft.com/office/drawing/2014/main" id="{56FC3161-71F6-D59F-63F4-E679D8B025B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0067" y="1660047"/>
              <a:ext cx="87624" cy="62449"/>
            </a:xfrm>
            <a:custGeom>
              <a:avLst/>
              <a:gdLst>
                <a:gd name="T0" fmla="*/ 7 w 17"/>
                <a:gd name="T1" fmla="*/ 1 h 11"/>
                <a:gd name="T2" fmla="*/ 1 w 17"/>
                <a:gd name="T3" fmla="*/ 6 h 11"/>
                <a:gd name="T4" fmla="*/ 10 w 17"/>
                <a:gd name="T5" fmla="*/ 10 h 11"/>
                <a:gd name="T6" fmla="*/ 15 w 17"/>
                <a:gd name="T7" fmla="*/ 10 h 11"/>
                <a:gd name="T8" fmla="*/ 15 w 17"/>
                <a:gd name="T9" fmla="*/ 8 h 11"/>
                <a:gd name="T10" fmla="*/ 16 w 17"/>
                <a:gd name="T11" fmla="*/ 6 h 11"/>
                <a:gd name="T12" fmla="*/ 7 w 17"/>
                <a:gd name="T13" fmla="*/ 1 h 11"/>
                <a:gd name="T14" fmla="*/ 7 w 17"/>
                <a:gd name="T15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11">
                  <a:moveTo>
                    <a:pt x="7" y="1"/>
                  </a:moveTo>
                  <a:cubicBezTo>
                    <a:pt x="5" y="0"/>
                    <a:pt x="2" y="4"/>
                    <a:pt x="1" y="6"/>
                  </a:cubicBezTo>
                  <a:cubicBezTo>
                    <a:pt x="0" y="8"/>
                    <a:pt x="8" y="10"/>
                    <a:pt x="10" y="10"/>
                  </a:cubicBezTo>
                  <a:cubicBezTo>
                    <a:pt x="11" y="11"/>
                    <a:pt x="14" y="11"/>
                    <a:pt x="15" y="10"/>
                  </a:cubicBezTo>
                  <a:cubicBezTo>
                    <a:pt x="16" y="10"/>
                    <a:pt x="15" y="9"/>
                    <a:pt x="15" y="8"/>
                  </a:cubicBezTo>
                  <a:cubicBezTo>
                    <a:pt x="15" y="7"/>
                    <a:pt x="15" y="6"/>
                    <a:pt x="16" y="6"/>
                  </a:cubicBezTo>
                  <a:cubicBezTo>
                    <a:pt x="17" y="4"/>
                    <a:pt x="9" y="1"/>
                    <a:pt x="7" y="1"/>
                  </a:cubicBezTo>
                  <a:cubicBezTo>
                    <a:pt x="5" y="0"/>
                    <a:pt x="8" y="1"/>
                    <a:pt x="7" y="1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58" name="Freeform 597">
              <a:extLst>
                <a:ext uri="{FF2B5EF4-FFF2-40B4-BE49-F238E27FC236}">
                  <a16:creationId xmlns:a16="http://schemas.microsoft.com/office/drawing/2014/main" id="{EF9E41DB-CD81-685C-CDC1-E540DE6BA61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1196" y="1644908"/>
              <a:ext cx="21459" cy="15139"/>
            </a:xfrm>
            <a:custGeom>
              <a:avLst/>
              <a:gdLst>
                <a:gd name="T0" fmla="*/ 3 w 4"/>
                <a:gd name="T1" fmla="*/ 2 h 3"/>
                <a:gd name="T2" fmla="*/ 1 w 4"/>
                <a:gd name="T3" fmla="*/ 1 h 3"/>
                <a:gd name="T4" fmla="*/ 3 w 4"/>
                <a:gd name="T5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3">
                  <a:moveTo>
                    <a:pt x="3" y="2"/>
                  </a:moveTo>
                  <a:cubicBezTo>
                    <a:pt x="1" y="3"/>
                    <a:pt x="0" y="1"/>
                    <a:pt x="1" y="1"/>
                  </a:cubicBezTo>
                  <a:cubicBezTo>
                    <a:pt x="2" y="0"/>
                    <a:pt x="4" y="2"/>
                    <a:pt x="3" y="2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59" name="Freeform 598">
              <a:extLst>
                <a:ext uri="{FF2B5EF4-FFF2-40B4-BE49-F238E27FC236}">
                  <a16:creationId xmlns:a16="http://schemas.microsoft.com/office/drawing/2014/main" id="{62401FE9-9C8A-921C-C8AF-CECFE6A994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435973" y="1544612"/>
              <a:ext cx="46495" cy="32169"/>
            </a:xfrm>
            <a:custGeom>
              <a:avLst/>
              <a:gdLst>
                <a:gd name="T0" fmla="*/ 1 w 9"/>
                <a:gd name="T1" fmla="*/ 5 h 6"/>
                <a:gd name="T2" fmla="*/ 1 w 9"/>
                <a:gd name="T3" fmla="*/ 1 h 6"/>
                <a:gd name="T4" fmla="*/ 5 w 9"/>
                <a:gd name="T5" fmla="*/ 1 h 6"/>
                <a:gd name="T6" fmla="*/ 9 w 9"/>
                <a:gd name="T7" fmla="*/ 3 h 6"/>
                <a:gd name="T8" fmla="*/ 5 w 9"/>
                <a:gd name="T9" fmla="*/ 5 h 6"/>
                <a:gd name="T10" fmla="*/ 1 w 9"/>
                <a:gd name="T11" fmla="*/ 5 h 6"/>
                <a:gd name="T12" fmla="*/ 1 w 9"/>
                <a:gd name="T13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6">
                  <a:moveTo>
                    <a:pt x="1" y="5"/>
                  </a:moveTo>
                  <a:cubicBezTo>
                    <a:pt x="1" y="5"/>
                    <a:pt x="2" y="2"/>
                    <a:pt x="1" y="1"/>
                  </a:cubicBezTo>
                  <a:cubicBezTo>
                    <a:pt x="1" y="0"/>
                    <a:pt x="4" y="1"/>
                    <a:pt x="5" y="1"/>
                  </a:cubicBezTo>
                  <a:cubicBezTo>
                    <a:pt x="6" y="1"/>
                    <a:pt x="9" y="2"/>
                    <a:pt x="9" y="3"/>
                  </a:cubicBezTo>
                  <a:cubicBezTo>
                    <a:pt x="8" y="4"/>
                    <a:pt x="6" y="5"/>
                    <a:pt x="5" y="5"/>
                  </a:cubicBezTo>
                  <a:cubicBezTo>
                    <a:pt x="3" y="6"/>
                    <a:pt x="3" y="6"/>
                    <a:pt x="1" y="5"/>
                  </a:cubicBezTo>
                  <a:cubicBezTo>
                    <a:pt x="0" y="4"/>
                    <a:pt x="2" y="6"/>
                    <a:pt x="1" y="5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60" name="Freeform 599">
              <a:extLst>
                <a:ext uri="{FF2B5EF4-FFF2-40B4-BE49-F238E27FC236}">
                  <a16:creationId xmlns:a16="http://schemas.microsoft.com/office/drawing/2014/main" id="{A3AEB0B9-E93E-66FA-A1B7-BB9F18EB6A16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1008" y="1593813"/>
              <a:ext cx="16094" cy="22709"/>
            </a:xfrm>
            <a:custGeom>
              <a:avLst/>
              <a:gdLst>
                <a:gd name="T0" fmla="*/ 2 w 3"/>
                <a:gd name="T1" fmla="*/ 1 h 4"/>
                <a:gd name="T2" fmla="*/ 1 w 3"/>
                <a:gd name="T3" fmla="*/ 3 h 4"/>
                <a:gd name="T4" fmla="*/ 2 w 3"/>
                <a:gd name="T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4">
                  <a:moveTo>
                    <a:pt x="2" y="1"/>
                  </a:moveTo>
                  <a:cubicBezTo>
                    <a:pt x="0" y="0"/>
                    <a:pt x="0" y="3"/>
                    <a:pt x="1" y="3"/>
                  </a:cubicBezTo>
                  <a:cubicBezTo>
                    <a:pt x="2" y="4"/>
                    <a:pt x="3" y="2"/>
                    <a:pt x="2" y="1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61" name="Freeform 600">
              <a:extLst>
                <a:ext uri="{FF2B5EF4-FFF2-40B4-BE49-F238E27FC236}">
                  <a16:creationId xmlns:a16="http://schemas.microsoft.com/office/drawing/2014/main" id="{CFCCE8A2-A406-C702-7E5F-5AD7AD9AA82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89336" y="1576784"/>
              <a:ext cx="466735" cy="151390"/>
            </a:xfrm>
            <a:custGeom>
              <a:avLst/>
              <a:gdLst>
                <a:gd name="T0" fmla="*/ 17 w 89"/>
                <a:gd name="T1" fmla="*/ 7 h 27"/>
                <a:gd name="T2" fmla="*/ 19 w 89"/>
                <a:gd name="T3" fmla="*/ 4 h 27"/>
                <a:gd name="T4" fmla="*/ 15 w 89"/>
                <a:gd name="T5" fmla="*/ 2 h 27"/>
                <a:gd name="T6" fmla="*/ 12 w 89"/>
                <a:gd name="T7" fmla="*/ 2 h 27"/>
                <a:gd name="T8" fmla="*/ 4 w 89"/>
                <a:gd name="T9" fmla="*/ 1 h 27"/>
                <a:gd name="T10" fmla="*/ 4 w 89"/>
                <a:gd name="T11" fmla="*/ 3 h 27"/>
                <a:gd name="T12" fmla="*/ 0 w 89"/>
                <a:gd name="T13" fmla="*/ 4 h 27"/>
                <a:gd name="T14" fmla="*/ 5 w 89"/>
                <a:gd name="T15" fmla="*/ 5 h 27"/>
                <a:gd name="T16" fmla="*/ 7 w 89"/>
                <a:gd name="T17" fmla="*/ 6 h 27"/>
                <a:gd name="T18" fmla="*/ 6 w 89"/>
                <a:gd name="T19" fmla="*/ 7 h 27"/>
                <a:gd name="T20" fmla="*/ 24 w 89"/>
                <a:gd name="T21" fmla="*/ 13 h 27"/>
                <a:gd name="T22" fmla="*/ 25 w 89"/>
                <a:gd name="T23" fmla="*/ 16 h 27"/>
                <a:gd name="T24" fmla="*/ 24 w 89"/>
                <a:gd name="T25" fmla="*/ 21 h 27"/>
                <a:gd name="T26" fmla="*/ 27 w 89"/>
                <a:gd name="T27" fmla="*/ 25 h 27"/>
                <a:gd name="T28" fmla="*/ 30 w 89"/>
                <a:gd name="T29" fmla="*/ 24 h 27"/>
                <a:gd name="T30" fmla="*/ 33 w 89"/>
                <a:gd name="T31" fmla="*/ 26 h 27"/>
                <a:gd name="T32" fmla="*/ 38 w 89"/>
                <a:gd name="T33" fmla="*/ 26 h 27"/>
                <a:gd name="T34" fmla="*/ 42 w 89"/>
                <a:gd name="T35" fmla="*/ 23 h 27"/>
                <a:gd name="T36" fmla="*/ 45 w 89"/>
                <a:gd name="T37" fmla="*/ 26 h 27"/>
                <a:gd name="T38" fmla="*/ 52 w 89"/>
                <a:gd name="T39" fmla="*/ 27 h 27"/>
                <a:gd name="T40" fmla="*/ 62 w 89"/>
                <a:gd name="T41" fmla="*/ 27 h 27"/>
                <a:gd name="T42" fmla="*/ 65 w 89"/>
                <a:gd name="T43" fmla="*/ 27 h 27"/>
                <a:gd name="T44" fmla="*/ 67 w 89"/>
                <a:gd name="T45" fmla="*/ 24 h 27"/>
                <a:gd name="T46" fmla="*/ 70 w 89"/>
                <a:gd name="T47" fmla="*/ 25 h 27"/>
                <a:gd name="T48" fmla="*/ 76 w 89"/>
                <a:gd name="T49" fmla="*/ 27 h 27"/>
                <a:gd name="T50" fmla="*/ 82 w 89"/>
                <a:gd name="T51" fmla="*/ 26 h 27"/>
                <a:gd name="T52" fmla="*/ 85 w 89"/>
                <a:gd name="T53" fmla="*/ 24 h 27"/>
                <a:gd name="T54" fmla="*/ 85 w 89"/>
                <a:gd name="T55" fmla="*/ 22 h 27"/>
                <a:gd name="T56" fmla="*/ 82 w 89"/>
                <a:gd name="T57" fmla="*/ 22 h 27"/>
                <a:gd name="T58" fmla="*/ 85 w 89"/>
                <a:gd name="T59" fmla="*/ 17 h 27"/>
                <a:gd name="T60" fmla="*/ 80 w 89"/>
                <a:gd name="T61" fmla="*/ 16 h 27"/>
                <a:gd name="T62" fmla="*/ 78 w 89"/>
                <a:gd name="T63" fmla="*/ 14 h 27"/>
                <a:gd name="T64" fmla="*/ 70 w 89"/>
                <a:gd name="T65" fmla="*/ 14 h 27"/>
                <a:gd name="T66" fmla="*/ 65 w 89"/>
                <a:gd name="T67" fmla="*/ 14 h 27"/>
                <a:gd name="T68" fmla="*/ 55 w 89"/>
                <a:gd name="T69" fmla="*/ 17 h 27"/>
                <a:gd name="T70" fmla="*/ 56 w 89"/>
                <a:gd name="T71" fmla="*/ 18 h 27"/>
                <a:gd name="T72" fmla="*/ 52 w 89"/>
                <a:gd name="T73" fmla="*/ 18 h 27"/>
                <a:gd name="T74" fmla="*/ 49 w 89"/>
                <a:gd name="T75" fmla="*/ 16 h 27"/>
                <a:gd name="T76" fmla="*/ 46 w 89"/>
                <a:gd name="T77" fmla="*/ 17 h 27"/>
                <a:gd name="T78" fmla="*/ 42 w 89"/>
                <a:gd name="T79" fmla="*/ 16 h 27"/>
                <a:gd name="T80" fmla="*/ 41 w 89"/>
                <a:gd name="T81" fmla="*/ 18 h 27"/>
                <a:gd name="T82" fmla="*/ 38 w 89"/>
                <a:gd name="T83" fmla="*/ 16 h 27"/>
                <a:gd name="T84" fmla="*/ 39 w 89"/>
                <a:gd name="T85" fmla="*/ 14 h 27"/>
                <a:gd name="T86" fmla="*/ 34 w 89"/>
                <a:gd name="T87" fmla="*/ 12 h 27"/>
                <a:gd name="T88" fmla="*/ 30 w 89"/>
                <a:gd name="T89" fmla="*/ 13 h 27"/>
                <a:gd name="T90" fmla="*/ 32 w 89"/>
                <a:gd name="T91" fmla="*/ 12 h 27"/>
                <a:gd name="T92" fmla="*/ 28 w 89"/>
                <a:gd name="T93" fmla="*/ 9 h 27"/>
                <a:gd name="T94" fmla="*/ 38 w 89"/>
                <a:gd name="T95" fmla="*/ 10 h 27"/>
                <a:gd name="T96" fmla="*/ 33 w 89"/>
                <a:gd name="T97" fmla="*/ 7 h 27"/>
                <a:gd name="T98" fmla="*/ 28 w 89"/>
                <a:gd name="T99" fmla="*/ 7 h 27"/>
                <a:gd name="T100" fmla="*/ 32 w 89"/>
                <a:gd name="T101" fmla="*/ 6 h 27"/>
                <a:gd name="T102" fmla="*/ 27 w 89"/>
                <a:gd name="T103" fmla="*/ 5 h 27"/>
                <a:gd name="T104" fmla="*/ 17 w 89"/>
                <a:gd name="T105" fmla="*/ 7 h 27"/>
                <a:gd name="T106" fmla="*/ 17 w 89"/>
                <a:gd name="T107" fmla="*/ 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9" h="27">
                  <a:moveTo>
                    <a:pt x="17" y="7"/>
                  </a:moveTo>
                  <a:cubicBezTo>
                    <a:pt x="18" y="7"/>
                    <a:pt x="20" y="5"/>
                    <a:pt x="19" y="4"/>
                  </a:cubicBezTo>
                  <a:cubicBezTo>
                    <a:pt x="18" y="3"/>
                    <a:pt x="16" y="2"/>
                    <a:pt x="15" y="2"/>
                  </a:cubicBezTo>
                  <a:cubicBezTo>
                    <a:pt x="14" y="2"/>
                    <a:pt x="13" y="2"/>
                    <a:pt x="12" y="2"/>
                  </a:cubicBezTo>
                  <a:cubicBezTo>
                    <a:pt x="9" y="1"/>
                    <a:pt x="7" y="0"/>
                    <a:pt x="4" y="1"/>
                  </a:cubicBezTo>
                  <a:cubicBezTo>
                    <a:pt x="0" y="2"/>
                    <a:pt x="3" y="2"/>
                    <a:pt x="4" y="3"/>
                  </a:cubicBezTo>
                  <a:cubicBezTo>
                    <a:pt x="4" y="3"/>
                    <a:pt x="0" y="3"/>
                    <a:pt x="0" y="4"/>
                  </a:cubicBezTo>
                  <a:cubicBezTo>
                    <a:pt x="0" y="5"/>
                    <a:pt x="4" y="5"/>
                    <a:pt x="5" y="5"/>
                  </a:cubicBezTo>
                  <a:cubicBezTo>
                    <a:pt x="5" y="6"/>
                    <a:pt x="7" y="6"/>
                    <a:pt x="7" y="6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12" y="11"/>
                    <a:pt x="21" y="5"/>
                    <a:pt x="24" y="13"/>
                  </a:cubicBezTo>
                  <a:cubicBezTo>
                    <a:pt x="24" y="14"/>
                    <a:pt x="26" y="15"/>
                    <a:pt x="25" y="16"/>
                  </a:cubicBezTo>
                  <a:cubicBezTo>
                    <a:pt x="24" y="18"/>
                    <a:pt x="23" y="19"/>
                    <a:pt x="24" y="21"/>
                  </a:cubicBezTo>
                  <a:cubicBezTo>
                    <a:pt x="24" y="21"/>
                    <a:pt x="26" y="25"/>
                    <a:pt x="27" y="25"/>
                  </a:cubicBezTo>
                  <a:cubicBezTo>
                    <a:pt x="28" y="26"/>
                    <a:pt x="30" y="23"/>
                    <a:pt x="30" y="24"/>
                  </a:cubicBezTo>
                  <a:cubicBezTo>
                    <a:pt x="31" y="24"/>
                    <a:pt x="32" y="26"/>
                    <a:pt x="33" y="26"/>
                  </a:cubicBezTo>
                  <a:cubicBezTo>
                    <a:pt x="35" y="27"/>
                    <a:pt x="37" y="26"/>
                    <a:pt x="38" y="26"/>
                  </a:cubicBezTo>
                  <a:cubicBezTo>
                    <a:pt x="39" y="25"/>
                    <a:pt x="41" y="23"/>
                    <a:pt x="42" y="23"/>
                  </a:cubicBezTo>
                  <a:cubicBezTo>
                    <a:pt x="42" y="23"/>
                    <a:pt x="44" y="26"/>
                    <a:pt x="45" y="26"/>
                  </a:cubicBezTo>
                  <a:cubicBezTo>
                    <a:pt x="47" y="27"/>
                    <a:pt x="50" y="27"/>
                    <a:pt x="52" y="27"/>
                  </a:cubicBezTo>
                  <a:cubicBezTo>
                    <a:pt x="56" y="27"/>
                    <a:pt x="59" y="27"/>
                    <a:pt x="62" y="27"/>
                  </a:cubicBezTo>
                  <a:cubicBezTo>
                    <a:pt x="63" y="27"/>
                    <a:pt x="64" y="27"/>
                    <a:pt x="65" y="27"/>
                  </a:cubicBezTo>
                  <a:cubicBezTo>
                    <a:pt x="67" y="26"/>
                    <a:pt x="66" y="24"/>
                    <a:pt x="67" y="24"/>
                  </a:cubicBezTo>
                  <a:cubicBezTo>
                    <a:pt x="68" y="23"/>
                    <a:pt x="69" y="24"/>
                    <a:pt x="70" y="25"/>
                  </a:cubicBezTo>
                  <a:cubicBezTo>
                    <a:pt x="71" y="26"/>
                    <a:pt x="74" y="27"/>
                    <a:pt x="76" y="27"/>
                  </a:cubicBezTo>
                  <a:cubicBezTo>
                    <a:pt x="78" y="27"/>
                    <a:pt x="80" y="27"/>
                    <a:pt x="82" y="26"/>
                  </a:cubicBezTo>
                  <a:cubicBezTo>
                    <a:pt x="84" y="26"/>
                    <a:pt x="83" y="24"/>
                    <a:pt x="85" y="24"/>
                  </a:cubicBezTo>
                  <a:cubicBezTo>
                    <a:pt x="86" y="24"/>
                    <a:pt x="87" y="21"/>
                    <a:pt x="85" y="22"/>
                  </a:cubicBezTo>
                  <a:cubicBezTo>
                    <a:pt x="85" y="22"/>
                    <a:pt x="83" y="22"/>
                    <a:pt x="82" y="22"/>
                  </a:cubicBezTo>
                  <a:cubicBezTo>
                    <a:pt x="82" y="22"/>
                    <a:pt x="89" y="18"/>
                    <a:pt x="85" y="17"/>
                  </a:cubicBezTo>
                  <a:cubicBezTo>
                    <a:pt x="84" y="17"/>
                    <a:pt x="82" y="16"/>
                    <a:pt x="80" y="16"/>
                  </a:cubicBezTo>
                  <a:cubicBezTo>
                    <a:pt x="78" y="16"/>
                    <a:pt x="80" y="14"/>
                    <a:pt x="78" y="14"/>
                  </a:cubicBezTo>
                  <a:cubicBezTo>
                    <a:pt x="75" y="14"/>
                    <a:pt x="73" y="14"/>
                    <a:pt x="70" y="14"/>
                  </a:cubicBezTo>
                  <a:cubicBezTo>
                    <a:pt x="68" y="14"/>
                    <a:pt x="67" y="13"/>
                    <a:pt x="65" y="14"/>
                  </a:cubicBezTo>
                  <a:cubicBezTo>
                    <a:pt x="64" y="14"/>
                    <a:pt x="55" y="16"/>
                    <a:pt x="55" y="17"/>
                  </a:cubicBezTo>
                  <a:cubicBezTo>
                    <a:pt x="55" y="17"/>
                    <a:pt x="56" y="17"/>
                    <a:pt x="56" y="18"/>
                  </a:cubicBezTo>
                  <a:cubicBezTo>
                    <a:pt x="56" y="18"/>
                    <a:pt x="53" y="18"/>
                    <a:pt x="52" y="18"/>
                  </a:cubicBezTo>
                  <a:cubicBezTo>
                    <a:pt x="51" y="18"/>
                    <a:pt x="50" y="17"/>
                    <a:pt x="49" y="16"/>
                  </a:cubicBezTo>
                  <a:cubicBezTo>
                    <a:pt x="48" y="16"/>
                    <a:pt x="47" y="17"/>
                    <a:pt x="46" y="17"/>
                  </a:cubicBezTo>
                  <a:cubicBezTo>
                    <a:pt x="45" y="17"/>
                    <a:pt x="43" y="16"/>
                    <a:pt x="42" y="16"/>
                  </a:cubicBezTo>
                  <a:cubicBezTo>
                    <a:pt x="41" y="16"/>
                    <a:pt x="42" y="18"/>
                    <a:pt x="41" y="18"/>
                  </a:cubicBezTo>
                  <a:cubicBezTo>
                    <a:pt x="40" y="18"/>
                    <a:pt x="39" y="16"/>
                    <a:pt x="38" y="16"/>
                  </a:cubicBezTo>
                  <a:cubicBezTo>
                    <a:pt x="35" y="16"/>
                    <a:pt x="39" y="15"/>
                    <a:pt x="39" y="14"/>
                  </a:cubicBezTo>
                  <a:cubicBezTo>
                    <a:pt x="39" y="13"/>
                    <a:pt x="35" y="12"/>
                    <a:pt x="34" y="12"/>
                  </a:cubicBezTo>
                  <a:cubicBezTo>
                    <a:pt x="34" y="12"/>
                    <a:pt x="30" y="13"/>
                    <a:pt x="30" y="13"/>
                  </a:cubicBezTo>
                  <a:cubicBezTo>
                    <a:pt x="30" y="12"/>
                    <a:pt x="32" y="12"/>
                    <a:pt x="32" y="12"/>
                  </a:cubicBezTo>
                  <a:cubicBezTo>
                    <a:pt x="32" y="11"/>
                    <a:pt x="27" y="10"/>
                    <a:pt x="28" y="9"/>
                  </a:cubicBezTo>
                  <a:cubicBezTo>
                    <a:pt x="28" y="9"/>
                    <a:pt x="38" y="10"/>
                    <a:pt x="38" y="10"/>
                  </a:cubicBezTo>
                  <a:cubicBezTo>
                    <a:pt x="38" y="9"/>
                    <a:pt x="34" y="8"/>
                    <a:pt x="33" y="7"/>
                  </a:cubicBezTo>
                  <a:cubicBezTo>
                    <a:pt x="32" y="7"/>
                    <a:pt x="30" y="7"/>
                    <a:pt x="28" y="7"/>
                  </a:cubicBezTo>
                  <a:cubicBezTo>
                    <a:pt x="29" y="7"/>
                    <a:pt x="31" y="7"/>
                    <a:pt x="32" y="6"/>
                  </a:cubicBezTo>
                  <a:cubicBezTo>
                    <a:pt x="32" y="5"/>
                    <a:pt x="27" y="5"/>
                    <a:pt x="27" y="5"/>
                  </a:cubicBezTo>
                  <a:cubicBezTo>
                    <a:pt x="23" y="5"/>
                    <a:pt x="21" y="6"/>
                    <a:pt x="17" y="7"/>
                  </a:cubicBezTo>
                  <a:cubicBezTo>
                    <a:pt x="17" y="7"/>
                    <a:pt x="18" y="7"/>
                    <a:pt x="17" y="7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62" name="Freeform 601">
              <a:extLst>
                <a:ext uri="{FF2B5EF4-FFF2-40B4-BE49-F238E27FC236}">
                  <a16:creationId xmlns:a16="http://schemas.microsoft.com/office/drawing/2014/main" id="{7B224618-2B20-A617-E971-CDA9F8322F5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0067" y="1315637"/>
              <a:ext cx="309368" cy="206268"/>
            </a:xfrm>
            <a:custGeom>
              <a:avLst/>
              <a:gdLst>
                <a:gd name="T0" fmla="*/ 55 w 59"/>
                <a:gd name="T1" fmla="*/ 21 h 37"/>
                <a:gd name="T2" fmla="*/ 46 w 59"/>
                <a:gd name="T3" fmla="*/ 20 h 37"/>
                <a:gd name="T4" fmla="*/ 46 w 59"/>
                <a:gd name="T5" fmla="*/ 18 h 37"/>
                <a:gd name="T6" fmla="*/ 44 w 59"/>
                <a:gd name="T7" fmla="*/ 15 h 37"/>
                <a:gd name="T8" fmla="*/ 44 w 59"/>
                <a:gd name="T9" fmla="*/ 11 h 37"/>
                <a:gd name="T10" fmla="*/ 43 w 59"/>
                <a:gd name="T11" fmla="*/ 15 h 37"/>
                <a:gd name="T12" fmla="*/ 35 w 59"/>
                <a:gd name="T13" fmla="*/ 10 h 37"/>
                <a:gd name="T14" fmla="*/ 24 w 59"/>
                <a:gd name="T15" fmla="*/ 2 h 37"/>
                <a:gd name="T16" fmla="*/ 12 w 59"/>
                <a:gd name="T17" fmla="*/ 1 h 37"/>
                <a:gd name="T18" fmla="*/ 12 w 59"/>
                <a:gd name="T19" fmla="*/ 3 h 37"/>
                <a:gd name="T20" fmla="*/ 6 w 59"/>
                <a:gd name="T21" fmla="*/ 5 h 37"/>
                <a:gd name="T22" fmla="*/ 11 w 59"/>
                <a:gd name="T23" fmla="*/ 9 h 37"/>
                <a:gd name="T24" fmla="*/ 6 w 59"/>
                <a:gd name="T25" fmla="*/ 9 h 37"/>
                <a:gd name="T26" fmla="*/ 5 w 59"/>
                <a:gd name="T27" fmla="*/ 11 h 37"/>
                <a:gd name="T28" fmla="*/ 6 w 59"/>
                <a:gd name="T29" fmla="*/ 14 h 37"/>
                <a:gd name="T30" fmla="*/ 10 w 59"/>
                <a:gd name="T31" fmla="*/ 14 h 37"/>
                <a:gd name="T32" fmla="*/ 0 w 59"/>
                <a:gd name="T33" fmla="*/ 15 h 37"/>
                <a:gd name="T34" fmla="*/ 7 w 59"/>
                <a:gd name="T35" fmla="*/ 20 h 37"/>
                <a:gd name="T36" fmla="*/ 8 w 59"/>
                <a:gd name="T37" fmla="*/ 23 h 37"/>
                <a:gd name="T38" fmla="*/ 14 w 59"/>
                <a:gd name="T39" fmla="*/ 23 h 37"/>
                <a:gd name="T40" fmla="*/ 26 w 59"/>
                <a:gd name="T41" fmla="*/ 23 h 37"/>
                <a:gd name="T42" fmla="*/ 28 w 59"/>
                <a:gd name="T43" fmla="*/ 24 h 37"/>
                <a:gd name="T44" fmla="*/ 16 w 59"/>
                <a:gd name="T45" fmla="*/ 25 h 37"/>
                <a:gd name="T46" fmla="*/ 16 w 59"/>
                <a:gd name="T47" fmla="*/ 30 h 37"/>
                <a:gd name="T48" fmla="*/ 19 w 59"/>
                <a:gd name="T49" fmla="*/ 33 h 37"/>
                <a:gd name="T50" fmla="*/ 32 w 59"/>
                <a:gd name="T51" fmla="*/ 35 h 37"/>
                <a:gd name="T52" fmla="*/ 34 w 59"/>
                <a:gd name="T53" fmla="*/ 36 h 37"/>
                <a:gd name="T54" fmla="*/ 40 w 59"/>
                <a:gd name="T55" fmla="*/ 35 h 37"/>
                <a:gd name="T56" fmla="*/ 41 w 59"/>
                <a:gd name="T57" fmla="*/ 35 h 37"/>
                <a:gd name="T58" fmla="*/ 41 w 59"/>
                <a:gd name="T59" fmla="*/ 29 h 37"/>
                <a:gd name="T60" fmla="*/ 46 w 59"/>
                <a:gd name="T61" fmla="*/ 30 h 37"/>
                <a:gd name="T62" fmla="*/ 51 w 59"/>
                <a:gd name="T63" fmla="*/ 28 h 37"/>
                <a:gd name="T64" fmla="*/ 54 w 59"/>
                <a:gd name="T65" fmla="*/ 26 h 37"/>
                <a:gd name="T66" fmla="*/ 58 w 59"/>
                <a:gd name="T67" fmla="*/ 2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9" h="37">
                  <a:moveTo>
                    <a:pt x="58" y="24"/>
                  </a:moveTo>
                  <a:cubicBezTo>
                    <a:pt x="58" y="22"/>
                    <a:pt x="56" y="22"/>
                    <a:pt x="55" y="21"/>
                  </a:cubicBezTo>
                  <a:cubicBezTo>
                    <a:pt x="54" y="20"/>
                    <a:pt x="53" y="22"/>
                    <a:pt x="52" y="21"/>
                  </a:cubicBezTo>
                  <a:cubicBezTo>
                    <a:pt x="50" y="19"/>
                    <a:pt x="48" y="21"/>
                    <a:pt x="46" y="20"/>
                  </a:cubicBezTo>
                  <a:cubicBezTo>
                    <a:pt x="46" y="20"/>
                    <a:pt x="48" y="19"/>
                    <a:pt x="48" y="18"/>
                  </a:cubicBezTo>
                  <a:cubicBezTo>
                    <a:pt x="48" y="18"/>
                    <a:pt x="46" y="18"/>
                    <a:pt x="46" y="18"/>
                  </a:cubicBezTo>
                  <a:cubicBezTo>
                    <a:pt x="46" y="17"/>
                    <a:pt x="47" y="17"/>
                    <a:pt x="47" y="16"/>
                  </a:cubicBezTo>
                  <a:cubicBezTo>
                    <a:pt x="47" y="15"/>
                    <a:pt x="44" y="16"/>
                    <a:pt x="44" y="15"/>
                  </a:cubicBezTo>
                  <a:cubicBezTo>
                    <a:pt x="43" y="15"/>
                    <a:pt x="45" y="14"/>
                    <a:pt x="45" y="14"/>
                  </a:cubicBezTo>
                  <a:cubicBezTo>
                    <a:pt x="46" y="13"/>
                    <a:pt x="44" y="12"/>
                    <a:pt x="44" y="11"/>
                  </a:cubicBezTo>
                  <a:cubicBezTo>
                    <a:pt x="43" y="10"/>
                    <a:pt x="38" y="11"/>
                    <a:pt x="38" y="11"/>
                  </a:cubicBezTo>
                  <a:cubicBezTo>
                    <a:pt x="38" y="12"/>
                    <a:pt x="43" y="14"/>
                    <a:pt x="43" y="15"/>
                  </a:cubicBezTo>
                  <a:cubicBezTo>
                    <a:pt x="42" y="16"/>
                    <a:pt x="39" y="14"/>
                    <a:pt x="38" y="13"/>
                  </a:cubicBezTo>
                  <a:cubicBezTo>
                    <a:pt x="36" y="12"/>
                    <a:pt x="39" y="10"/>
                    <a:pt x="35" y="10"/>
                  </a:cubicBezTo>
                  <a:cubicBezTo>
                    <a:pt x="33" y="10"/>
                    <a:pt x="30" y="10"/>
                    <a:pt x="29" y="8"/>
                  </a:cubicBezTo>
                  <a:cubicBezTo>
                    <a:pt x="28" y="6"/>
                    <a:pt x="26" y="3"/>
                    <a:pt x="24" y="2"/>
                  </a:cubicBezTo>
                  <a:cubicBezTo>
                    <a:pt x="21" y="1"/>
                    <a:pt x="18" y="0"/>
                    <a:pt x="16" y="0"/>
                  </a:cubicBezTo>
                  <a:cubicBezTo>
                    <a:pt x="15" y="0"/>
                    <a:pt x="10" y="0"/>
                    <a:pt x="12" y="1"/>
                  </a:cubicBezTo>
                  <a:cubicBezTo>
                    <a:pt x="13" y="1"/>
                    <a:pt x="17" y="2"/>
                    <a:pt x="17" y="2"/>
                  </a:cubicBezTo>
                  <a:cubicBezTo>
                    <a:pt x="17" y="4"/>
                    <a:pt x="13" y="3"/>
                    <a:pt x="12" y="3"/>
                  </a:cubicBezTo>
                  <a:cubicBezTo>
                    <a:pt x="12" y="3"/>
                    <a:pt x="13" y="4"/>
                    <a:pt x="13" y="4"/>
                  </a:cubicBezTo>
                  <a:cubicBezTo>
                    <a:pt x="13" y="5"/>
                    <a:pt x="7" y="2"/>
                    <a:pt x="6" y="5"/>
                  </a:cubicBezTo>
                  <a:cubicBezTo>
                    <a:pt x="6" y="5"/>
                    <a:pt x="11" y="7"/>
                    <a:pt x="12" y="7"/>
                  </a:cubicBezTo>
                  <a:cubicBezTo>
                    <a:pt x="10" y="6"/>
                    <a:pt x="11" y="9"/>
                    <a:pt x="11" y="9"/>
                  </a:cubicBezTo>
                  <a:cubicBezTo>
                    <a:pt x="11" y="10"/>
                    <a:pt x="4" y="7"/>
                    <a:pt x="3" y="8"/>
                  </a:cubicBezTo>
                  <a:cubicBezTo>
                    <a:pt x="3" y="7"/>
                    <a:pt x="6" y="8"/>
                    <a:pt x="6" y="9"/>
                  </a:cubicBezTo>
                  <a:cubicBezTo>
                    <a:pt x="6" y="8"/>
                    <a:pt x="4" y="9"/>
                    <a:pt x="4" y="9"/>
                  </a:cubicBezTo>
                  <a:cubicBezTo>
                    <a:pt x="3" y="10"/>
                    <a:pt x="5" y="11"/>
                    <a:pt x="5" y="11"/>
                  </a:cubicBezTo>
                  <a:cubicBezTo>
                    <a:pt x="6" y="12"/>
                    <a:pt x="2" y="12"/>
                    <a:pt x="1" y="12"/>
                  </a:cubicBezTo>
                  <a:cubicBezTo>
                    <a:pt x="2" y="12"/>
                    <a:pt x="4" y="13"/>
                    <a:pt x="6" y="14"/>
                  </a:cubicBezTo>
                  <a:cubicBezTo>
                    <a:pt x="8" y="14"/>
                    <a:pt x="10" y="13"/>
                    <a:pt x="12" y="13"/>
                  </a:cubicBezTo>
                  <a:cubicBezTo>
                    <a:pt x="12" y="13"/>
                    <a:pt x="10" y="14"/>
                    <a:pt x="10" y="14"/>
                  </a:cubicBezTo>
                  <a:cubicBezTo>
                    <a:pt x="10" y="15"/>
                    <a:pt x="11" y="15"/>
                    <a:pt x="11" y="15"/>
                  </a:cubicBezTo>
                  <a:cubicBezTo>
                    <a:pt x="11" y="16"/>
                    <a:pt x="0" y="15"/>
                    <a:pt x="0" y="15"/>
                  </a:cubicBezTo>
                  <a:cubicBezTo>
                    <a:pt x="0" y="15"/>
                    <a:pt x="2" y="18"/>
                    <a:pt x="2" y="18"/>
                  </a:cubicBezTo>
                  <a:cubicBezTo>
                    <a:pt x="3" y="19"/>
                    <a:pt x="7" y="21"/>
                    <a:pt x="7" y="20"/>
                  </a:cubicBezTo>
                  <a:cubicBezTo>
                    <a:pt x="7" y="21"/>
                    <a:pt x="5" y="20"/>
                    <a:pt x="6" y="22"/>
                  </a:cubicBezTo>
                  <a:cubicBezTo>
                    <a:pt x="6" y="22"/>
                    <a:pt x="7" y="23"/>
                    <a:pt x="8" y="23"/>
                  </a:cubicBezTo>
                  <a:cubicBezTo>
                    <a:pt x="9" y="24"/>
                    <a:pt x="10" y="23"/>
                    <a:pt x="11" y="23"/>
                  </a:cubicBezTo>
                  <a:cubicBezTo>
                    <a:pt x="12" y="22"/>
                    <a:pt x="13" y="24"/>
                    <a:pt x="14" y="23"/>
                  </a:cubicBezTo>
                  <a:cubicBezTo>
                    <a:pt x="17" y="22"/>
                    <a:pt x="19" y="21"/>
                    <a:pt x="21" y="22"/>
                  </a:cubicBezTo>
                  <a:cubicBezTo>
                    <a:pt x="23" y="23"/>
                    <a:pt x="24" y="23"/>
                    <a:pt x="26" y="23"/>
                  </a:cubicBezTo>
                  <a:cubicBezTo>
                    <a:pt x="25" y="23"/>
                    <a:pt x="23" y="23"/>
                    <a:pt x="21" y="23"/>
                  </a:cubicBezTo>
                  <a:cubicBezTo>
                    <a:pt x="23" y="23"/>
                    <a:pt x="27" y="23"/>
                    <a:pt x="28" y="24"/>
                  </a:cubicBezTo>
                  <a:cubicBezTo>
                    <a:pt x="28" y="24"/>
                    <a:pt x="23" y="25"/>
                    <a:pt x="23" y="25"/>
                  </a:cubicBezTo>
                  <a:cubicBezTo>
                    <a:pt x="21" y="25"/>
                    <a:pt x="18" y="25"/>
                    <a:pt x="16" y="25"/>
                  </a:cubicBezTo>
                  <a:cubicBezTo>
                    <a:pt x="16" y="26"/>
                    <a:pt x="12" y="27"/>
                    <a:pt x="13" y="27"/>
                  </a:cubicBezTo>
                  <a:cubicBezTo>
                    <a:pt x="14" y="28"/>
                    <a:pt x="15" y="28"/>
                    <a:pt x="16" y="30"/>
                  </a:cubicBezTo>
                  <a:cubicBezTo>
                    <a:pt x="16" y="32"/>
                    <a:pt x="22" y="30"/>
                    <a:pt x="23" y="32"/>
                  </a:cubicBezTo>
                  <a:cubicBezTo>
                    <a:pt x="23" y="32"/>
                    <a:pt x="19" y="32"/>
                    <a:pt x="19" y="33"/>
                  </a:cubicBezTo>
                  <a:cubicBezTo>
                    <a:pt x="20" y="34"/>
                    <a:pt x="25" y="36"/>
                    <a:pt x="26" y="36"/>
                  </a:cubicBezTo>
                  <a:cubicBezTo>
                    <a:pt x="26" y="36"/>
                    <a:pt x="32" y="36"/>
                    <a:pt x="32" y="35"/>
                  </a:cubicBezTo>
                  <a:cubicBezTo>
                    <a:pt x="32" y="35"/>
                    <a:pt x="31" y="35"/>
                    <a:pt x="31" y="35"/>
                  </a:cubicBezTo>
                  <a:cubicBezTo>
                    <a:pt x="31" y="33"/>
                    <a:pt x="35" y="36"/>
                    <a:pt x="34" y="36"/>
                  </a:cubicBezTo>
                  <a:cubicBezTo>
                    <a:pt x="35" y="36"/>
                    <a:pt x="33" y="33"/>
                    <a:pt x="33" y="32"/>
                  </a:cubicBezTo>
                  <a:cubicBezTo>
                    <a:pt x="35" y="31"/>
                    <a:pt x="37" y="37"/>
                    <a:pt x="40" y="35"/>
                  </a:cubicBezTo>
                  <a:cubicBezTo>
                    <a:pt x="41" y="34"/>
                    <a:pt x="39" y="32"/>
                    <a:pt x="40" y="32"/>
                  </a:cubicBezTo>
                  <a:cubicBezTo>
                    <a:pt x="41" y="32"/>
                    <a:pt x="41" y="34"/>
                    <a:pt x="41" y="35"/>
                  </a:cubicBezTo>
                  <a:cubicBezTo>
                    <a:pt x="42" y="35"/>
                    <a:pt x="43" y="31"/>
                    <a:pt x="42" y="31"/>
                  </a:cubicBezTo>
                  <a:cubicBezTo>
                    <a:pt x="42" y="30"/>
                    <a:pt x="42" y="29"/>
                    <a:pt x="41" y="29"/>
                  </a:cubicBezTo>
                  <a:cubicBezTo>
                    <a:pt x="41" y="28"/>
                    <a:pt x="42" y="26"/>
                    <a:pt x="43" y="27"/>
                  </a:cubicBezTo>
                  <a:cubicBezTo>
                    <a:pt x="44" y="28"/>
                    <a:pt x="43" y="32"/>
                    <a:pt x="46" y="30"/>
                  </a:cubicBezTo>
                  <a:cubicBezTo>
                    <a:pt x="47" y="29"/>
                    <a:pt x="50" y="25"/>
                    <a:pt x="52" y="27"/>
                  </a:cubicBezTo>
                  <a:cubicBezTo>
                    <a:pt x="53" y="27"/>
                    <a:pt x="51" y="28"/>
                    <a:pt x="51" y="28"/>
                  </a:cubicBezTo>
                  <a:cubicBezTo>
                    <a:pt x="51" y="28"/>
                    <a:pt x="56" y="27"/>
                    <a:pt x="56" y="27"/>
                  </a:cubicBezTo>
                  <a:cubicBezTo>
                    <a:pt x="56" y="27"/>
                    <a:pt x="54" y="27"/>
                    <a:pt x="54" y="26"/>
                  </a:cubicBezTo>
                  <a:cubicBezTo>
                    <a:pt x="54" y="25"/>
                    <a:pt x="59" y="25"/>
                    <a:pt x="58" y="24"/>
                  </a:cubicBezTo>
                  <a:cubicBezTo>
                    <a:pt x="58" y="22"/>
                    <a:pt x="58" y="25"/>
                    <a:pt x="58" y="24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63" name="Freeform 602">
              <a:extLst>
                <a:ext uri="{FF2B5EF4-FFF2-40B4-BE49-F238E27FC236}">
                  <a16:creationId xmlns:a16="http://schemas.microsoft.com/office/drawing/2014/main" id="{E6AAA50B-C76B-091E-25EF-FB24BFB548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5243" y="1188850"/>
              <a:ext cx="817232" cy="450382"/>
            </a:xfrm>
            <a:custGeom>
              <a:avLst/>
              <a:gdLst>
                <a:gd name="T0" fmla="*/ 15 w 156"/>
                <a:gd name="T1" fmla="*/ 77 h 81"/>
                <a:gd name="T2" fmla="*/ 27 w 156"/>
                <a:gd name="T3" fmla="*/ 76 h 81"/>
                <a:gd name="T4" fmla="*/ 37 w 156"/>
                <a:gd name="T5" fmla="*/ 78 h 81"/>
                <a:gd name="T6" fmla="*/ 48 w 156"/>
                <a:gd name="T7" fmla="*/ 77 h 81"/>
                <a:gd name="T8" fmla="*/ 65 w 156"/>
                <a:gd name="T9" fmla="*/ 76 h 81"/>
                <a:gd name="T10" fmla="*/ 59 w 156"/>
                <a:gd name="T11" fmla="*/ 70 h 81"/>
                <a:gd name="T12" fmla="*/ 50 w 156"/>
                <a:gd name="T13" fmla="*/ 65 h 81"/>
                <a:gd name="T14" fmla="*/ 73 w 156"/>
                <a:gd name="T15" fmla="*/ 61 h 81"/>
                <a:gd name="T16" fmla="*/ 76 w 156"/>
                <a:gd name="T17" fmla="*/ 55 h 81"/>
                <a:gd name="T18" fmla="*/ 71 w 156"/>
                <a:gd name="T19" fmla="*/ 50 h 81"/>
                <a:gd name="T20" fmla="*/ 72 w 156"/>
                <a:gd name="T21" fmla="*/ 48 h 81"/>
                <a:gd name="T22" fmla="*/ 78 w 156"/>
                <a:gd name="T23" fmla="*/ 45 h 81"/>
                <a:gd name="T24" fmla="*/ 90 w 156"/>
                <a:gd name="T25" fmla="*/ 44 h 81"/>
                <a:gd name="T26" fmla="*/ 105 w 156"/>
                <a:gd name="T27" fmla="*/ 37 h 81"/>
                <a:gd name="T28" fmla="*/ 105 w 156"/>
                <a:gd name="T29" fmla="*/ 32 h 81"/>
                <a:gd name="T30" fmla="*/ 136 w 156"/>
                <a:gd name="T31" fmla="*/ 21 h 81"/>
                <a:gd name="T32" fmla="*/ 115 w 156"/>
                <a:gd name="T33" fmla="*/ 23 h 81"/>
                <a:gd name="T34" fmla="*/ 134 w 156"/>
                <a:gd name="T35" fmla="*/ 18 h 81"/>
                <a:gd name="T36" fmla="*/ 146 w 156"/>
                <a:gd name="T37" fmla="*/ 10 h 81"/>
                <a:gd name="T38" fmla="*/ 133 w 156"/>
                <a:gd name="T39" fmla="*/ 5 h 81"/>
                <a:gd name="T40" fmla="*/ 121 w 156"/>
                <a:gd name="T41" fmla="*/ 5 h 81"/>
                <a:gd name="T42" fmla="*/ 100 w 156"/>
                <a:gd name="T43" fmla="*/ 2 h 81"/>
                <a:gd name="T44" fmla="*/ 91 w 156"/>
                <a:gd name="T45" fmla="*/ 5 h 81"/>
                <a:gd name="T46" fmla="*/ 80 w 156"/>
                <a:gd name="T47" fmla="*/ 8 h 81"/>
                <a:gd name="T48" fmla="*/ 58 w 156"/>
                <a:gd name="T49" fmla="*/ 4 h 81"/>
                <a:gd name="T50" fmla="*/ 52 w 156"/>
                <a:gd name="T51" fmla="*/ 5 h 81"/>
                <a:gd name="T52" fmla="*/ 46 w 156"/>
                <a:gd name="T53" fmla="*/ 10 h 81"/>
                <a:gd name="T54" fmla="*/ 45 w 156"/>
                <a:gd name="T55" fmla="*/ 12 h 81"/>
                <a:gd name="T56" fmla="*/ 31 w 156"/>
                <a:gd name="T57" fmla="*/ 10 h 81"/>
                <a:gd name="T58" fmla="*/ 34 w 156"/>
                <a:gd name="T59" fmla="*/ 16 h 81"/>
                <a:gd name="T60" fmla="*/ 23 w 156"/>
                <a:gd name="T61" fmla="*/ 16 h 81"/>
                <a:gd name="T62" fmla="*/ 5 w 156"/>
                <a:gd name="T63" fmla="*/ 17 h 81"/>
                <a:gd name="T64" fmla="*/ 11 w 156"/>
                <a:gd name="T65" fmla="*/ 21 h 81"/>
                <a:gd name="T66" fmla="*/ 13 w 156"/>
                <a:gd name="T67" fmla="*/ 26 h 81"/>
                <a:gd name="T68" fmla="*/ 23 w 156"/>
                <a:gd name="T69" fmla="*/ 27 h 81"/>
                <a:gd name="T70" fmla="*/ 20 w 156"/>
                <a:gd name="T71" fmla="*/ 31 h 81"/>
                <a:gd name="T72" fmla="*/ 26 w 156"/>
                <a:gd name="T73" fmla="*/ 30 h 81"/>
                <a:gd name="T74" fmla="*/ 42 w 156"/>
                <a:gd name="T75" fmla="*/ 30 h 81"/>
                <a:gd name="T76" fmla="*/ 52 w 156"/>
                <a:gd name="T77" fmla="*/ 31 h 81"/>
                <a:gd name="T78" fmla="*/ 73 w 156"/>
                <a:gd name="T79" fmla="*/ 21 h 81"/>
                <a:gd name="T80" fmla="*/ 60 w 156"/>
                <a:gd name="T81" fmla="*/ 31 h 81"/>
                <a:gd name="T82" fmla="*/ 44 w 156"/>
                <a:gd name="T83" fmla="*/ 35 h 81"/>
                <a:gd name="T84" fmla="*/ 58 w 156"/>
                <a:gd name="T85" fmla="*/ 42 h 81"/>
                <a:gd name="T86" fmla="*/ 32 w 156"/>
                <a:gd name="T87" fmla="*/ 39 h 81"/>
                <a:gd name="T88" fmla="*/ 42 w 156"/>
                <a:gd name="T89" fmla="*/ 50 h 81"/>
                <a:gd name="T90" fmla="*/ 44 w 156"/>
                <a:gd name="T91" fmla="*/ 52 h 81"/>
                <a:gd name="T92" fmla="*/ 30 w 156"/>
                <a:gd name="T93" fmla="*/ 52 h 81"/>
                <a:gd name="T94" fmla="*/ 27 w 156"/>
                <a:gd name="T95" fmla="*/ 59 h 81"/>
                <a:gd name="T96" fmla="*/ 36 w 156"/>
                <a:gd name="T97" fmla="*/ 57 h 81"/>
                <a:gd name="T98" fmla="*/ 34 w 156"/>
                <a:gd name="T99" fmla="*/ 60 h 81"/>
                <a:gd name="T100" fmla="*/ 37 w 156"/>
                <a:gd name="T101" fmla="*/ 65 h 81"/>
                <a:gd name="T102" fmla="*/ 38 w 156"/>
                <a:gd name="T103" fmla="*/ 68 h 81"/>
                <a:gd name="T104" fmla="*/ 19 w 156"/>
                <a:gd name="T105" fmla="*/ 65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56" h="81">
                  <a:moveTo>
                    <a:pt x="26" y="70"/>
                  </a:moveTo>
                  <a:cubicBezTo>
                    <a:pt x="22" y="70"/>
                    <a:pt x="17" y="70"/>
                    <a:pt x="13" y="71"/>
                  </a:cubicBezTo>
                  <a:cubicBezTo>
                    <a:pt x="11" y="72"/>
                    <a:pt x="11" y="75"/>
                    <a:pt x="12" y="76"/>
                  </a:cubicBezTo>
                  <a:cubicBezTo>
                    <a:pt x="13" y="77"/>
                    <a:pt x="15" y="78"/>
                    <a:pt x="15" y="77"/>
                  </a:cubicBezTo>
                  <a:cubicBezTo>
                    <a:pt x="17" y="77"/>
                    <a:pt x="16" y="76"/>
                    <a:pt x="17" y="75"/>
                  </a:cubicBezTo>
                  <a:cubicBezTo>
                    <a:pt x="17" y="75"/>
                    <a:pt x="17" y="78"/>
                    <a:pt x="17" y="78"/>
                  </a:cubicBezTo>
                  <a:cubicBezTo>
                    <a:pt x="19" y="78"/>
                    <a:pt x="22" y="78"/>
                    <a:pt x="24" y="78"/>
                  </a:cubicBezTo>
                  <a:cubicBezTo>
                    <a:pt x="26" y="78"/>
                    <a:pt x="26" y="76"/>
                    <a:pt x="27" y="76"/>
                  </a:cubicBezTo>
                  <a:cubicBezTo>
                    <a:pt x="29" y="76"/>
                    <a:pt x="27" y="78"/>
                    <a:pt x="27" y="78"/>
                  </a:cubicBezTo>
                  <a:cubicBezTo>
                    <a:pt x="27" y="78"/>
                    <a:pt x="37" y="79"/>
                    <a:pt x="37" y="78"/>
                  </a:cubicBezTo>
                  <a:cubicBezTo>
                    <a:pt x="37" y="78"/>
                    <a:pt x="35" y="77"/>
                    <a:pt x="34" y="76"/>
                  </a:cubicBezTo>
                  <a:cubicBezTo>
                    <a:pt x="34" y="76"/>
                    <a:pt x="38" y="77"/>
                    <a:pt x="37" y="78"/>
                  </a:cubicBezTo>
                  <a:cubicBezTo>
                    <a:pt x="38" y="77"/>
                    <a:pt x="37" y="76"/>
                    <a:pt x="38" y="76"/>
                  </a:cubicBezTo>
                  <a:cubicBezTo>
                    <a:pt x="38" y="76"/>
                    <a:pt x="40" y="77"/>
                    <a:pt x="41" y="77"/>
                  </a:cubicBezTo>
                  <a:cubicBezTo>
                    <a:pt x="43" y="79"/>
                    <a:pt x="41" y="76"/>
                    <a:pt x="42" y="75"/>
                  </a:cubicBezTo>
                  <a:cubicBezTo>
                    <a:pt x="42" y="75"/>
                    <a:pt x="48" y="78"/>
                    <a:pt x="48" y="77"/>
                  </a:cubicBezTo>
                  <a:cubicBezTo>
                    <a:pt x="48" y="76"/>
                    <a:pt x="46" y="76"/>
                    <a:pt x="46" y="75"/>
                  </a:cubicBezTo>
                  <a:cubicBezTo>
                    <a:pt x="46" y="75"/>
                    <a:pt x="53" y="76"/>
                    <a:pt x="53" y="76"/>
                  </a:cubicBezTo>
                  <a:cubicBezTo>
                    <a:pt x="57" y="76"/>
                    <a:pt x="52" y="79"/>
                    <a:pt x="52" y="80"/>
                  </a:cubicBezTo>
                  <a:cubicBezTo>
                    <a:pt x="52" y="81"/>
                    <a:pt x="64" y="76"/>
                    <a:pt x="65" y="76"/>
                  </a:cubicBezTo>
                  <a:cubicBezTo>
                    <a:pt x="67" y="76"/>
                    <a:pt x="72" y="73"/>
                    <a:pt x="68" y="72"/>
                  </a:cubicBezTo>
                  <a:cubicBezTo>
                    <a:pt x="66" y="71"/>
                    <a:pt x="63" y="73"/>
                    <a:pt x="61" y="72"/>
                  </a:cubicBezTo>
                  <a:cubicBezTo>
                    <a:pt x="61" y="72"/>
                    <a:pt x="63" y="70"/>
                    <a:pt x="63" y="70"/>
                  </a:cubicBezTo>
                  <a:cubicBezTo>
                    <a:pt x="63" y="69"/>
                    <a:pt x="60" y="70"/>
                    <a:pt x="59" y="70"/>
                  </a:cubicBezTo>
                  <a:cubicBezTo>
                    <a:pt x="57" y="70"/>
                    <a:pt x="56" y="68"/>
                    <a:pt x="54" y="68"/>
                  </a:cubicBezTo>
                  <a:cubicBezTo>
                    <a:pt x="53" y="69"/>
                    <a:pt x="50" y="70"/>
                    <a:pt x="48" y="69"/>
                  </a:cubicBezTo>
                  <a:cubicBezTo>
                    <a:pt x="49" y="69"/>
                    <a:pt x="50" y="69"/>
                    <a:pt x="51" y="69"/>
                  </a:cubicBezTo>
                  <a:cubicBezTo>
                    <a:pt x="52" y="68"/>
                    <a:pt x="50" y="66"/>
                    <a:pt x="50" y="65"/>
                  </a:cubicBezTo>
                  <a:cubicBezTo>
                    <a:pt x="50" y="67"/>
                    <a:pt x="59" y="68"/>
                    <a:pt x="60" y="68"/>
                  </a:cubicBezTo>
                  <a:cubicBezTo>
                    <a:pt x="61" y="68"/>
                    <a:pt x="63" y="68"/>
                    <a:pt x="65" y="68"/>
                  </a:cubicBezTo>
                  <a:cubicBezTo>
                    <a:pt x="67" y="68"/>
                    <a:pt x="69" y="65"/>
                    <a:pt x="68" y="64"/>
                  </a:cubicBezTo>
                  <a:cubicBezTo>
                    <a:pt x="65" y="61"/>
                    <a:pt x="71" y="61"/>
                    <a:pt x="73" y="61"/>
                  </a:cubicBezTo>
                  <a:cubicBezTo>
                    <a:pt x="74" y="61"/>
                    <a:pt x="79" y="61"/>
                    <a:pt x="80" y="60"/>
                  </a:cubicBezTo>
                  <a:cubicBezTo>
                    <a:pt x="80" y="60"/>
                    <a:pt x="75" y="58"/>
                    <a:pt x="75" y="58"/>
                  </a:cubicBezTo>
                  <a:cubicBezTo>
                    <a:pt x="77" y="57"/>
                    <a:pt x="81" y="59"/>
                    <a:pt x="82" y="57"/>
                  </a:cubicBezTo>
                  <a:cubicBezTo>
                    <a:pt x="83" y="56"/>
                    <a:pt x="77" y="55"/>
                    <a:pt x="76" y="55"/>
                  </a:cubicBezTo>
                  <a:cubicBezTo>
                    <a:pt x="77" y="55"/>
                    <a:pt x="84" y="54"/>
                    <a:pt x="85" y="53"/>
                  </a:cubicBezTo>
                  <a:cubicBezTo>
                    <a:pt x="87" y="52"/>
                    <a:pt x="77" y="50"/>
                    <a:pt x="77" y="51"/>
                  </a:cubicBezTo>
                  <a:cubicBezTo>
                    <a:pt x="77" y="50"/>
                    <a:pt x="79" y="50"/>
                    <a:pt x="79" y="50"/>
                  </a:cubicBezTo>
                  <a:cubicBezTo>
                    <a:pt x="79" y="49"/>
                    <a:pt x="72" y="50"/>
                    <a:pt x="71" y="50"/>
                  </a:cubicBezTo>
                  <a:cubicBezTo>
                    <a:pt x="69" y="50"/>
                    <a:pt x="68" y="51"/>
                    <a:pt x="66" y="52"/>
                  </a:cubicBezTo>
                  <a:cubicBezTo>
                    <a:pt x="67" y="52"/>
                    <a:pt x="70" y="49"/>
                    <a:pt x="68" y="49"/>
                  </a:cubicBezTo>
                  <a:cubicBezTo>
                    <a:pt x="68" y="49"/>
                    <a:pt x="64" y="49"/>
                    <a:pt x="64" y="48"/>
                  </a:cubicBezTo>
                  <a:cubicBezTo>
                    <a:pt x="64" y="48"/>
                    <a:pt x="71" y="48"/>
                    <a:pt x="72" y="48"/>
                  </a:cubicBezTo>
                  <a:cubicBezTo>
                    <a:pt x="71" y="48"/>
                    <a:pt x="68" y="47"/>
                    <a:pt x="68" y="47"/>
                  </a:cubicBezTo>
                  <a:cubicBezTo>
                    <a:pt x="69" y="46"/>
                    <a:pt x="72" y="48"/>
                    <a:pt x="74" y="47"/>
                  </a:cubicBezTo>
                  <a:cubicBezTo>
                    <a:pt x="73" y="47"/>
                    <a:pt x="69" y="46"/>
                    <a:pt x="69" y="46"/>
                  </a:cubicBezTo>
                  <a:cubicBezTo>
                    <a:pt x="69" y="45"/>
                    <a:pt x="77" y="46"/>
                    <a:pt x="78" y="45"/>
                  </a:cubicBezTo>
                  <a:cubicBezTo>
                    <a:pt x="78" y="45"/>
                    <a:pt x="75" y="44"/>
                    <a:pt x="75" y="44"/>
                  </a:cubicBezTo>
                  <a:cubicBezTo>
                    <a:pt x="74" y="44"/>
                    <a:pt x="77" y="44"/>
                    <a:pt x="77" y="44"/>
                  </a:cubicBezTo>
                  <a:cubicBezTo>
                    <a:pt x="79" y="45"/>
                    <a:pt x="80" y="46"/>
                    <a:pt x="82" y="46"/>
                  </a:cubicBezTo>
                  <a:cubicBezTo>
                    <a:pt x="84" y="46"/>
                    <a:pt x="87" y="45"/>
                    <a:pt x="90" y="44"/>
                  </a:cubicBezTo>
                  <a:cubicBezTo>
                    <a:pt x="98" y="43"/>
                    <a:pt x="85" y="42"/>
                    <a:pt x="84" y="40"/>
                  </a:cubicBezTo>
                  <a:cubicBezTo>
                    <a:pt x="84" y="39"/>
                    <a:pt x="93" y="40"/>
                    <a:pt x="94" y="41"/>
                  </a:cubicBezTo>
                  <a:cubicBezTo>
                    <a:pt x="96" y="42"/>
                    <a:pt x="97" y="42"/>
                    <a:pt x="100" y="41"/>
                  </a:cubicBezTo>
                  <a:cubicBezTo>
                    <a:pt x="101" y="41"/>
                    <a:pt x="106" y="39"/>
                    <a:pt x="105" y="37"/>
                  </a:cubicBezTo>
                  <a:cubicBezTo>
                    <a:pt x="105" y="36"/>
                    <a:pt x="94" y="41"/>
                    <a:pt x="97" y="36"/>
                  </a:cubicBezTo>
                  <a:cubicBezTo>
                    <a:pt x="96" y="37"/>
                    <a:pt x="101" y="37"/>
                    <a:pt x="101" y="37"/>
                  </a:cubicBezTo>
                  <a:cubicBezTo>
                    <a:pt x="104" y="37"/>
                    <a:pt x="106" y="36"/>
                    <a:pt x="108" y="36"/>
                  </a:cubicBezTo>
                  <a:cubicBezTo>
                    <a:pt x="108" y="35"/>
                    <a:pt x="105" y="32"/>
                    <a:pt x="105" y="32"/>
                  </a:cubicBezTo>
                  <a:cubicBezTo>
                    <a:pt x="106" y="32"/>
                    <a:pt x="107" y="33"/>
                    <a:pt x="107" y="34"/>
                  </a:cubicBezTo>
                  <a:cubicBezTo>
                    <a:pt x="108" y="35"/>
                    <a:pt x="110" y="34"/>
                    <a:pt x="111" y="34"/>
                  </a:cubicBezTo>
                  <a:cubicBezTo>
                    <a:pt x="114" y="32"/>
                    <a:pt x="116" y="30"/>
                    <a:pt x="119" y="29"/>
                  </a:cubicBezTo>
                  <a:cubicBezTo>
                    <a:pt x="121" y="28"/>
                    <a:pt x="136" y="22"/>
                    <a:pt x="136" y="21"/>
                  </a:cubicBezTo>
                  <a:cubicBezTo>
                    <a:pt x="136" y="20"/>
                    <a:pt x="123" y="23"/>
                    <a:pt x="122" y="23"/>
                  </a:cubicBezTo>
                  <a:cubicBezTo>
                    <a:pt x="119" y="24"/>
                    <a:pt x="116" y="24"/>
                    <a:pt x="112" y="25"/>
                  </a:cubicBezTo>
                  <a:cubicBezTo>
                    <a:pt x="112" y="25"/>
                    <a:pt x="108" y="25"/>
                    <a:pt x="108" y="25"/>
                  </a:cubicBezTo>
                  <a:cubicBezTo>
                    <a:pt x="108" y="24"/>
                    <a:pt x="114" y="24"/>
                    <a:pt x="115" y="23"/>
                  </a:cubicBezTo>
                  <a:cubicBezTo>
                    <a:pt x="116" y="23"/>
                    <a:pt x="123" y="22"/>
                    <a:pt x="123" y="21"/>
                  </a:cubicBezTo>
                  <a:cubicBezTo>
                    <a:pt x="123" y="22"/>
                    <a:pt x="113" y="20"/>
                    <a:pt x="114" y="19"/>
                  </a:cubicBezTo>
                  <a:cubicBezTo>
                    <a:pt x="114" y="19"/>
                    <a:pt x="126" y="20"/>
                    <a:pt x="127" y="19"/>
                  </a:cubicBezTo>
                  <a:cubicBezTo>
                    <a:pt x="129" y="19"/>
                    <a:pt x="132" y="18"/>
                    <a:pt x="134" y="18"/>
                  </a:cubicBezTo>
                  <a:cubicBezTo>
                    <a:pt x="135" y="18"/>
                    <a:pt x="137" y="18"/>
                    <a:pt x="138" y="18"/>
                  </a:cubicBezTo>
                  <a:cubicBezTo>
                    <a:pt x="142" y="17"/>
                    <a:pt x="146" y="16"/>
                    <a:pt x="149" y="15"/>
                  </a:cubicBezTo>
                  <a:cubicBezTo>
                    <a:pt x="149" y="15"/>
                    <a:pt x="156" y="11"/>
                    <a:pt x="153" y="10"/>
                  </a:cubicBezTo>
                  <a:cubicBezTo>
                    <a:pt x="151" y="10"/>
                    <a:pt x="148" y="10"/>
                    <a:pt x="146" y="10"/>
                  </a:cubicBezTo>
                  <a:cubicBezTo>
                    <a:pt x="145" y="9"/>
                    <a:pt x="143" y="10"/>
                    <a:pt x="143" y="9"/>
                  </a:cubicBezTo>
                  <a:cubicBezTo>
                    <a:pt x="143" y="7"/>
                    <a:pt x="141" y="7"/>
                    <a:pt x="141" y="5"/>
                  </a:cubicBezTo>
                  <a:cubicBezTo>
                    <a:pt x="141" y="5"/>
                    <a:pt x="137" y="6"/>
                    <a:pt x="136" y="6"/>
                  </a:cubicBezTo>
                  <a:cubicBezTo>
                    <a:pt x="135" y="5"/>
                    <a:pt x="134" y="3"/>
                    <a:pt x="133" y="5"/>
                  </a:cubicBezTo>
                  <a:cubicBezTo>
                    <a:pt x="133" y="5"/>
                    <a:pt x="127" y="6"/>
                    <a:pt x="126" y="6"/>
                  </a:cubicBezTo>
                  <a:cubicBezTo>
                    <a:pt x="124" y="7"/>
                    <a:pt x="122" y="7"/>
                    <a:pt x="120" y="7"/>
                  </a:cubicBezTo>
                  <a:cubicBezTo>
                    <a:pt x="120" y="7"/>
                    <a:pt x="116" y="7"/>
                    <a:pt x="116" y="7"/>
                  </a:cubicBezTo>
                  <a:cubicBezTo>
                    <a:pt x="116" y="6"/>
                    <a:pt x="120" y="6"/>
                    <a:pt x="121" y="5"/>
                  </a:cubicBezTo>
                  <a:cubicBezTo>
                    <a:pt x="123" y="5"/>
                    <a:pt x="125" y="4"/>
                    <a:pt x="126" y="3"/>
                  </a:cubicBezTo>
                  <a:cubicBezTo>
                    <a:pt x="124" y="6"/>
                    <a:pt x="103" y="0"/>
                    <a:pt x="102" y="2"/>
                  </a:cubicBezTo>
                  <a:cubicBezTo>
                    <a:pt x="102" y="3"/>
                    <a:pt x="104" y="3"/>
                    <a:pt x="105" y="4"/>
                  </a:cubicBezTo>
                  <a:cubicBezTo>
                    <a:pt x="105" y="5"/>
                    <a:pt x="100" y="2"/>
                    <a:pt x="100" y="2"/>
                  </a:cubicBezTo>
                  <a:cubicBezTo>
                    <a:pt x="98" y="1"/>
                    <a:pt x="95" y="2"/>
                    <a:pt x="94" y="2"/>
                  </a:cubicBezTo>
                  <a:cubicBezTo>
                    <a:pt x="93" y="2"/>
                    <a:pt x="90" y="2"/>
                    <a:pt x="91" y="3"/>
                  </a:cubicBezTo>
                  <a:cubicBezTo>
                    <a:pt x="92" y="4"/>
                    <a:pt x="94" y="7"/>
                    <a:pt x="95" y="6"/>
                  </a:cubicBezTo>
                  <a:cubicBezTo>
                    <a:pt x="95" y="7"/>
                    <a:pt x="91" y="6"/>
                    <a:pt x="91" y="5"/>
                  </a:cubicBezTo>
                  <a:cubicBezTo>
                    <a:pt x="88" y="5"/>
                    <a:pt x="87" y="2"/>
                    <a:pt x="85" y="2"/>
                  </a:cubicBezTo>
                  <a:cubicBezTo>
                    <a:pt x="81" y="2"/>
                    <a:pt x="78" y="2"/>
                    <a:pt x="75" y="2"/>
                  </a:cubicBezTo>
                  <a:cubicBezTo>
                    <a:pt x="70" y="3"/>
                    <a:pt x="73" y="4"/>
                    <a:pt x="76" y="5"/>
                  </a:cubicBezTo>
                  <a:cubicBezTo>
                    <a:pt x="77" y="6"/>
                    <a:pt x="79" y="7"/>
                    <a:pt x="80" y="8"/>
                  </a:cubicBezTo>
                  <a:cubicBezTo>
                    <a:pt x="80" y="8"/>
                    <a:pt x="77" y="10"/>
                    <a:pt x="77" y="10"/>
                  </a:cubicBezTo>
                  <a:cubicBezTo>
                    <a:pt x="76" y="10"/>
                    <a:pt x="78" y="9"/>
                    <a:pt x="78" y="9"/>
                  </a:cubicBezTo>
                  <a:cubicBezTo>
                    <a:pt x="78" y="8"/>
                    <a:pt x="71" y="4"/>
                    <a:pt x="70" y="4"/>
                  </a:cubicBezTo>
                  <a:cubicBezTo>
                    <a:pt x="66" y="4"/>
                    <a:pt x="62" y="3"/>
                    <a:pt x="58" y="4"/>
                  </a:cubicBezTo>
                  <a:cubicBezTo>
                    <a:pt x="58" y="4"/>
                    <a:pt x="60" y="6"/>
                    <a:pt x="61" y="6"/>
                  </a:cubicBezTo>
                  <a:cubicBezTo>
                    <a:pt x="62" y="6"/>
                    <a:pt x="64" y="7"/>
                    <a:pt x="66" y="6"/>
                  </a:cubicBezTo>
                  <a:cubicBezTo>
                    <a:pt x="64" y="7"/>
                    <a:pt x="61" y="8"/>
                    <a:pt x="59" y="7"/>
                  </a:cubicBezTo>
                  <a:cubicBezTo>
                    <a:pt x="58" y="7"/>
                    <a:pt x="51" y="4"/>
                    <a:pt x="52" y="5"/>
                  </a:cubicBezTo>
                  <a:cubicBezTo>
                    <a:pt x="52" y="4"/>
                    <a:pt x="57" y="10"/>
                    <a:pt x="53" y="9"/>
                  </a:cubicBezTo>
                  <a:cubicBezTo>
                    <a:pt x="52" y="8"/>
                    <a:pt x="49" y="7"/>
                    <a:pt x="47" y="8"/>
                  </a:cubicBezTo>
                  <a:cubicBezTo>
                    <a:pt x="48" y="8"/>
                    <a:pt x="51" y="9"/>
                    <a:pt x="51" y="9"/>
                  </a:cubicBezTo>
                  <a:cubicBezTo>
                    <a:pt x="50" y="10"/>
                    <a:pt x="46" y="8"/>
                    <a:pt x="46" y="10"/>
                  </a:cubicBezTo>
                  <a:cubicBezTo>
                    <a:pt x="46" y="11"/>
                    <a:pt x="50" y="12"/>
                    <a:pt x="51" y="13"/>
                  </a:cubicBezTo>
                  <a:cubicBezTo>
                    <a:pt x="54" y="13"/>
                    <a:pt x="61" y="14"/>
                    <a:pt x="61" y="17"/>
                  </a:cubicBezTo>
                  <a:cubicBezTo>
                    <a:pt x="61" y="16"/>
                    <a:pt x="54" y="15"/>
                    <a:pt x="52" y="14"/>
                  </a:cubicBezTo>
                  <a:cubicBezTo>
                    <a:pt x="50" y="14"/>
                    <a:pt x="47" y="11"/>
                    <a:pt x="45" y="12"/>
                  </a:cubicBezTo>
                  <a:cubicBezTo>
                    <a:pt x="45" y="12"/>
                    <a:pt x="48" y="14"/>
                    <a:pt x="48" y="14"/>
                  </a:cubicBezTo>
                  <a:cubicBezTo>
                    <a:pt x="48" y="14"/>
                    <a:pt x="45" y="15"/>
                    <a:pt x="45" y="14"/>
                  </a:cubicBezTo>
                  <a:cubicBezTo>
                    <a:pt x="43" y="13"/>
                    <a:pt x="42" y="12"/>
                    <a:pt x="40" y="11"/>
                  </a:cubicBezTo>
                  <a:cubicBezTo>
                    <a:pt x="39" y="10"/>
                    <a:pt x="31" y="10"/>
                    <a:pt x="31" y="10"/>
                  </a:cubicBezTo>
                  <a:cubicBezTo>
                    <a:pt x="31" y="11"/>
                    <a:pt x="34" y="11"/>
                    <a:pt x="31" y="12"/>
                  </a:cubicBezTo>
                  <a:cubicBezTo>
                    <a:pt x="30" y="12"/>
                    <a:pt x="25" y="14"/>
                    <a:pt x="25" y="14"/>
                  </a:cubicBezTo>
                  <a:cubicBezTo>
                    <a:pt x="26" y="14"/>
                    <a:pt x="29" y="13"/>
                    <a:pt x="29" y="13"/>
                  </a:cubicBezTo>
                  <a:cubicBezTo>
                    <a:pt x="30" y="14"/>
                    <a:pt x="34" y="16"/>
                    <a:pt x="34" y="16"/>
                  </a:cubicBezTo>
                  <a:cubicBezTo>
                    <a:pt x="34" y="16"/>
                    <a:pt x="31" y="15"/>
                    <a:pt x="31" y="16"/>
                  </a:cubicBezTo>
                  <a:cubicBezTo>
                    <a:pt x="31" y="16"/>
                    <a:pt x="32" y="19"/>
                    <a:pt x="30" y="17"/>
                  </a:cubicBezTo>
                  <a:cubicBezTo>
                    <a:pt x="29" y="16"/>
                    <a:pt x="28" y="14"/>
                    <a:pt x="26" y="15"/>
                  </a:cubicBezTo>
                  <a:cubicBezTo>
                    <a:pt x="25" y="15"/>
                    <a:pt x="24" y="17"/>
                    <a:pt x="23" y="16"/>
                  </a:cubicBezTo>
                  <a:cubicBezTo>
                    <a:pt x="22" y="15"/>
                    <a:pt x="21" y="14"/>
                    <a:pt x="19" y="14"/>
                  </a:cubicBezTo>
                  <a:cubicBezTo>
                    <a:pt x="18" y="14"/>
                    <a:pt x="15" y="15"/>
                    <a:pt x="14" y="16"/>
                  </a:cubicBezTo>
                  <a:cubicBezTo>
                    <a:pt x="12" y="17"/>
                    <a:pt x="13" y="18"/>
                    <a:pt x="10" y="17"/>
                  </a:cubicBezTo>
                  <a:cubicBezTo>
                    <a:pt x="8" y="16"/>
                    <a:pt x="7" y="17"/>
                    <a:pt x="5" y="17"/>
                  </a:cubicBezTo>
                  <a:cubicBezTo>
                    <a:pt x="4" y="18"/>
                    <a:pt x="0" y="18"/>
                    <a:pt x="0" y="19"/>
                  </a:cubicBezTo>
                  <a:cubicBezTo>
                    <a:pt x="0" y="21"/>
                    <a:pt x="9" y="19"/>
                    <a:pt x="9" y="20"/>
                  </a:cubicBezTo>
                  <a:cubicBezTo>
                    <a:pt x="9" y="21"/>
                    <a:pt x="6" y="21"/>
                    <a:pt x="5" y="22"/>
                  </a:cubicBezTo>
                  <a:cubicBezTo>
                    <a:pt x="5" y="21"/>
                    <a:pt x="10" y="21"/>
                    <a:pt x="11" y="21"/>
                  </a:cubicBezTo>
                  <a:cubicBezTo>
                    <a:pt x="12" y="21"/>
                    <a:pt x="17" y="21"/>
                    <a:pt x="17" y="21"/>
                  </a:cubicBezTo>
                  <a:cubicBezTo>
                    <a:pt x="17" y="21"/>
                    <a:pt x="15" y="22"/>
                    <a:pt x="14" y="22"/>
                  </a:cubicBezTo>
                  <a:cubicBezTo>
                    <a:pt x="12" y="22"/>
                    <a:pt x="11" y="22"/>
                    <a:pt x="9" y="24"/>
                  </a:cubicBezTo>
                  <a:cubicBezTo>
                    <a:pt x="5" y="26"/>
                    <a:pt x="12" y="26"/>
                    <a:pt x="13" y="26"/>
                  </a:cubicBezTo>
                  <a:cubicBezTo>
                    <a:pt x="17" y="27"/>
                    <a:pt x="20" y="27"/>
                    <a:pt x="24" y="26"/>
                  </a:cubicBezTo>
                  <a:cubicBezTo>
                    <a:pt x="26" y="25"/>
                    <a:pt x="31" y="22"/>
                    <a:pt x="34" y="24"/>
                  </a:cubicBezTo>
                  <a:cubicBezTo>
                    <a:pt x="34" y="24"/>
                    <a:pt x="29" y="26"/>
                    <a:pt x="29" y="26"/>
                  </a:cubicBezTo>
                  <a:cubicBezTo>
                    <a:pt x="27" y="26"/>
                    <a:pt x="25" y="26"/>
                    <a:pt x="23" y="27"/>
                  </a:cubicBezTo>
                  <a:cubicBezTo>
                    <a:pt x="22" y="27"/>
                    <a:pt x="20" y="27"/>
                    <a:pt x="18" y="27"/>
                  </a:cubicBezTo>
                  <a:cubicBezTo>
                    <a:pt x="16" y="28"/>
                    <a:pt x="14" y="27"/>
                    <a:pt x="12" y="28"/>
                  </a:cubicBezTo>
                  <a:cubicBezTo>
                    <a:pt x="13" y="28"/>
                    <a:pt x="16" y="29"/>
                    <a:pt x="16" y="29"/>
                  </a:cubicBezTo>
                  <a:cubicBezTo>
                    <a:pt x="17" y="30"/>
                    <a:pt x="18" y="31"/>
                    <a:pt x="20" y="31"/>
                  </a:cubicBezTo>
                  <a:cubicBezTo>
                    <a:pt x="24" y="31"/>
                    <a:pt x="26" y="28"/>
                    <a:pt x="30" y="27"/>
                  </a:cubicBezTo>
                  <a:cubicBezTo>
                    <a:pt x="31" y="27"/>
                    <a:pt x="44" y="26"/>
                    <a:pt x="44" y="25"/>
                  </a:cubicBezTo>
                  <a:cubicBezTo>
                    <a:pt x="44" y="26"/>
                    <a:pt x="38" y="26"/>
                    <a:pt x="37" y="26"/>
                  </a:cubicBezTo>
                  <a:cubicBezTo>
                    <a:pt x="34" y="27"/>
                    <a:pt x="29" y="28"/>
                    <a:pt x="26" y="30"/>
                  </a:cubicBezTo>
                  <a:cubicBezTo>
                    <a:pt x="23" y="33"/>
                    <a:pt x="32" y="32"/>
                    <a:pt x="33" y="32"/>
                  </a:cubicBezTo>
                  <a:cubicBezTo>
                    <a:pt x="35" y="32"/>
                    <a:pt x="37" y="33"/>
                    <a:pt x="39" y="31"/>
                  </a:cubicBezTo>
                  <a:cubicBezTo>
                    <a:pt x="40" y="31"/>
                    <a:pt x="40" y="30"/>
                    <a:pt x="40" y="29"/>
                  </a:cubicBezTo>
                  <a:cubicBezTo>
                    <a:pt x="41" y="29"/>
                    <a:pt x="42" y="29"/>
                    <a:pt x="42" y="30"/>
                  </a:cubicBezTo>
                  <a:cubicBezTo>
                    <a:pt x="42" y="30"/>
                    <a:pt x="42" y="30"/>
                    <a:pt x="41" y="30"/>
                  </a:cubicBezTo>
                  <a:cubicBezTo>
                    <a:pt x="43" y="30"/>
                    <a:pt x="48" y="28"/>
                    <a:pt x="50" y="29"/>
                  </a:cubicBezTo>
                  <a:cubicBezTo>
                    <a:pt x="49" y="28"/>
                    <a:pt x="44" y="32"/>
                    <a:pt x="43" y="32"/>
                  </a:cubicBezTo>
                  <a:cubicBezTo>
                    <a:pt x="44" y="33"/>
                    <a:pt x="50" y="31"/>
                    <a:pt x="52" y="31"/>
                  </a:cubicBezTo>
                  <a:cubicBezTo>
                    <a:pt x="55" y="31"/>
                    <a:pt x="58" y="30"/>
                    <a:pt x="61" y="28"/>
                  </a:cubicBezTo>
                  <a:cubicBezTo>
                    <a:pt x="62" y="27"/>
                    <a:pt x="62" y="25"/>
                    <a:pt x="62" y="25"/>
                  </a:cubicBezTo>
                  <a:cubicBezTo>
                    <a:pt x="64" y="25"/>
                    <a:pt x="64" y="25"/>
                    <a:pt x="65" y="24"/>
                  </a:cubicBezTo>
                  <a:cubicBezTo>
                    <a:pt x="66" y="24"/>
                    <a:pt x="73" y="20"/>
                    <a:pt x="73" y="21"/>
                  </a:cubicBezTo>
                  <a:cubicBezTo>
                    <a:pt x="73" y="21"/>
                    <a:pt x="69" y="24"/>
                    <a:pt x="69" y="24"/>
                  </a:cubicBezTo>
                  <a:cubicBezTo>
                    <a:pt x="68" y="25"/>
                    <a:pt x="64" y="27"/>
                    <a:pt x="64" y="28"/>
                  </a:cubicBezTo>
                  <a:cubicBezTo>
                    <a:pt x="64" y="29"/>
                    <a:pt x="75" y="28"/>
                    <a:pt x="75" y="29"/>
                  </a:cubicBezTo>
                  <a:cubicBezTo>
                    <a:pt x="75" y="28"/>
                    <a:pt x="60" y="32"/>
                    <a:pt x="60" y="31"/>
                  </a:cubicBezTo>
                  <a:cubicBezTo>
                    <a:pt x="60" y="31"/>
                    <a:pt x="69" y="32"/>
                    <a:pt x="68" y="32"/>
                  </a:cubicBezTo>
                  <a:cubicBezTo>
                    <a:pt x="68" y="33"/>
                    <a:pt x="64" y="33"/>
                    <a:pt x="63" y="33"/>
                  </a:cubicBezTo>
                  <a:cubicBezTo>
                    <a:pt x="61" y="33"/>
                    <a:pt x="58" y="33"/>
                    <a:pt x="56" y="34"/>
                  </a:cubicBezTo>
                  <a:cubicBezTo>
                    <a:pt x="52" y="34"/>
                    <a:pt x="48" y="34"/>
                    <a:pt x="44" y="35"/>
                  </a:cubicBezTo>
                  <a:cubicBezTo>
                    <a:pt x="43" y="35"/>
                    <a:pt x="43" y="36"/>
                    <a:pt x="45" y="36"/>
                  </a:cubicBezTo>
                  <a:cubicBezTo>
                    <a:pt x="46" y="37"/>
                    <a:pt x="49" y="38"/>
                    <a:pt x="50" y="39"/>
                  </a:cubicBezTo>
                  <a:cubicBezTo>
                    <a:pt x="52" y="41"/>
                    <a:pt x="50" y="43"/>
                    <a:pt x="53" y="43"/>
                  </a:cubicBezTo>
                  <a:cubicBezTo>
                    <a:pt x="54" y="42"/>
                    <a:pt x="57" y="43"/>
                    <a:pt x="58" y="42"/>
                  </a:cubicBezTo>
                  <a:cubicBezTo>
                    <a:pt x="49" y="47"/>
                    <a:pt x="44" y="36"/>
                    <a:pt x="37" y="36"/>
                  </a:cubicBezTo>
                  <a:cubicBezTo>
                    <a:pt x="35" y="36"/>
                    <a:pt x="26" y="34"/>
                    <a:pt x="26" y="36"/>
                  </a:cubicBezTo>
                  <a:cubicBezTo>
                    <a:pt x="26" y="36"/>
                    <a:pt x="25" y="38"/>
                    <a:pt x="25" y="38"/>
                  </a:cubicBezTo>
                  <a:cubicBezTo>
                    <a:pt x="26" y="38"/>
                    <a:pt x="32" y="38"/>
                    <a:pt x="32" y="39"/>
                  </a:cubicBezTo>
                  <a:cubicBezTo>
                    <a:pt x="32" y="39"/>
                    <a:pt x="26" y="39"/>
                    <a:pt x="26" y="41"/>
                  </a:cubicBezTo>
                  <a:cubicBezTo>
                    <a:pt x="26" y="42"/>
                    <a:pt x="32" y="42"/>
                    <a:pt x="34" y="43"/>
                  </a:cubicBezTo>
                  <a:cubicBezTo>
                    <a:pt x="35" y="44"/>
                    <a:pt x="36" y="45"/>
                    <a:pt x="37" y="46"/>
                  </a:cubicBezTo>
                  <a:cubicBezTo>
                    <a:pt x="38" y="48"/>
                    <a:pt x="40" y="49"/>
                    <a:pt x="42" y="50"/>
                  </a:cubicBezTo>
                  <a:cubicBezTo>
                    <a:pt x="44" y="51"/>
                    <a:pt x="45" y="51"/>
                    <a:pt x="47" y="50"/>
                  </a:cubicBezTo>
                  <a:cubicBezTo>
                    <a:pt x="48" y="50"/>
                    <a:pt x="50" y="49"/>
                    <a:pt x="51" y="50"/>
                  </a:cubicBezTo>
                  <a:cubicBezTo>
                    <a:pt x="51" y="50"/>
                    <a:pt x="50" y="52"/>
                    <a:pt x="50" y="52"/>
                  </a:cubicBezTo>
                  <a:cubicBezTo>
                    <a:pt x="48" y="52"/>
                    <a:pt x="45" y="51"/>
                    <a:pt x="44" y="52"/>
                  </a:cubicBezTo>
                  <a:cubicBezTo>
                    <a:pt x="44" y="51"/>
                    <a:pt x="48" y="54"/>
                    <a:pt x="48" y="54"/>
                  </a:cubicBezTo>
                  <a:cubicBezTo>
                    <a:pt x="48" y="55"/>
                    <a:pt x="43" y="53"/>
                    <a:pt x="43" y="53"/>
                  </a:cubicBezTo>
                  <a:cubicBezTo>
                    <a:pt x="40" y="51"/>
                    <a:pt x="38" y="51"/>
                    <a:pt x="35" y="51"/>
                  </a:cubicBezTo>
                  <a:cubicBezTo>
                    <a:pt x="33" y="51"/>
                    <a:pt x="32" y="51"/>
                    <a:pt x="30" y="52"/>
                  </a:cubicBezTo>
                  <a:cubicBezTo>
                    <a:pt x="28" y="53"/>
                    <a:pt x="27" y="52"/>
                    <a:pt x="26" y="53"/>
                  </a:cubicBezTo>
                  <a:cubicBezTo>
                    <a:pt x="25" y="54"/>
                    <a:pt x="25" y="55"/>
                    <a:pt x="23" y="55"/>
                  </a:cubicBezTo>
                  <a:cubicBezTo>
                    <a:pt x="22" y="56"/>
                    <a:pt x="21" y="59"/>
                    <a:pt x="23" y="59"/>
                  </a:cubicBezTo>
                  <a:cubicBezTo>
                    <a:pt x="25" y="59"/>
                    <a:pt x="27" y="58"/>
                    <a:pt x="27" y="59"/>
                  </a:cubicBezTo>
                  <a:cubicBezTo>
                    <a:pt x="28" y="61"/>
                    <a:pt x="32" y="60"/>
                    <a:pt x="32" y="59"/>
                  </a:cubicBezTo>
                  <a:cubicBezTo>
                    <a:pt x="33" y="59"/>
                    <a:pt x="35" y="56"/>
                    <a:pt x="35" y="55"/>
                  </a:cubicBezTo>
                  <a:cubicBezTo>
                    <a:pt x="35" y="56"/>
                    <a:pt x="35" y="56"/>
                    <a:pt x="35" y="57"/>
                  </a:cubicBezTo>
                  <a:cubicBezTo>
                    <a:pt x="35" y="57"/>
                    <a:pt x="36" y="57"/>
                    <a:pt x="36" y="57"/>
                  </a:cubicBezTo>
                  <a:cubicBezTo>
                    <a:pt x="36" y="57"/>
                    <a:pt x="35" y="58"/>
                    <a:pt x="35" y="59"/>
                  </a:cubicBezTo>
                  <a:cubicBezTo>
                    <a:pt x="35" y="59"/>
                    <a:pt x="35" y="59"/>
                    <a:pt x="36" y="59"/>
                  </a:cubicBezTo>
                  <a:cubicBezTo>
                    <a:pt x="36" y="59"/>
                    <a:pt x="33" y="60"/>
                    <a:pt x="34" y="60"/>
                  </a:cubicBezTo>
                  <a:cubicBezTo>
                    <a:pt x="34" y="60"/>
                    <a:pt x="34" y="60"/>
                    <a:pt x="34" y="60"/>
                  </a:cubicBezTo>
                  <a:cubicBezTo>
                    <a:pt x="34" y="61"/>
                    <a:pt x="31" y="60"/>
                    <a:pt x="30" y="61"/>
                  </a:cubicBezTo>
                  <a:cubicBezTo>
                    <a:pt x="31" y="61"/>
                    <a:pt x="35" y="61"/>
                    <a:pt x="36" y="62"/>
                  </a:cubicBezTo>
                  <a:cubicBezTo>
                    <a:pt x="36" y="62"/>
                    <a:pt x="31" y="65"/>
                    <a:pt x="32" y="65"/>
                  </a:cubicBezTo>
                  <a:cubicBezTo>
                    <a:pt x="32" y="66"/>
                    <a:pt x="37" y="65"/>
                    <a:pt x="37" y="65"/>
                  </a:cubicBezTo>
                  <a:cubicBezTo>
                    <a:pt x="37" y="65"/>
                    <a:pt x="36" y="65"/>
                    <a:pt x="36" y="65"/>
                  </a:cubicBezTo>
                  <a:cubicBezTo>
                    <a:pt x="36" y="66"/>
                    <a:pt x="41" y="65"/>
                    <a:pt x="42" y="64"/>
                  </a:cubicBezTo>
                  <a:cubicBezTo>
                    <a:pt x="42" y="64"/>
                    <a:pt x="46" y="59"/>
                    <a:pt x="47" y="60"/>
                  </a:cubicBezTo>
                  <a:cubicBezTo>
                    <a:pt x="48" y="61"/>
                    <a:pt x="40" y="67"/>
                    <a:pt x="38" y="68"/>
                  </a:cubicBezTo>
                  <a:cubicBezTo>
                    <a:pt x="35" y="68"/>
                    <a:pt x="33" y="68"/>
                    <a:pt x="30" y="66"/>
                  </a:cubicBezTo>
                  <a:cubicBezTo>
                    <a:pt x="28" y="65"/>
                    <a:pt x="28" y="63"/>
                    <a:pt x="26" y="63"/>
                  </a:cubicBezTo>
                  <a:cubicBezTo>
                    <a:pt x="24" y="62"/>
                    <a:pt x="22" y="62"/>
                    <a:pt x="20" y="62"/>
                  </a:cubicBezTo>
                  <a:cubicBezTo>
                    <a:pt x="17" y="62"/>
                    <a:pt x="17" y="63"/>
                    <a:pt x="19" y="65"/>
                  </a:cubicBezTo>
                  <a:cubicBezTo>
                    <a:pt x="20" y="66"/>
                    <a:pt x="20" y="67"/>
                    <a:pt x="22" y="67"/>
                  </a:cubicBezTo>
                  <a:cubicBezTo>
                    <a:pt x="25" y="67"/>
                    <a:pt x="22" y="67"/>
                    <a:pt x="22" y="68"/>
                  </a:cubicBezTo>
                  <a:cubicBezTo>
                    <a:pt x="22" y="68"/>
                    <a:pt x="26" y="70"/>
                    <a:pt x="26" y="70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64" name="Freeform 604">
              <a:extLst>
                <a:ext uri="{FF2B5EF4-FFF2-40B4-BE49-F238E27FC236}">
                  <a16:creationId xmlns:a16="http://schemas.microsoft.com/office/drawing/2014/main" id="{477254A1-7865-3F0F-E1EC-161B63B68282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7931" y="1438640"/>
              <a:ext cx="73319" cy="28387"/>
            </a:xfrm>
            <a:custGeom>
              <a:avLst/>
              <a:gdLst>
                <a:gd name="T0" fmla="*/ 13 w 14"/>
                <a:gd name="T1" fmla="*/ 4 h 5"/>
                <a:gd name="T2" fmla="*/ 11 w 14"/>
                <a:gd name="T3" fmla="*/ 2 h 5"/>
                <a:gd name="T4" fmla="*/ 8 w 14"/>
                <a:gd name="T5" fmla="*/ 2 h 5"/>
                <a:gd name="T6" fmla="*/ 1 w 14"/>
                <a:gd name="T7" fmla="*/ 1 h 5"/>
                <a:gd name="T8" fmla="*/ 2 w 14"/>
                <a:gd name="T9" fmla="*/ 2 h 5"/>
                <a:gd name="T10" fmla="*/ 0 w 14"/>
                <a:gd name="T11" fmla="*/ 3 h 5"/>
                <a:gd name="T12" fmla="*/ 3 w 14"/>
                <a:gd name="T13" fmla="*/ 3 h 5"/>
                <a:gd name="T14" fmla="*/ 8 w 14"/>
                <a:gd name="T15" fmla="*/ 4 h 5"/>
                <a:gd name="T16" fmla="*/ 13 w 14"/>
                <a:gd name="T17" fmla="*/ 4 h 5"/>
                <a:gd name="T18" fmla="*/ 13 w 14"/>
                <a:gd name="T19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5">
                  <a:moveTo>
                    <a:pt x="13" y="4"/>
                  </a:moveTo>
                  <a:cubicBezTo>
                    <a:pt x="12" y="3"/>
                    <a:pt x="13" y="3"/>
                    <a:pt x="11" y="2"/>
                  </a:cubicBezTo>
                  <a:cubicBezTo>
                    <a:pt x="10" y="2"/>
                    <a:pt x="9" y="2"/>
                    <a:pt x="8" y="2"/>
                  </a:cubicBezTo>
                  <a:cubicBezTo>
                    <a:pt x="7" y="2"/>
                    <a:pt x="2" y="0"/>
                    <a:pt x="1" y="1"/>
                  </a:cubicBezTo>
                  <a:cubicBezTo>
                    <a:pt x="1" y="1"/>
                    <a:pt x="3" y="2"/>
                    <a:pt x="2" y="2"/>
                  </a:cubicBezTo>
                  <a:cubicBezTo>
                    <a:pt x="2" y="3"/>
                    <a:pt x="0" y="4"/>
                    <a:pt x="0" y="3"/>
                  </a:cubicBezTo>
                  <a:cubicBezTo>
                    <a:pt x="0" y="4"/>
                    <a:pt x="2" y="3"/>
                    <a:pt x="3" y="3"/>
                  </a:cubicBezTo>
                  <a:cubicBezTo>
                    <a:pt x="4" y="3"/>
                    <a:pt x="6" y="4"/>
                    <a:pt x="8" y="4"/>
                  </a:cubicBezTo>
                  <a:cubicBezTo>
                    <a:pt x="9" y="4"/>
                    <a:pt x="13" y="4"/>
                    <a:pt x="13" y="4"/>
                  </a:cubicBezTo>
                  <a:cubicBezTo>
                    <a:pt x="12" y="3"/>
                    <a:pt x="14" y="5"/>
                    <a:pt x="13" y="4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65" name="Freeform 605">
              <a:extLst>
                <a:ext uri="{FF2B5EF4-FFF2-40B4-BE49-F238E27FC236}">
                  <a16:creationId xmlns:a16="http://schemas.microsoft.com/office/drawing/2014/main" id="{02FD5F60-364D-1273-2A42-19794ADFAA8F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4069" y="1461347"/>
              <a:ext cx="30401" cy="11355"/>
            </a:xfrm>
            <a:custGeom>
              <a:avLst/>
              <a:gdLst>
                <a:gd name="T0" fmla="*/ 5 w 6"/>
                <a:gd name="T1" fmla="*/ 1 h 2"/>
                <a:gd name="T2" fmla="*/ 2 w 6"/>
                <a:gd name="T3" fmla="*/ 0 h 2"/>
                <a:gd name="T4" fmla="*/ 5 w 6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2">
                  <a:moveTo>
                    <a:pt x="5" y="1"/>
                  </a:moveTo>
                  <a:cubicBezTo>
                    <a:pt x="4" y="2"/>
                    <a:pt x="0" y="0"/>
                    <a:pt x="2" y="0"/>
                  </a:cubicBezTo>
                  <a:cubicBezTo>
                    <a:pt x="3" y="0"/>
                    <a:pt x="6" y="1"/>
                    <a:pt x="5" y="1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66" name="Freeform 606">
              <a:extLst>
                <a:ext uri="{FF2B5EF4-FFF2-40B4-BE49-F238E27FC236}">
                  <a16:creationId xmlns:a16="http://schemas.microsoft.com/office/drawing/2014/main" id="{6634C1FA-88D3-FAFD-942C-93EDF666F01D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9977" y="1633554"/>
              <a:ext cx="30401" cy="17033"/>
            </a:xfrm>
            <a:custGeom>
              <a:avLst/>
              <a:gdLst>
                <a:gd name="T0" fmla="*/ 4 w 6"/>
                <a:gd name="T1" fmla="*/ 1 h 3"/>
                <a:gd name="T2" fmla="*/ 1 w 6"/>
                <a:gd name="T3" fmla="*/ 2 h 3"/>
                <a:gd name="T4" fmla="*/ 4 w 6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3">
                  <a:moveTo>
                    <a:pt x="4" y="1"/>
                  </a:moveTo>
                  <a:cubicBezTo>
                    <a:pt x="3" y="0"/>
                    <a:pt x="0" y="2"/>
                    <a:pt x="1" y="2"/>
                  </a:cubicBezTo>
                  <a:cubicBezTo>
                    <a:pt x="2" y="3"/>
                    <a:pt x="6" y="1"/>
                    <a:pt x="4" y="1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24" name="Freeform 786">
              <a:extLst>
                <a:ext uri="{FF2B5EF4-FFF2-40B4-BE49-F238E27FC236}">
                  <a16:creationId xmlns:a16="http://schemas.microsoft.com/office/drawing/2014/main" id="{10B1DF25-66C9-0652-5C3E-4B709E77A70C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2038" y="1800080"/>
              <a:ext cx="89412" cy="54878"/>
            </a:xfrm>
            <a:custGeom>
              <a:avLst/>
              <a:gdLst>
                <a:gd name="T0" fmla="*/ 0 w 17"/>
                <a:gd name="T1" fmla="*/ 4 h 10"/>
                <a:gd name="T2" fmla="*/ 10 w 17"/>
                <a:gd name="T3" fmla="*/ 2 h 10"/>
                <a:gd name="T4" fmla="*/ 8 w 17"/>
                <a:gd name="T5" fmla="*/ 4 h 10"/>
                <a:gd name="T6" fmla="*/ 12 w 17"/>
                <a:gd name="T7" fmla="*/ 7 h 10"/>
                <a:gd name="T8" fmla="*/ 9 w 17"/>
                <a:gd name="T9" fmla="*/ 7 h 10"/>
                <a:gd name="T10" fmla="*/ 11 w 17"/>
                <a:gd name="T11" fmla="*/ 10 h 10"/>
                <a:gd name="T12" fmla="*/ 8 w 17"/>
                <a:gd name="T13" fmla="*/ 9 h 10"/>
                <a:gd name="T14" fmla="*/ 0 w 17"/>
                <a:gd name="T15" fmla="*/ 4 h 10"/>
                <a:gd name="T16" fmla="*/ 0 w 17"/>
                <a:gd name="T17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10">
                  <a:moveTo>
                    <a:pt x="0" y="4"/>
                  </a:moveTo>
                  <a:cubicBezTo>
                    <a:pt x="1" y="0"/>
                    <a:pt x="7" y="2"/>
                    <a:pt x="10" y="2"/>
                  </a:cubicBezTo>
                  <a:cubicBezTo>
                    <a:pt x="17" y="3"/>
                    <a:pt x="8" y="4"/>
                    <a:pt x="8" y="4"/>
                  </a:cubicBezTo>
                  <a:cubicBezTo>
                    <a:pt x="8" y="6"/>
                    <a:pt x="12" y="5"/>
                    <a:pt x="12" y="7"/>
                  </a:cubicBezTo>
                  <a:cubicBezTo>
                    <a:pt x="12" y="7"/>
                    <a:pt x="10" y="6"/>
                    <a:pt x="9" y="7"/>
                  </a:cubicBezTo>
                  <a:cubicBezTo>
                    <a:pt x="9" y="7"/>
                    <a:pt x="12" y="10"/>
                    <a:pt x="11" y="10"/>
                  </a:cubicBezTo>
                  <a:cubicBezTo>
                    <a:pt x="10" y="10"/>
                    <a:pt x="9" y="9"/>
                    <a:pt x="8" y="9"/>
                  </a:cubicBezTo>
                  <a:cubicBezTo>
                    <a:pt x="6" y="8"/>
                    <a:pt x="0" y="7"/>
                    <a:pt x="0" y="4"/>
                  </a:cubicBezTo>
                  <a:cubicBezTo>
                    <a:pt x="0" y="3"/>
                    <a:pt x="0" y="7"/>
                    <a:pt x="0" y="4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25" name="Freeform 788">
              <a:extLst>
                <a:ext uri="{FF2B5EF4-FFF2-40B4-BE49-F238E27FC236}">
                  <a16:creationId xmlns:a16="http://schemas.microsoft.com/office/drawing/2014/main" id="{06B142E8-38C6-9994-2708-6C1A608E28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102627" y="1906053"/>
              <a:ext cx="67953" cy="37847"/>
            </a:xfrm>
            <a:custGeom>
              <a:avLst/>
              <a:gdLst>
                <a:gd name="T0" fmla="*/ 12 w 13"/>
                <a:gd name="T1" fmla="*/ 4 h 7"/>
                <a:gd name="T2" fmla="*/ 12 w 13"/>
                <a:gd name="T3" fmla="*/ 1 h 7"/>
                <a:gd name="T4" fmla="*/ 7 w 13"/>
                <a:gd name="T5" fmla="*/ 2 h 7"/>
                <a:gd name="T6" fmla="*/ 3 w 13"/>
                <a:gd name="T7" fmla="*/ 3 h 7"/>
                <a:gd name="T8" fmla="*/ 0 w 13"/>
                <a:gd name="T9" fmla="*/ 5 h 7"/>
                <a:gd name="T10" fmla="*/ 12 w 13"/>
                <a:gd name="T11" fmla="*/ 4 h 7"/>
                <a:gd name="T12" fmla="*/ 12 w 13"/>
                <a:gd name="T13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7">
                  <a:moveTo>
                    <a:pt x="12" y="4"/>
                  </a:moveTo>
                  <a:cubicBezTo>
                    <a:pt x="13" y="3"/>
                    <a:pt x="13" y="2"/>
                    <a:pt x="12" y="1"/>
                  </a:cubicBezTo>
                  <a:cubicBezTo>
                    <a:pt x="11" y="0"/>
                    <a:pt x="8" y="1"/>
                    <a:pt x="7" y="2"/>
                  </a:cubicBezTo>
                  <a:cubicBezTo>
                    <a:pt x="6" y="2"/>
                    <a:pt x="4" y="2"/>
                    <a:pt x="3" y="3"/>
                  </a:cubicBezTo>
                  <a:cubicBezTo>
                    <a:pt x="3" y="3"/>
                    <a:pt x="0" y="5"/>
                    <a:pt x="0" y="5"/>
                  </a:cubicBezTo>
                  <a:cubicBezTo>
                    <a:pt x="3" y="7"/>
                    <a:pt x="10" y="6"/>
                    <a:pt x="12" y="4"/>
                  </a:cubicBezTo>
                  <a:cubicBezTo>
                    <a:pt x="13" y="3"/>
                    <a:pt x="9" y="6"/>
                    <a:pt x="12" y="4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26" name="Freeform 781">
              <a:extLst>
                <a:ext uri="{FF2B5EF4-FFF2-40B4-BE49-F238E27FC236}">
                  <a16:creationId xmlns:a16="http://schemas.microsoft.com/office/drawing/2014/main" id="{E481A52B-3A8D-AE81-0210-AB9A8A56DA67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1799" y="1183172"/>
              <a:ext cx="48283" cy="22709"/>
            </a:xfrm>
            <a:custGeom>
              <a:avLst/>
              <a:gdLst>
                <a:gd name="T0" fmla="*/ 4 w 9"/>
                <a:gd name="T1" fmla="*/ 3 h 4"/>
                <a:gd name="T2" fmla="*/ 1 w 9"/>
                <a:gd name="T3" fmla="*/ 2 h 4"/>
                <a:gd name="T4" fmla="*/ 5 w 9"/>
                <a:gd name="T5" fmla="*/ 2 h 4"/>
                <a:gd name="T6" fmla="*/ 0 w 9"/>
                <a:gd name="T7" fmla="*/ 0 h 4"/>
                <a:gd name="T8" fmla="*/ 9 w 9"/>
                <a:gd name="T9" fmla="*/ 2 h 4"/>
                <a:gd name="T10" fmla="*/ 5 w 9"/>
                <a:gd name="T11" fmla="*/ 2 h 4"/>
                <a:gd name="T12" fmla="*/ 4 w 9"/>
                <a:gd name="T13" fmla="*/ 3 h 4"/>
                <a:gd name="T14" fmla="*/ 4 w 9"/>
                <a:gd name="T1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4">
                  <a:moveTo>
                    <a:pt x="4" y="3"/>
                  </a:moveTo>
                  <a:cubicBezTo>
                    <a:pt x="4" y="3"/>
                    <a:pt x="1" y="2"/>
                    <a:pt x="1" y="2"/>
                  </a:cubicBezTo>
                  <a:cubicBezTo>
                    <a:pt x="1" y="2"/>
                    <a:pt x="4" y="2"/>
                    <a:pt x="5" y="2"/>
                  </a:cubicBezTo>
                  <a:cubicBezTo>
                    <a:pt x="3" y="1"/>
                    <a:pt x="1" y="2"/>
                    <a:pt x="0" y="0"/>
                  </a:cubicBezTo>
                  <a:cubicBezTo>
                    <a:pt x="1" y="1"/>
                    <a:pt x="8" y="0"/>
                    <a:pt x="9" y="2"/>
                  </a:cubicBezTo>
                  <a:cubicBezTo>
                    <a:pt x="9" y="2"/>
                    <a:pt x="6" y="2"/>
                    <a:pt x="5" y="2"/>
                  </a:cubicBezTo>
                  <a:cubicBezTo>
                    <a:pt x="5" y="2"/>
                    <a:pt x="7" y="4"/>
                    <a:pt x="4" y="3"/>
                  </a:cubicBezTo>
                  <a:cubicBezTo>
                    <a:pt x="3" y="3"/>
                    <a:pt x="6" y="4"/>
                    <a:pt x="4" y="3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27" name="Freeform 777">
              <a:extLst>
                <a:ext uri="{FF2B5EF4-FFF2-40B4-BE49-F238E27FC236}">
                  <a16:creationId xmlns:a16="http://schemas.microsoft.com/office/drawing/2014/main" id="{3B4F8E01-13AE-CA96-80C0-A59A12BC38E3}"/>
                </a:ext>
              </a:extLst>
            </p:cNvPr>
            <p:cNvSpPr>
              <a:spLocks/>
            </p:cNvSpPr>
            <p:nvPr/>
          </p:nvSpPr>
          <p:spPr bwMode="auto">
            <a:xfrm>
              <a:off x="4389112" y="1943902"/>
              <a:ext cx="84048" cy="62449"/>
            </a:xfrm>
            <a:custGeom>
              <a:avLst/>
              <a:gdLst>
                <a:gd name="T0" fmla="*/ 16 w 16"/>
                <a:gd name="T1" fmla="*/ 6 h 11"/>
                <a:gd name="T2" fmla="*/ 11 w 16"/>
                <a:gd name="T3" fmla="*/ 3 h 11"/>
                <a:gd name="T4" fmla="*/ 5 w 16"/>
                <a:gd name="T5" fmla="*/ 1 h 11"/>
                <a:gd name="T6" fmla="*/ 1 w 16"/>
                <a:gd name="T7" fmla="*/ 1 h 11"/>
                <a:gd name="T8" fmla="*/ 3 w 16"/>
                <a:gd name="T9" fmla="*/ 3 h 11"/>
                <a:gd name="T10" fmla="*/ 1 w 16"/>
                <a:gd name="T11" fmla="*/ 7 h 11"/>
                <a:gd name="T12" fmla="*/ 5 w 16"/>
                <a:gd name="T13" fmla="*/ 7 h 11"/>
                <a:gd name="T14" fmla="*/ 5 w 16"/>
                <a:gd name="T15" fmla="*/ 9 h 11"/>
                <a:gd name="T16" fmla="*/ 16 w 16"/>
                <a:gd name="T17" fmla="*/ 6 h 11"/>
                <a:gd name="T18" fmla="*/ 16 w 16"/>
                <a:gd name="T19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1">
                  <a:moveTo>
                    <a:pt x="16" y="6"/>
                  </a:moveTo>
                  <a:cubicBezTo>
                    <a:pt x="15" y="5"/>
                    <a:pt x="11" y="3"/>
                    <a:pt x="11" y="3"/>
                  </a:cubicBezTo>
                  <a:cubicBezTo>
                    <a:pt x="9" y="2"/>
                    <a:pt x="7" y="1"/>
                    <a:pt x="5" y="1"/>
                  </a:cubicBezTo>
                  <a:cubicBezTo>
                    <a:pt x="4" y="1"/>
                    <a:pt x="2" y="0"/>
                    <a:pt x="1" y="1"/>
                  </a:cubicBezTo>
                  <a:cubicBezTo>
                    <a:pt x="0" y="2"/>
                    <a:pt x="3" y="3"/>
                    <a:pt x="3" y="3"/>
                  </a:cubicBezTo>
                  <a:cubicBezTo>
                    <a:pt x="2" y="3"/>
                    <a:pt x="0" y="6"/>
                    <a:pt x="1" y="7"/>
                  </a:cubicBezTo>
                  <a:cubicBezTo>
                    <a:pt x="2" y="7"/>
                    <a:pt x="4" y="6"/>
                    <a:pt x="5" y="7"/>
                  </a:cubicBezTo>
                  <a:cubicBezTo>
                    <a:pt x="7" y="8"/>
                    <a:pt x="5" y="8"/>
                    <a:pt x="5" y="9"/>
                  </a:cubicBezTo>
                  <a:cubicBezTo>
                    <a:pt x="5" y="11"/>
                    <a:pt x="16" y="8"/>
                    <a:pt x="16" y="6"/>
                  </a:cubicBezTo>
                  <a:cubicBezTo>
                    <a:pt x="15" y="5"/>
                    <a:pt x="16" y="7"/>
                    <a:pt x="16" y="6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28" name="Freeform 778">
              <a:extLst>
                <a:ext uri="{FF2B5EF4-FFF2-40B4-BE49-F238E27FC236}">
                  <a16:creationId xmlns:a16="http://schemas.microsoft.com/office/drawing/2014/main" id="{331A6ADA-3DD0-B2B5-D859-B6866BE086EB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5937" y="1900376"/>
              <a:ext cx="21459" cy="11355"/>
            </a:xfrm>
            <a:custGeom>
              <a:avLst/>
              <a:gdLst>
                <a:gd name="T0" fmla="*/ 2 w 4"/>
                <a:gd name="T1" fmla="*/ 2 h 2"/>
                <a:gd name="T2" fmla="*/ 2 w 4"/>
                <a:gd name="T3" fmla="*/ 0 h 2"/>
                <a:gd name="T4" fmla="*/ 2 w 4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2">
                  <a:moveTo>
                    <a:pt x="2" y="2"/>
                  </a:moveTo>
                  <a:cubicBezTo>
                    <a:pt x="0" y="2"/>
                    <a:pt x="1" y="0"/>
                    <a:pt x="2" y="0"/>
                  </a:cubicBezTo>
                  <a:cubicBezTo>
                    <a:pt x="3" y="0"/>
                    <a:pt x="4" y="2"/>
                    <a:pt x="2" y="2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29" name="Freeform 779">
              <a:extLst>
                <a:ext uri="{FF2B5EF4-FFF2-40B4-BE49-F238E27FC236}">
                  <a16:creationId xmlns:a16="http://schemas.microsoft.com/office/drawing/2014/main" id="{608D0247-D96F-E32D-AEB7-B772FF5A6985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2031" y="1243726"/>
              <a:ext cx="57223" cy="34061"/>
            </a:xfrm>
            <a:custGeom>
              <a:avLst/>
              <a:gdLst>
                <a:gd name="T0" fmla="*/ 9 w 11"/>
                <a:gd name="T1" fmla="*/ 4 h 6"/>
                <a:gd name="T2" fmla="*/ 9 w 11"/>
                <a:gd name="T3" fmla="*/ 5 h 6"/>
                <a:gd name="T4" fmla="*/ 3 w 11"/>
                <a:gd name="T5" fmla="*/ 4 h 6"/>
                <a:gd name="T6" fmla="*/ 2 w 11"/>
                <a:gd name="T7" fmla="*/ 1 h 6"/>
                <a:gd name="T8" fmla="*/ 9 w 11"/>
                <a:gd name="T9" fmla="*/ 4 h 6"/>
                <a:gd name="T10" fmla="*/ 9 w 11"/>
                <a:gd name="T11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6">
                  <a:moveTo>
                    <a:pt x="9" y="4"/>
                  </a:moveTo>
                  <a:cubicBezTo>
                    <a:pt x="11" y="5"/>
                    <a:pt x="11" y="6"/>
                    <a:pt x="9" y="5"/>
                  </a:cubicBezTo>
                  <a:cubicBezTo>
                    <a:pt x="7" y="5"/>
                    <a:pt x="4" y="4"/>
                    <a:pt x="3" y="4"/>
                  </a:cubicBezTo>
                  <a:cubicBezTo>
                    <a:pt x="2" y="3"/>
                    <a:pt x="0" y="0"/>
                    <a:pt x="2" y="1"/>
                  </a:cubicBezTo>
                  <a:cubicBezTo>
                    <a:pt x="4" y="2"/>
                    <a:pt x="7" y="3"/>
                    <a:pt x="9" y="4"/>
                  </a:cubicBezTo>
                  <a:cubicBezTo>
                    <a:pt x="11" y="5"/>
                    <a:pt x="7" y="3"/>
                    <a:pt x="9" y="4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30" name="Freeform 780">
              <a:extLst>
                <a:ext uri="{FF2B5EF4-FFF2-40B4-BE49-F238E27FC236}">
                  <a16:creationId xmlns:a16="http://schemas.microsoft.com/office/drawing/2014/main" id="{C13E76FE-EDDA-26CB-9572-D66016F34663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9068" y="1194523"/>
              <a:ext cx="42917" cy="26493"/>
            </a:xfrm>
            <a:custGeom>
              <a:avLst/>
              <a:gdLst>
                <a:gd name="T0" fmla="*/ 8 w 8"/>
                <a:gd name="T1" fmla="*/ 3 h 5"/>
                <a:gd name="T2" fmla="*/ 0 w 8"/>
                <a:gd name="T3" fmla="*/ 2 h 5"/>
                <a:gd name="T4" fmla="*/ 8 w 8"/>
                <a:gd name="T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5">
                  <a:moveTo>
                    <a:pt x="8" y="3"/>
                  </a:moveTo>
                  <a:cubicBezTo>
                    <a:pt x="8" y="5"/>
                    <a:pt x="0" y="4"/>
                    <a:pt x="0" y="2"/>
                  </a:cubicBezTo>
                  <a:cubicBezTo>
                    <a:pt x="0" y="0"/>
                    <a:pt x="8" y="1"/>
                    <a:pt x="8" y="3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31" name="Freeform 782">
              <a:extLst>
                <a:ext uri="{FF2B5EF4-FFF2-40B4-BE49-F238E27FC236}">
                  <a16:creationId xmlns:a16="http://schemas.microsoft.com/office/drawing/2014/main" id="{AFB7D849-E396-38BE-E2FD-80FF135A54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6816" y="1266435"/>
              <a:ext cx="30401" cy="22709"/>
            </a:xfrm>
            <a:custGeom>
              <a:avLst/>
              <a:gdLst>
                <a:gd name="T0" fmla="*/ 5 w 6"/>
                <a:gd name="T1" fmla="*/ 3 h 4"/>
                <a:gd name="T2" fmla="*/ 1 w 6"/>
                <a:gd name="T3" fmla="*/ 0 h 4"/>
                <a:gd name="T4" fmla="*/ 5 w 6"/>
                <a:gd name="T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4">
                  <a:moveTo>
                    <a:pt x="5" y="3"/>
                  </a:moveTo>
                  <a:cubicBezTo>
                    <a:pt x="4" y="4"/>
                    <a:pt x="0" y="0"/>
                    <a:pt x="1" y="0"/>
                  </a:cubicBezTo>
                  <a:cubicBezTo>
                    <a:pt x="2" y="0"/>
                    <a:pt x="6" y="2"/>
                    <a:pt x="5" y="3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32" name="Freeform 783">
              <a:extLst>
                <a:ext uri="{FF2B5EF4-FFF2-40B4-BE49-F238E27FC236}">
                  <a16:creationId xmlns:a16="http://schemas.microsoft.com/office/drawing/2014/main" id="{10EECF70-6E83-EE13-D663-8A6C8D45794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7946" y="1289142"/>
              <a:ext cx="26823" cy="5678"/>
            </a:xfrm>
            <a:custGeom>
              <a:avLst/>
              <a:gdLst>
                <a:gd name="T0" fmla="*/ 4 w 5"/>
                <a:gd name="T1" fmla="*/ 1 h 1"/>
                <a:gd name="T2" fmla="*/ 2 w 5"/>
                <a:gd name="T3" fmla="*/ 0 h 1"/>
                <a:gd name="T4" fmla="*/ 4 w 5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1">
                  <a:moveTo>
                    <a:pt x="4" y="1"/>
                  </a:moveTo>
                  <a:cubicBezTo>
                    <a:pt x="2" y="1"/>
                    <a:pt x="0" y="0"/>
                    <a:pt x="2" y="0"/>
                  </a:cubicBezTo>
                  <a:cubicBezTo>
                    <a:pt x="3" y="0"/>
                    <a:pt x="5" y="1"/>
                    <a:pt x="4" y="1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33" name="Freeform 784">
              <a:extLst>
                <a:ext uri="{FF2B5EF4-FFF2-40B4-BE49-F238E27FC236}">
                  <a16:creationId xmlns:a16="http://schemas.microsoft.com/office/drawing/2014/main" id="{9EC47DC5-93AA-E167-B17F-908B71B4E6A9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7946" y="1605167"/>
              <a:ext cx="21459" cy="39739"/>
            </a:xfrm>
            <a:custGeom>
              <a:avLst/>
              <a:gdLst>
                <a:gd name="T0" fmla="*/ 2 w 4"/>
                <a:gd name="T1" fmla="*/ 0 h 7"/>
                <a:gd name="T2" fmla="*/ 4 w 4"/>
                <a:gd name="T3" fmla="*/ 7 h 7"/>
                <a:gd name="T4" fmla="*/ 2 w 4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7">
                  <a:moveTo>
                    <a:pt x="2" y="0"/>
                  </a:moveTo>
                  <a:cubicBezTo>
                    <a:pt x="0" y="0"/>
                    <a:pt x="3" y="7"/>
                    <a:pt x="4" y="7"/>
                  </a:cubicBezTo>
                  <a:cubicBezTo>
                    <a:pt x="4" y="7"/>
                    <a:pt x="3" y="0"/>
                    <a:pt x="2" y="0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34" name="Freeform 789">
              <a:extLst>
                <a:ext uri="{FF2B5EF4-FFF2-40B4-BE49-F238E27FC236}">
                  <a16:creationId xmlns:a16="http://schemas.microsoft.com/office/drawing/2014/main" id="{1D4078FE-3AE3-24FD-0ECC-88CDDF6F19FF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3890" y="1960932"/>
              <a:ext cx="21459" cy="34061"/>
            </a:xfrm>
            <a:custGeom>
              <a:avLst/>
              <a:gdLst>
                <a:gd name="T0" fmla="*/ 3 w 4"/>
                <a:gd name="T1" fmla="*/ 2 h 6"/>
                <a:gd name="T2" fmla="*/ 1 w 4"/>
                <a:gd name="T3" fmla="*/ 3 h 6"/>
                <a:gd name="T4" fmla="*/ 3 w 4"/>
                <a:gd name="T5" fmla="*/ 2 h 6"/>
                <a:gd name="T6" fmla="*/ 3 w 4"/>
                <a:gd name="T7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6">
                  <a:moveTo>
                    <a:pt x="3" y="2"/>
                  </a:moveTo>
                  <a:cubicBezTo>
                    <a:pt x="2" y="0"/>
                    <a:pt x="1" y="1"/>
                    <a:pt x="1" y="3"/>
                  </a:cubicBezTo>
                  <a:cubicBezTo>
                    <a:pt x="0" y="6"/>
                    <a:pt x="4" y="4"/>
                    <a:pt x="3" y="2"/>
                  </a:cubicBezTo>
                  <a:cubicBezTo>
                    <a:pt x="3" y="2"/>
                    <a:pt x="4" y="3"/>
                    <a:pt x="3" y="2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35" name="Freeform 790">
              <a:extLst>
                <a:ext uri="{FF2B5EF4-FFF2-40B4-BE49-F238E27FC236}">
                  <a16:creationId xmlns:a16="http://schemas.microsoft.com/office/drawing/2014/main" id="{ADA9A443-040D-7F90-8542-B8CA9096420A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7395" y="1889022"/>
              <a:ext cx="19671" cy="22709"/>
            </a:xfrm>
            <a:custGeom>
              <a:avLst/>
              <a:gdLst>
                <a:gd name="T0" fmla="*/ 4 w 4"/>
                <a:gd name="T1" fmla="*/ 2 h 4"/>
                <a:gd name="T2" fmla="*/ 1 w 4"/>
                <a:gd name="T3" fmla="*/ 1 h 4"/>
                <a:gd name="T4" fmla="*/ 4 w 4"/>
                <a:gd name="T5" fmla="*/ 2 h 4"/>
                <a:gd name="T6" fmla="*/ 4 w 4"/>
                <a:gd name="T7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4" y="2"/>
                  </a:moveTo>
                  <a:cubicBezTo>
                    <a:pt x="3" y="2"/>
                    <a:pt x="1" y="0"/>
                    <a:pt x="1" y="1"/>
                  </a:cubicBezTo>
                  <a:cubicBezTo>
                    <a:pt x="0" y="4"/>
                    <a:pt x="4" y="2"/>
                    <a:pt x="4" y="2"/>
                  </a:cubicBezTo>
                  <a:cubicBezTo>
                    <a:pt x="3" y="2"/>
                    <a:pt x="4" y="2"/>
                    <a:pt x="4" y="2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36" name="Freeform 791">
              <a:extLst>
                <a:ext uri="{FF2B5EF4-FFF2-40B4-BE49-F238E27FC236}">
                  <a16:creationId xmlns:a16="http://schemas.microsoft.com/office/drawing/2014/main" id="{C1EF5A3D-FF34-9A73-8D85-298559CC1D1D}"/>
                </a:ext>
              </a:extLst>
            </p:cNvPr>
            <p:cNvSpPr>
              <a:spLocks/>
            </p:cNvSpPr>
            <p:nvPr/>
          </p:nvSpPr>
          <p:spPr bwMode="auto">
            <a:xfrm>
              <a:off x="5360134" y="1533258"/>
              <a:ext cx="10730" cy="11355"/>
            </a:xfrm>
            <a:custGeom>
              <a:avLst/>
              <a:gdLst>
                <a:gd name="T0" fmla="*/ 2 w 2"/>
                <a:gd name="T1" fmla="*/ 1 h 2"/>
                <a:gd name="T2" fmla="*/ 0 w 2"/>
                <a:gd name="T3" fmla="*/ 2 h 2"/>
                <a:gd name="T4" fmla="*/ 2 w 2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2" y="1"/>
                  </a:moveTo>
                  <a:cubicBezTo>
                    <a:pt x="2" y="0"/>
                    <a:pt x="0" y="1"/>
                    <a:pt x="0" y="2"/>
                  </a:cubicBezTo>
                  <a:cubicBezTo>
                    <a:pt x="1" y="2"/>
                    <a:pt x="2" y="2"/>
                    <a:pt x="2" y="1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37" name="Freeform 792">
              <a:extLst>
                <a:ext uri="{FF2B5EF4-FFF2-40B4-BE49-F238E27FC236}">
                  <a16:creationId xmlns:a16="http://schemas.microsoft.com/office/drawing/2014/main" id="{7AC8533F-BFA1-E76E-DA47-042E2DD4E6D9}"/>
                </a:ext>
              </a:extLst>
            </p:cNvPr>
            <p:cNvSpPr>
              <a:spLocks/>
            </p:cNvSpPr>
            <p:nvPr/>
          </p:nvSpPr>
          <p:spPr bwMode="auto">
            <a:xfrm>
              <a:off x="5317216" y="1472702"/>
              <a:ext cx="16095" cy="9462"/>
            </a:xfrm>
            <a:custGeom>
              <a:avLst/>
              <a:gdLst>
                <a:gd name="T0" fmla="*/ 2 w 3"/>
                <a:gd name="T1" fmla="*/ 0 h 2"/>
                <a:gd name="T2" fmla="*/ 1 w 3"/>
                <a:gd name="T3" fmla="*/ 1 h 2"/>
                <a:gd name="T4" fmla="*/ 2 w 3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2">
                  <a:moveTo>
                    <a:pt x="2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2" y="2"/>
                    <a:pt x="3" y="1"/>
                    <a:pt x="2" y="0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38" name="Freeform 793">
              <a:extLst>
                <a:ext uri="{FF2B5EF4-FFF2-40B4-BE49-F238E27FC236}">
                  <a16:creationId xmlns:a16="http://schemas.microsoft.com/office/drawing/2014/main" id="{89E5D081-BB71-7F11-D2BC-EF9931093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5360134" y="1449993"/>
              <a:ext cx="14306" cy="17033"/>
            </a:xfrm>
            <a:custGeom>
              <a:avLst/>
              <a:gdLst>
                <a:gd name="T0" fmla="*/ 2 w 3"/>
                <a:gd name="T1" fmla="*/ 1 h 3"/>
                <a:gd name="T2" fmla="*/ 1 w 3"/>
                <a:gd name="T3" fmla="*/ 2 h 3"/>
                <a:gd name="T4" fmla="*/ 2 w 3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3">
                  <a:moveTo>
                    <a:pt x="2" y="1"/>
                  </a:moveTo>
                  <a:cubicBezTo>
                    <a:pt x="2" y="0"/>
                    <a:pt x="0" y="1"/>
                    <a:pt x="1" y="2"/>
                  </a:cubicBezTo>
                  <a:cubicBezTo>
                    <a:pt x="1" y="3"/>
                    <a:pt x="3" y="1"/>
                    <a:pt x="2" y="1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39" name="Freeform 794">
              <a:extLst>
                <a:ext uri="{FF2B5EF4-FFF2-40B4-BE49-F238E27FC236}">
                  <a16:creationId xmlns:a16="http://schemas.microsoft.com/office/drawing/2014/main" id="{FF75BB11-8F4C-D602-0E91-4FC36A97CB2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7743" y="1561643"/>
              <a:ext cx="26823" cy="3784"/>
            </a:xfrm>
            <a:custGeom>
              <a:avLst/>
              <a:gdLst>
                <a:gd name="T0" fmla="*/ 5 w 5"/>
                <a:gd name="T1" fmla="*/ 1 h 1"/>
                <a:gd name="T2" fmla="*/ 1 w 5"/>
                <a:gd name="T3" fmla="*/ 0 h 1"/>
                <a:gd name="T4" fmla="*/ 5 w 5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1">
                  <a:moveTo>
                    <a:pt x="5" y="1"/>
                  </a:moveTo>
                  <a:cubicBezTo>
                    <a:pt x="4" y="0"/>
                    <a:pt x="0" y="0"/>
                    <a:pt x="1" y="0"/>
                  </a:cubicBezTo>
                  <a:cubicBezTo>
                    <a:pt x="2" y="1"/>
                    <a:pt x="5" y="1"/>
                    <a:pt x="5" y="1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40" name="Freeform 795">
              <a:extLst>
                <a:ext uri="{FF2B5EF4-FFF2-40B4-BE49-F238E27FC236}">
                  <a16:creationId xmlns:a16="http://schemas.microsoft.com/office/drawing/2014/main" id="{0A74641E-0729-6BD9-BDAF-7A767A2939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9931" y="1561643"/>
              <a:ext cx="32188" cy="0"/>
            </a:xfrm>
            <a:custGeom>
              <a:avLst/>
              <a:gdLst>
                <a:gd name="T0" fmla="*/ 5 w 6"/>
                <a:gd name="T1" fmla="*/ 1 w 6"/>
                <a:gd name="T2" fmla="*/ 5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6">
                  <a:moveTo>
                    <a:pt x="5" y="0"/>
                  </a:moveTo>
                  <a:cubicBezTo>
                    <a:pt x="4" y="0"/>
                    <a:pt x="0" y="0"/>
                    <a:pt x="1" y="0"/>
                  </a:cubicBezTo>
                  <a:cubicBezTo>
                    <a:pt x="2" y="0"/>
                    <a:pt x="6" y="0"/>
                    <a:pt x="5" y="0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41" name="Freeform 796">
              <a:extLst>
                <a:ext uri="{FF2B5EF4-FFF2-40B4-BE49-F238E27FC236}">
                  <a16:creationId xmlns:a16="http://schemas.microsoft.com/office/drawing/2014/main" id="{D3346CD8-AB05-6F6E-EEA8-B8CBF0B88713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574" y="1209665"/>
              <a:ext cx="21459" cy="11355"/>
            </a:xfrm>
            <a:custGeom>
              <a:avLst/>
              <a:gdLst>
                <a:gd name="T0" fmla="*/ 3 w 4"/>
                <a:gd name="T1" fmla="*/ 2 h 2"/>
                <a:gd name="T2" fmla="*/ 2 w 4"/>
                <a:gd name="T3" fmla="*/ 0 h 2"/>
                <a:gd name="T4" fmla="*/ 3 w 4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2">
                  <a:moveTo>
                    <a:pt x="3" y="2"/>
                  </a:moveTo>
                  <a:cubicBezTo>
                    <a:pt x="1" y="2"/>
                    <a:pt x="0" y="0"/>
                    <a:pt x="2" y="0"/>
                  </a:cubicBezTo>
                  <a:cubicBezTo>
                    <a:pt x="3" y="0"/>
                    <a:pt x="4" y="2"/>
                    <a:pt x="3" y="2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42" name="Freeform 776">
              <a:extLst>
                <a:ext uri="{FF2B5EF4-FFF2-40B4-BE49-F238E27FC236}">
                  <a16:creationId xmlns:a16="http://schemas.microsoft.com/office/drawing/2014/main" id="{48813176-9DDD-7DCE-64CF-D17F2F7CB63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7013" y="1160463"/>
              <a:ext cx="1600487" cy="1262207"/>
            </a:xfrm>
            <a:custGeom>
              <a:avLst/>
              <a:gdLst>
                <a:gd name="T0" fmla="*/ 33 w 305"/>
                <a:gd name="T1" fmla="*/ 54 h 227"/>
                <a:gd name="T2" fmla="*/ 1 w 305"/>
                <a:gd name="T3" fmla="*/ 63 h 227"/>
                <a:gd name="T4" fmla="*/ 19 w 305"/>
                <a:gd name="T5" fmla="*/ 72 h 227"/>
                <a:gd name="T6" fmla="*/ 24 w 305"/>
                <a:gd name="T7" fmla="*/ 75 h 227"/>
                <a:gd name="T8" fmla="*/ 20 w 305"/>
                <a:gd name="T9" fmla="*/ 81 h 227"/>
                <a:gd name="T10" fmla="*/ 36 w 305"/>
                <a:gd name="T11" fmla="*/ 86 h 227"/>
                <a:gd name="T12" fmla="*/ 73 w 305"/>
                <a:gd name="T13" fmla="*/ 93 h 227"/>
                <a:gd name="T14" fmla="*/ 87 w 305"/>
                <a:gd name="T15" fmla="*/ 112 h 227"/>
                <a:gd name="T16" fmla="*/ 88 w 305"/>
                <a:gd name="T17" fmla="*/ 122 h 227"/>
                <a:gd name="T18" fmla="*/ 89 w 305"/>
                <a:gd name="T19" fmla="*/ 131 h 227"/>
                <a:gd name="T20" fmla="*/ 104 w 305"/>
                <a:gd name="T21" fmla="*/ 129 h 227"/>
                <a:gd name="T22" fmla="*/ 106 w 305"/>
                <a:gd name="T23" fmla="*/ 135 h 227"/>
                <a:gd name="T24" fmla="*/ 106 w 305"/>
                <a:gd name="T25" fmla="*/ 144 h 227"/>
                <a:gd name="T26" fmla="*/ 109 w 305"/>
                <a:gd name="T27" fmla="*/ 155 h 227"/>
                <a:gd name="T28" fmla="*/ 106 w 305"/>
                <a:gd name="T29" fmla="*/ 160 h 227"/>
                <a:gd name="T30" fmla="*/ 100 w 305"/>
                <a:gd name="T31" fmla="*/ 162 h 227"/>
                <a:gd name="T32" fmla="*/ 112 w 305"/>
                <a:gd name="T33" fmla="*/ 165 h 227"/>
                <a:gd name="T34" fmla="*/ 112 w 305"/>
                <a:gd name="T35" fmla="*/ 169 h 227"/>
                <a:gd name="T36" fmla="*/ 107 w 305"/>
                <a:gd name="T37" fmla="*/ 172 h 227"/>
                <a:gd name="T38" fmla="*/ 107 w 305"/>
                <a:gd name="T39" fmla="*/ 180 h 227"/>
                <a:gd name="T40" fmla="*/ 110 w 305"/>
                <a:gd name="T41" fmla="*/ 192 h 227"/>
                <a:gd name="T42" fmla="*/ 114 w 305"/>
                <a:gd name="T43" fmla="*/ 193 h 227"/>
                <a:gd name="T44" fmla="*/ 120 w 305"/>
                <a:gd name="T45" fmla="*/ 210 h 227"/>
                <a:gd name="T46" fmla="*/ 138 w 305"/>
                <a:gd name="T47" fmla="*/ 219 h 227"/>
                <a:gd name="T48" fmla="*/ 142 w 305"/>
                <a:gd name="T49" fmla="*/ 224 h 227"/>
                <a:gd name="T50" fmla="*/ 151 w 305"/>
                <a:gd name="T51" fmla="*/ 214 h 227"/>
                <a:gd name="T52" fmla="*/ 156 w 305"/>
                <a:gd name="T53" fmla="*/ 200 h 227"/>
                <a:gd name="T54" fmla="*/ 163 w 305"/>
                <a:gd name="T55" fmla="*/ 192 h 227"/>
                <a:gd name="T56" fmla="*/ 173 w 305"/>
                <a:gd name="T57" fmla="*/ 179 h 227"/>
                <a:gd name="T58" fmla="*/ 193 w 305"/>
                <a:gd name="T59" fmla="*/ 173 h 227"/>
                <a:gd name="T60" fmla="*/ 216 w 305"/>
                <a:gd name="T61" fmla="*/ 160 h 227"/>
                <a:gd name="T62" fmla="*/ 232 w 305"/>
                <a:gd name="T63" fmla="*/ 142 h 227"/>
                <a:gd name="T64" fmla="*/ 234 w 305"/>
                <a:gd name="T65" fmla="*/ 130 h 227"/>
                <a:gd name="T66" fmla="*/ 253 w 305"/>
                <a:gd name="T67" fmla="*/ 129 h 227"/>
                <a:gd name="T68" fmla="*/ 233 w 305"/>
                <a:gd name="T69" fmla="*/ 119 h 227"/>
                <a:gd name="T70" fmla="*/ 238 w 305"/>
                <a:gd name="T71" fmla="*/ 113 h 227"/>
                <a:gd name="T72" fmla="*/ 262 w 305"/>
                <a:gd name="T73" fmla="*/ 112 h 227"/>
                <a:gd name="T74" fmla="*/ 258 w 305"/>
                <a:gd name="T75" fmla="*/ 106 h 227"/>
                <a:gd name="T76" fmla="*/ 266 w 305"/>
                <a:gd name="T77" fmla="*/ 95 h 227"/>
                <a:gd name="T78" fmla="*/ 253 w 305"/>
                <a:gd name="T79" fmla="*/ 80 h 227"/>
                <a:gd name="T80" fmla="*/ 263 w 305"/>
                <a:gd name="T81" fmla="*/ 66 h 227"/>
                <a:gd name="T82" fmla="*/ 268 w 305"/>
                <a:gd name="T83" fmla="*/ 51 h 227"/>
                <a:gd name="T84" fmla="*/ 283 w 305"/>
                <a:gd name="T85" fmla="*/ 38 h 227"/>
                <a:gd name="T86" fmla="*/ 291 w 305"/>
                <a:gd name="T87" fmla="*/ 33 h 227"/>
                <a:gd name="T88" fmla="*/ 259 w 305"/>
                <a:gd name="T89" fmla="*/ 28 h 227"/>
                <a:gd name="T90" fmla="*/ 238 w 305"/>
                <a:gd name="T91" fmla="*/ 21 h 227"/>
                <a:gd name="T92" fmla="*/ 256 w 305"/>
                <a:gd name="T93" fmla="*/ 14 h 227"/>
                <a:gd name="T94" fmla="*/ 206 w 305"/>
                <a:gd name="T95" fmla="*/ 8 h 227"/>
                <a:gd name="T96" fmla="*/ 213 w 305"/>
                <a:gd name="T97" fmla="*/ 0 h 227"/>
                <a:gd name="T98" fmla="*/ 173 w 305"/>
                <a:gd name="T99" fmla="*/ 8 h 227"/>
                <a:gd name="T100" fmla="*/ 155 w 305"/>
                <a:gd name="T101" fmla="*/ 10 h 227"/>
                <a:gd name="T102" fmla="*/ 154 w 305"/>
                <a:gd name="T103" fmla="*/ 11 h 227"/>
                <a:gd name="T104" fmla="*/ 140 w 305"/>
                <a:gd name="T105" fmla="*/ 14 h 227"/>
                <a:gd name="T106" fmla="*/ 111 w 305"/>
                <a:gd name="T107" fmla="*/ 14 h 227"/>
                <a:gd name="T108" fmla="*/ 98 w 305"/>
                <a:gd name="T109" fmla="*/ 23 h 227"/>
                <a:gd name="T110" fmla="*/ 73 w 305"/>
                <a:gd name="T111" fmla="*/ 21 h 227"/>
                <a:gd name="T112" fmla="*/ 55 w 305"/>
                <a:gd name="T113" fmla="*/ 30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05" h="227">
                  <a:moveTo>
                    <a:pt x="32" y="37"/>
                  </a:moveTo>
                  <a:cubicBezTo>
                    <a:pt x="31" y="38"/>
                    <a:pt x="26" y="40"/>
                    <a:pt x="27" y="41"/>
                  </a:cubicBezTo>
                  <a:cubicBezTo>
                    <a:pt x="28" y="42"/>
                    <a:pt x="30" y="42"/>
                    <a:pt x="32" y="43"/>
                  </a:cubicBezTo>
                  <a:cubicBezTo>
                    <a:pt x="34" y="43"/>
                    <a:pt x="36" y="43"/>
                    <a:pt x="39" y="43"/>
                  </a:cubicBezTo>
                  <a:cubicBezTo>
                    <a:pt x="39" y="43"/>
                    <a:pt x="44" y="42"/>
                    <a:pt x="45" y="42"/>
                  </a:cubicBezTo>
                  <a:cubicBezTo>
                    <a:pt x="44" y="42"/>
                    <a:pt x="42" y="43"/>
                    <a:pt x="41" y="44"/>
                  </a:cubicBezTo>
                  <a:cubicBezTo>
                    <a:pt x="40" y="45"/>
                    <a:pt x="39" y="46"/>
                    <a:pt x="40" y="48"/>
                  </a:cubicBezTo>
                  <a:cubicBezTo>
                    <a:pt x="42" y="50"/>
                    <a:pt x="36" y="55"/>
                    <a:pt x="33" y="54"/>
                  </a:cubicBezTo>
                  <a:cubicBezTo>
                    <a:pt x="32" y="53"/>
                    <a:pt x="30" y="54"/>
                    <a:pt x="28" y="54"/>
                  </a:cubicBezTo>
                  <a:cubicBezTo>
                    <a:pt x="27" y="53"/>
                    <a:pt x="25" y="54"/>
                    <a:pt x="24" y="54"/>
                  </a:cubicBezTo>
                  <a:cubicBezTo>
                    <a:pt x="23" y="54"/>
                    <a:pt x="21" y="54"/>
                    <a:pt x="20" y="56"/>
                  </a:cubicBezTo>
                  <a:cubicBezTo>
                    <a:pt x="19" y="57"/>
                    <a:pt x="18" y="57"/>
                    <a:pt x="16" y="57"/>
                  </a:cubicBezTo>
                  <a:cubicBezTo>
                    <a:pt x="13" y="58"/>
                    <a:pt x="10" y="59"/>
                    <a:pt x="7" y="59"/>
                  </a:cubicBezTo>
                  <a:cubicBezTo>
                    <a:pt x="6" y="59"/>
                    <a:pt x="4" y="58"/>
                    <a:pt x="4" y="59"/>
                  </a:cubicBezTo>
                  <a:cubicBezTo>
                    <a:pt x="3" y="60"/>
                    <a:pt x="0" y="60"/>
                    <a:pt x="0" y="62"/>
                  </a:cubicBezTo>
                  <a:cubicBezTo>
                    <a:pt x="0" y="63"/>
                    <a:pt x="1" y="62"/>
                    <a:pt x="1" y="63"/>
                  </a:cubicBezTo>
                  <a:cubicBezTo>
                    <a:pt x="1" y="63"/>
                    <a:pt x="0" y="64"/>
                    <a:pt x="0" y="64"/>
                  </a:cubicBezTo>
                  <a:cubicBezTo>
                    <a:pt x="0" y="65"/>
                    <a:pt x="2" y="67"/>
                    <a:pt x="3" y="68"/>
                  </a:cubicBezTo>
                  <a:cubicBezTo>
                    <a:pt x="3" y="68"/>
                    <a:pt x="4" y="67"/>
                    <a:pt x="4" y="67"/>
                  </a:cubicBezTo>
                  <a:cubicBezTo>
                    <a:pt x="5" y="66"/>
                    <a:pt x="6" y="67"/>
                    <a:pt x="7" y="68"/>
                  </a:cubicBezTo>
                  <a:cubicBezTo>
                    <a:pt x="8" y="68"/>
                    <a:pt x="13" y="69"/>
                    <a:pt x="13" y="67"/>
                  </a:cubicBezTo>
                  <a:cubicBezTo>
                    <a:pt x="13" y="68"/>
                    <a:pt x="12" y="68"/>
                    <a:pt x="13" y="69"/>
                  </a:cubicBezTo>
                  <a:cubicBezTo>
                    <a:pt x="13" y="70"/>
                    <a:pt x="15" y="71"/>
                    <a:pt x="16" y="71"/>
                  </a:cubicBezTo>
                  <a:cubicBezTo>
                    <a:pt x="17" y="72"/>
                    <a:pt x="18" y="72"/>
                    <a:pt x="19" y="72"/>
                  </a:cubicBezTo>
                  <a:cubicBezTo>
                    <a:pt x="21" y="72"/>
                    <a:pt x="21" y="70"/>
                    <a:pt x="22" y="71"/>
                  </a:cubicBezTo>
                  <a:cubicBezTo>
                    <a:pt x="24" y="71"/>
                    <a:pt x="27" y="71"/>
                    <a:pt x="28" y="71"/>
                  </a:cubicBezTo>
                  <a:cubicBezTo>
                    <a:pt x="29" y="71"/>
                    <a:pt x="29" y="70"/>
                    <a:pt x="30" y="69"/>
                  </a:cubicBezTo>
                  <a:cubicBezTo>
                    <a:pt x="31" y="69"/>
                    <a:pt x="34" y="71"/>
                    <a:pt x="34" y="72"/>
                  </a:cubicBezTo>
                  <a:cubicBezTo>
                    <a:pt x="34" y="73"/>
                    <a:pt x="24" y="72"/>
                    <a:pt x="22" y="73"/>
                  </a:cubicBezTo>
                  <a:cubicBezTo>
                    <a:pt x="20" y="73"/>
                    <a:pt x="23" y="74"/>
                    <a:pt x="24" y="74"/>
                  </a:cubicBezTo>
                  <a:cubicBezTo>
                    <a:pt x="26" y="75"/>
                    <a:pt x="27" y="74"/>
                    <a:pt x="29" y="75"/>
                  </a:cubicBezTo>
                  <a:cubicBezTo>
                    <a:pt x="28" y="74"/>
                    <a:pt x="26" y="75"/>
                    <a:pt x="24" y="75"/>
                  </a:cubicBezTo>
                  <a:cubicBezTo>
                    <a:pt x="21" y="75"/>
                    <a:pt x="18" y="74"/>
                    <a:pt x="15" y="74"/>
                  </a:cubicBezTo>
                  <a:cubicBezTo>
                    <a:pt x="13" y="74"/>
                    <a:pt x="9" y="74"/>
                    <a:pt x="9" y="76"/>
                  </a:cubicBezTo>
                  <a:cubicBezTo>
                    <a:pt x="8" y="77"/>
                    <a:pt x="11" y="78"/>
                    <a:pt x="12" y="78"/>
                  </a:cubicBezTo>
                  <a:cubicBezTo>
                    <a:pt x="13" y="78"/>
                    <a:pt x="15" y="77"/>
                    <a:pt x="15" y="77"/>
                  </a:cubicBezTo>
                  <a:cubicBezTo>
                    <a:pt x="16" y="78"/>
                    <a:pt x="15" y="78"/>
                    <a:pt x="15" y="79"/>
                  </a:cubicBezTo>
                  <a:cubicBezTo>
                    <a:pt x="16" y="80"/>
                    <a:pt x="18" y="80"/>
                    <a:pt x="19" y="80"/>
                  </a:cubicBezTo>
                  <a:cubicBezTo>
                    <a:pt x="21" y="80"/>
                    <a:pt x="23" y="80"/>
                    <a:pt x="25" y="80"/>
                  </a:cubicBezTo>
                  <a:cubicBezTo>
                    <a:pt x="25" y="80"/>
                    <a:pt x="21" y="81"/>
                    <a:pt x="20" y="81"/>
                  </a:cubicBezTo>
                  <a:cubicBezTo>
                    <a:pt x="16" y="82"/>
                    <a:pt x="19" y="84"/>
                    <a:pt x="21" y="85"/>
                  </a:cubicBezTo>
                  <a:cubicBezTo>
                    <a:pt x="23" y="86"/>
                    <a:pt x="25" y="86"/>
                    <a:pt x="27" y="87"/>
                  </a:cubicBezTo>
                  <a:cubicBezTo>
                    <a:pt x="27" y="87"/>
                    <a:pt x="31" y="87"/>
                    <a:pt x="31" y="87"/>
                  </a:cubicBezTo>
                  <a:cubicBezTo>
                    <a:pt x="31" y="87"/>
                    <a:pt x="29" y="86"/>
                    <a:pt x="29" y="85"/>
                  </a:cubicBezTo>
                  <a:cubicBezTo>
                    <a:pt x="29" y="84"/>
                    <a:pt x="31" y="85"/>
                    <a:pt x="31" y="85"/>
                  </a:cubicBezTo>
                  <a:cubicBezTo>
                    <a:pt x="32" y="86"/>
                    <a:pt x="33" y="85"/>
                    <a:pt x="34" y="84"/>
                  </a:cubicBezTo>
                  <a:cubicBezTo>
                    <a:pt x="34" y="84"/>
                    <a:pt x="35" y="83"/>
                    <a:pt x="36" y="83"/>
                  </a:cubicBezTo>
                  <a:cubicBezTo>
                    <a:pt x="37" y="84"/>
                    <a:pt x="36" y="86"/>
                    <a:pt x="36" y="86"/>
                  </a:cubicBezTo>
                  <a:cubicBezTo>
                    <a:pt x="37" y="87"/>
                    <a:pt x="40" y="85"/>
                    <a:pt x="41" y="85"/>
                  </a:cubicBezTo>
                  <a:cubicBezTo>
                    <a:pt x="43" y="84"/>
                    <a:pt x="43" y="84"/>
                    <a:pt x="44" y="85"/>
                  </a:cubicBezTo>
                  <a:cubicBezTo>
                    <a:pt x="45" y="86"/>
                    <a:pt x="46" y="84"/>
                    <a:pt x="47" y="84"/>
                  </a:cubicBezTo>
                  <a:cubicBezTo>
                    <a:pt x="48" y="83"/>
                    <a:pt x="50" y="84"/>
                    <a:pt x="51" y="84"/>
                  </a:cubicBezTo>
                  <a:cubicBezTo>
                    <a:pt x="54" y="84"/>
                    <a:pt x="58" y="85"/>
                    <a:pt x="61" y="86"/>
                  </a:cubicBezTo>
                  <a:cubicBezTo>
                    <a:pt x="63" y="86"/>
                    <a:pt x="65" y="88"/>
                    <a:pt x="67" y="88"/>
                  </a:cubicBezTo>
                  <a:cubicBezTo>
                    <a:pt x="69" y="88"/>
                    <a:pt x="71" y="89"/>
                    <a:pt x="72" y="90"/>
                  </a:cubicBezTo>
                  <a:cubicBezTo>
                    <a:pt x="74" y="91"/>
                    <a:pt x="73" y="92"/>
                    <a:pt x="73" y="93"/>
                  </a:cubicBezTo>
                  <a:cubicBezTo>
                    <a:pt x="73" y="94"/>
                    <a:pt x="75" y="96"/>
                    <a:pt x="76" y="96"/>
                  </a:cubicBezTo>
                  <a:cubicBezTo>
                    <a:pt x="77" y="97"/>
                    <a:pt x="79" y="96"/>
                    <a:pt x="80" y="97"/>
                  </a:cubicBezTo>
                  <a:cubicBezTo>
                    <a:pt x="80" y="99"/>
                    <a:pt x="82" y="100"/>
                    <a:pt x="83" y="101"/>
                  </a:cubicBezTo>
                  <a:cubicBezTo>
                    <a:pt x="84" y="102"/>
                    <a:pt x="83" y="104"/>
                    <a:pt x="84" y="105"/>
                  </a:cubicBezTo>
                  <a:cubicBezTo>
                    <a:pt x="84" y="106"/>
                    <a:pt x="86" y="107"/>
                    <a:pt x="86" y="109"/>
                  </a:cubicBezTo>
                  <a:cubicBezTo>
                    <a:pt x="86" y="110"/>
                    <a:pt x="85" y="110"/>
                    <a:pt x="86" y="111"/>
                  </a:cubicBezTo>
                  <a:cubicBezTo>
                    <a:pt x="86" y="111"/>
                    <a:pt x="87" y="112"/>
                    <a:pt x="87" y="112"/>
                  </a:cubicBezTo>
                  <a:cubicBezTo>
                    <a:pt x="87" y="112"/>
                    <a:pt x="87" y="112"/>
                    <a:pt x="87" y="112"/>
                  </a:cubicBezTo>
                  <a:cubicBezTo>
                    <a:pt x="88" y="111"/>
                    <a:pt x="90" y="113"/>
                    <a:pt x="89" y="114"/>
                  </a:cubicBezTo>
                  <a:cubicBezTo>
                    <a:pt x="88" y="115"/>
                    <a:pt x="88" y="115"/>
                    <a:pt x="88" y="117"/>
                  </a:cubicBezTo>
                  <a:cubicBezTo>
                    <a:pt x="88" y="116"/>
                    <a:pt x="90" y="115"/>
                    <a:pt x="91" y="117"/>
                  </a:cubicBezTo>
                  <a:cubicBezTo>
                    <a:pt x="91" y="118"/>
                    <a:pt x="91" y="118"/>
                    <a:pt x="91" y="119"/>
                  </a:cubicBezTo>
                  <a:cubicBezTo>
                    <a:pt x="91" y="119"/>
                    <a:pt x="91" y="121"/>
                    <a:pt x="91" y="120"/>
                  </a:cubicBezTo>
                  <a:cubicBezTo>
                    <a:pt x="91" y="121"/>
                    <a:pt x="93" y="121"/>
                    <a:pt x="93" y="121"/>
                  </a:cubicBezTo>
                  <a:cubicBezTo>
                    <a:pt x="92" y="120"/>
                    <a:pt x="89" y="126"/>
                    <a:pt x="90" y="122"/>
                  </a:cubicBezTo>
                  <a:cubicBezTo>
                    <a:pt x="90" y="122"/>
                    <a:pt x="88" y="121"/>
                    <a:pt x="88" y="122"/>
                  </a:cubicBezTo>
                  <a:cubicBezTo>
                    <a:pt x="88" y="122"/>
                    <a:pt x="89" y="122"/>
                    <a:pt x="89" y="122"/>
                  </a:cubicBezTo>
                  <a:cubicBezTo>
                    <a:pt x="89" y="123"/>
                    <a:pt x="86" y="123"/>
                    <a:pt x="87" y="124"/>
                  </a:cubicBezTo>
                  <a:cubicBezTo>
                    <a:pt x="87" y="124"/>
                    <a:pt x="90" y="125"/>
                    <a:pt x="89" y="125"/>
                  </a:cubicBezTo>
                  <a:cubicBezTo>
                    <a:pt x="87" y="127"/>
                    <a:pt x="91" y="127"/>
                    <a:pt x="92" y="126"/>
                  </a:cubicBezTo>
                  <a:cubicBezTo>
                    <a:pt x="91" y="127"/>
                    <a:pt x="90" y="127"/>
                    <a:pt x="88" y="127"/>
                  </a:cubicBezTo>
                  <a:cubicBezTo>
                    <a:pt x="88" y="127"/>
                    <a:pt x="86" y="129"/>
                    <a:pt x="86" y="129"/>
                  </a:cubicBezTo>
                  <a:cubicBezTo>
                    <a:pt x="86" y="129"/>
                    <a:pt x="87" y="130"/>
                    <a:pt x="87" y="130"/>
                  </a:cubicBezTo>
                  <a:cubicBezTo>
                    <a:pt x="89" y="131"/>
                    <a:pt x="88" y="131"/>
                    <a:pt x="89" y="131"/>
                  </a:cubicBezTo>
                  <a:cubicBezTo>
                    <a:pt x="90" y="131"/>
                    <a:pt x="94" y="133"/>
                    <a:pt x="95" y="131"/>
                  </a:cubicBezTo>
                  <a:cubicBezTo>
                    <a:pt x="95" y="128"/>
                    <a:pt x="97" y="129"/>
                    <a:pt x="98" y="128"/>
                  </a:cubicBezTo>
                  <a:cubicBezTo>
                    <a:pt x="98" y="128"/>
                    <a:pt x="96" y="122"/>
                    <a:pt x="96" y="122"/>
                  </a:cubicBezTo>
                  <a:cubicBezTo>
                    <a:pt x="96" y="123"/>
                    <a:pt x="98" y="126"/>
                    <a:pt x="98" y="126"/>
                  </a:cubicBezTo>
                  <a:cubicBezTo>
                    <a:pt x="99" y="128"/>
                    <a:pt x="100" y="126"/>
                    <a:pt x="101" y="126"/>
                  </a:cubicBezTo>
                  <a:cubicBezTo>
                    <a:pt x="101" y="126"/>
                    <a:pt x="98" y="130"/>
                    <a:pt x="98" y="130"/>
                  </a:cubicBezTo>
                  <a:cubicBezTo>
                    <a:pt x="98" y="130"/>
                    <a:pt x="102" y="129"/>
                    <a:pt x="102" y="129"/>
                  </a:cubicBezTo>
                  <a:cubicBezTo>
                    <a:pt x="103" y="129"/>
                    <a:pt x="104" y="129"/>
                    <a:pt x="104" y="129"/>
                  </a:cubicBezTo>
                  <a:cubicBezTo>
                    <a:pt x="105" y="129"/>
                    <a:pt x="106" y="128"/>
                    <a:pt x="107" y="128"/>
                  </a:cubicBezTo>
                  <a:cubicBezTo>
                    <a:pt x="107" y="129"/>
                    <a:pt x="106" y="130"/>
                    <a:pt x="105" y="130"/>
                  </a:cubicBezTo>
                  <a:cubicBezTo>
                    <a:pt x="104" y="130"/>
                    <a:pt x="102" y="130"/>
                    <a:pt x="101" y="131"/>
                  </a:cubicBezTo>
                  <a:cubicBezTo>
                    <a:pt x="100" y="132"/>
                    <a:pt x="103" y="131"/>
                    <a:pt x="103" y="131"/>
                  </a:cubicBezTo>
                  <a:cubicBezTo>
                    <a:pt x="105" y="131"/>
                    <a:pt x="107" y="131"/>
                    <a:pt x="109" y="131"/>
                  </a:cubicBezTo>
                  <a:cubicBezTo>
                    <a:pt x="108" y="131"/>
                    <a:pt x="104" y="131"/>
                    <a:pt x="104" y="132"/>
                  </a:cubicBezTo>
                  <a:cubicBezTo>
                    <a:pt x="104" y="132"/>
                    <a:pt x="106" y="133"/>
                    <a:pt x="106" y="134"/>
                  </a:cubicBezTo>
                  <a:cubicBezTo>
                    <a:pt x="106" y="134"/>
                    <a:pt x="106" y="135"/>
                    <a:pt x="106" y="135"/>
                  </a:cubicBezTo>
                  <a:cubicBezTo>
                    <a:pt x="106" y="136"/>
                    <a:pt x="105" y="136"/>
                    <a:pt x="106" y="137"/>
                  </a:cubicBezTo>
                  <a:cubicBezTo>
                    <a:pt x="106" y="137"/>
                    <a:pt x="108" y="136"/>
                    <a:pt x="109" y="136"/>
                  </a:cubicBezTo>
                  <a:cubicBezTo>
                    <a:pt x="110" y="136"/>
                    <a:pt x="109" y="136"/>
                    <a:pt x="110" y="137"/>
                  </a:cubicBezTo>
                  <a:cubicBezTo>
                    <a:pt x="111" y="138"/>
                    <a:pt x="111" y="139"/>
                    <a:pt x="112" y="140"/>
                  </a:cubicBezTo>
                  <a:cubicBezTo>
                    <a:pt x="112" y="141"/>
                    <a:pt x="109" y="141"/>
                    <a:pt x="109" y="141"/>
                  </a:cubicBezTo>
                  <a:cubicBezTo>
                    <a:pt x="105" y="138"/>
                    <a:pt x="99" y="136"/>
                    <a:pt x="95" y="137"/>
                  </a:cubicBezTo>
                  <a:cubicBezTo>
                    <a:pt x="91" y="137"/>
                    <a:pt x="96" y="140"/>
                    <a:pt x="98" y="140"/>
                  </a:cubicBezTo>
                  <a:cubicBezTo>
                    <a:pt x="101" y="141"/>
                    <a:pt x="103" y="144"/>
                    <a:pt x="106" y="144"/>
                  </a:cubicBezTo>
                  <a:cubicBezTo>
                    <a:pt x="107" y="144"/>
                    <a:pt x="108" y="143"/>
                    <a:pt x="110" y="143"/>
                  </a:cubicBezTo>
                  <a:cubicBezTo>
                    <a:pt x="110" y="144"/>
                    <a:pt x="113" y="144"/>
                    <a:pt x="113" y="144"/>
                  </a:cubicBezTo>
                  <a:cubicBezTo>
                    <a:pt x="114" y="145"/>
                    <a:pt x="113" y="146"/>
                    <a:pt x="113" y="146"/>
                  </a:cubicBezTo>
                  <a:cubicBezTo>
                    <a:pt x="110" y="147"/>
                    <a:pt x="114" y="148"/>
                    <a:pt x="113" y="149"/>
                  </a:cubicBezTo>
                  <a:cubicBezTo>
                    <a:pt x="113" y="150"/>
                    <a:pt x="111" y="149"/>
                    <a:pt x="111" y="151"/>
                  </a:cubicBezTo>
                  <a:cubicBezTo>
                    <a:pt x="111" y="152"/>
                    <a:pt x="113" y="152"/>
                    <a:pt x="113" y="152"/>
                  </a:cubicBezTo>
                  <a:cubicBezTo>
                    <a:pt x="112" y="153"/>
                    <a:pt x="110" y="151"/>
                    <a:pt x="110" y="152"/>
                  </a:cubicBezTo>
                  <a:cubicBezTo>
                    <a:pt x="109" y="153"/>
                    <a:pt x="109" y="154"/>
                    <a:pt x="109" y="155"/>
                  </a:cubicBezTo>
                  <a:cubicBezTo>
                    <a:pt x="109" y="155"/>
                    <a:pt x="111" y="155"/>
                    <a:pt x="111" y="155"/>
                  </a:cubicBezTo>
                  <a:cubicBezTo>
                    <a:pt x="111" y="156"/>
                    <a:pt x="109" y="157"/>
                    <a:pt x="108" y="157"/>
                  </a:cubicBezTo>
                  <a:cubicBezTo>
                    <a:pt x="107" y="157"/>
                    <a:pt x="106" y="157"/>
                    <a:pt x="105" y="157"/>
                  </a:cubicBezTo>
                  <a:cubicBezTo>
                    <a:pt x="104" y="156"/>
                    <a:pt x="103" y="156"/>
                    <a:pt x="102" y="157"/>
                  </a:cubicBezTo>
                  <a:cubicBezTo>
                    <a:pt x="101" y="158"/>
                    <a:pt x="101" y="157"/>
                    <a:pt x="100" y="158"/>
                  </a:cubicBezTo>
                  <a:cubicBezTo>
                    <a:pt x="100" y="158"/>
                    <a:pt x="103" y="161"/>
                    <a:pt x="104" y="161"/>
                  </a:cubicBezTo>
                  <a:cubicBezTo>
                    <a:pt x="104" y="160"/>
                    <a:pt x="104" y="160"/>
                    <a:pt x="103" y="160"/>
                  </a:cubicBezTo>
                  <a:cubicBezTo>
                    <a:pt x="103" y="160"/>
                    <a:pt x="106" y="160"/>
                    <a:pt x="106" y="160"/>
                  </a:cubicBezTo>
                  <a:cubicBezTo>
                    <a:pt x="106" y="160"/>
                    <a:pt x="111" y="158"/>
                    <a:pt x="111" y="159"/>
                  </a:cubicBezTo>
                  <a:cubicBezTo>
                    <a:pt x="110" y="159"/>
                    <a:pt x="109" y="159"/>
                    <a:pt x="108" y="160"/>
                  </a:cubicBezTo>
                  <a:cubicBezTo>
                    <a:pt x="109" y="159"/>
                    <a:pt x="111" y="161"/>
                    <a:pt x="110" y="161"/>
                  </a:cubicBezTo>
                  <a:cubicBezTo>
                    <a:pt x="111" y="161"/>
                    <a:pt x="114" y="162"/>
                    <a:pt x="115" y="162"/>
                  </a:cubicBezTo>
                  <a:cubicBezTo>
                    <a:pt x="114" y="162"/>
                    <a:pt x="112" y="162"/>
                    <a:pt x="112" y="162"/>
                  </a:cubicBezTo>
                  <a:cubicBezTo>
                    <a:pt x="112" y="162"/>
                    <a:pt x="116" y="165"/>
                    <a:pt x="116" y="165"/>
                  </a:cubicBezTo>
                  <a:cubicBezTo>
                    <a:pt x="113" y="165"/>
                    <a:pt x="111" y="161"/>
                    <a:pt x="108" y="161"/>
                  </a:cubicBezTo>
                  <a:cubicBezTo>
                    <a:pt x="106" y="161"/>
                    <a:pt x="101" y="160"/>
                    <a:pt x="100" y="162"/>
                  </a:cubicBezTo>
                  <a:cubicBezTo>
                    <a:pt x="100" y="163"/>
                    <a:pt x="99" y="163"/>
                    <a:pt x="98" y="164"/>
                  </a:cubicBezTo>
                  <a:cubicBezTo>
                    <a:pt x="97" y="164"/>
                    <a:pt x="97" y="166"/>
                    <a:pt x="98" y="165"/>
                  </a:cubicBezTo>
                  <a:cubicBezTo>
                    <a:pt x="100" y="165"/>
                    <a:pt x="102" y="164"/>
                    <a:pt x="103" y="162"/>
                  </a:cubicBezTo>
                  <a:cubicBezTo>
                    <a:pt x="103" y="163"/>
                    <a:pt x="105" y="163"/>
                    <a:pt x="105" y="163"/>
                  </a:cubicBezTo>
                  <a:cubicBezTo>
                    <a:pt x="106" y="163"/>
                    <a:pt x="108" y="166"/>
                    <a:pt x="108" y="163"/>
                  </a:cubicBezTo>
                  <a:cubicBezTo>
                    <a:pt x="108" y="162"/>
                    <a:pt x="110" y="164"/>
                    <a:pt x="110" y="164"/>
                  </a:cubicBezTo>
                  <a:cubicBezTo>
                    <a:pt x="110" y="164"/>
                    <a:pt x="114" y="164"/>
                    <a:pt x="113" y="165"/>
                  </a:cubicBezTo>
                  <a:cubicBezTo>
                    <a:pt x="113" y="165"/>
                    <a:pt x="112" y="165"/>
                    <a:pt x="112" y="165"/>
                  </a:cubicBezTo>
                  <a:cubicBezTo>
                    <a:pt x="112" y="165"/>
                    <a:pt x="114" y="166"/>
                    <a:pt x="114" y="166"/>
                  </a:cubicBezTo>
                  <a:cubicBezTo>
                    <a:pt x="113" y="166"/>
                    <a:pt x="111" y="166"/>
                    <a:pt x="110" y="165"/>
                  </a:cubicBezTo>
                  <a:cubicBezTo>
                    <a:pt x="109" y="164"/>
                    <a:pt x="109" y="165"/>
                    <a:pt x="109" y="166"/>
                  </a:cubicBezTo>
                  <a:cubicBezTo>
                    <a:pt x="109" y="165"/>
                    <a:pt x="103" y="164"/>
                    <a:pt x="102" y="164"/>
                  </a:cubicBezTo>
                  <a:cubicBezTo>
                    <a:pt x="101" y="164"/>
                    <a:pt x="95" y="166"/>
                    <a:pt x="96" y="168"/>
                  </a:cubicBezTo>
                  <a:cubicBezTo>
                    <a:pt x="97" y="169"/>
                    <a:pt x="103" y="167"/>
                    <a:pt x="104" y="167"/>
                  </a:cubicBezTo>
                  <a:cubicBezTo>
                    <a:pt x="105" y="167"/>
                    <a:pt x="107" y="167"/>
                    <a:pt x="108" y="168"/>
                  </a:cubicBezTo>
                  <a:cubicBezTo>
                    <a:pt x="108" y="168"/>
                    <a:pt x="112" y="169"/>
                    <a:pt x="112" y="169"/>
                  </a:cubicBezTo>
                  <a:cubicBezTo>
                    <a:pt x="112" y="170"/>
                    <a:pt x="107" y="168"/>
                    <a:pt x="107" y="168"/>
                  </a:cubicBezTo>
                  <a:cubicBezTo>
                    <a:pt x="105" y="167"/>
                    <a:pt x="102" y="168"/>
                    <a:pt x="100" y="168"/>
                  </a:cubicBezTo>
                  <a:cubicBezTo>
                    <a:pt x="93" y="170"/>
                    <a:pt x="101" y="172"/>
                    <a:pt x="103" y="171"/>
                  </a:cubicBezTo>
                  <a:cubicBezTo>
                    <a:pt x="102" y="172"/>
                    <a:pt x="101" y="173"/>
                    <a:pt x="99" y="173"/>
                  </a:cubicBezTo>
                  <a:cubicBezTo>
                    <a:pt x="96" y="174"/>
                    <a:pt x="101" y="175"/>
                    <a:pt x="101" y="175"/>
                  </a:cubicBezTo>
                  <a:cubicBezTo>
                    <a:pt x="101" y="175"/>
                    <a:pt x="97" y="174"/>
                    <a:pt x="97" y="176"/>
                  </a:cubicBezTo>
                  <a:cubicBezTo>
                    <a:pt x="97" y="179"/>
                    <a:pt x="99" y="177"/>
                    <a:pt x="101" y="176"/>
                  </a:cubicBezTo>
                  <a:cubicBezTo>
                    <a:pt x="103" y="175"/>
                    <a:pt x="105" y="173"/>
                    <a:pt x="107" y="172"/>
                  </a:cubicBezTo>
                  <a:cubicBezTo>
                    <a:pt x="108" y="172"/>
                    <a:pt x="114" y="169"/>
                    <a:pt x="114" y="171"/>
                  </a:cubicBezTo>
                  <a:cubicBezTo>
                    <a:pt x="114" y="171"/>
                    <a:pt x="111" y="171"/>
                    <a:pt x="111" y="171"/>
                  </a:cubicBezTo>
                  <a:cubicBezTo>
                    <a:pt x="111" y="171"/>
                    <a:pt x="113" y="171"/>
                    <a:pt x="114" y="172"/>
                  </a:cubicBezTo>
                  <a:cubicBezTo>
                    <a:pt x="111" y="170"/>
                    <a:pt x="98" y="178"/>
                    <a:pt x="99" y="179"/>
                  </a:cubicBezTo>
                  <a:cubicBezTo>
                    <a:pt x="99" y="180"/>
                    <a:pt x="105" y="178"/>
                    <a:pt x="106" y="178"/>
                  </a:cubicBezTo>
                  <a:cubicBezTo>
                    <a:pt x="106" y="178"/>
                    <a:pt x="102" y="179"/>
                    <a:pt x="101" y="180"/>
                  </a:cubicBezTo>
                  <a:cubicBezTo>
                    <a:pt x="101" y="180"/>
                    <a:pt x="103" y="184"/>
                    <a:pt x="104" y="183"/>
                  </a:cubicBezTo>
                  <a:cubicBezTo>
                    <a:pt x="105" y="182"/>
                    <a:pt x="106" y="180"/>
                    <a:pt x="107" y="180"/>
                  </a:cubicBezTo>
                  <a:cubicBezTo>
                    <a:pt x="108" y="180"/>
                    <a:pt x="112" y="181"/>
                    <a:pt x="112" y="181"/>
                  </a:cubicBezTo>
                  <a:cubicBezTo>
                    <a:pt x="112" y="181"/>
                    <a:pt x="108" y="181"/>
                    <a:pt x="108" y="181"/>
                  </a:cubicBezTo>
                  <a:cubicBezTo>
                    <a:pt x="106" y="181"/>
                    <a:pt x="105" y="182"/>
                    <a:pt x="104" y="183"/>
                  </a:cubicBezTo>
                  <a:cubicBezTo>
                    <a:pt x="104" y="184"/>
                    <a:pt x="104" y="185"/>
                    <a:pt x="104" y="186"/>
                  </a:cubicBezTo>
                  <a:cubicBezTo>
                    <a:pt x="105" y="189"/>
                    <a:pt x="105" y="188"/>
                    <a:pt x="107" y="187"/>
                  </a:cubicBezTo>
                  <a:cubicBezTo>
                    <a:pt x="106" y="188"/>
                    <a:pt x="105" y="192"/>
                    <a:pt x="106" y="193"/>
                  </a:cubicBezTo>
                  <a:cubicBezTo>
                    <a:pt x="106" y="193"/>
                    <a:pt x="109" y="189"/>
                    <a:pt x="110" y="189"/>
                  </a:cubicBezTo>
                  <a:cubicBezTo>
                    <a:pt x="110" y="190"/>
                    <a:pt x="109" y="191"/>
                    <a:pt x="110" y="192"/>
                  </a:cubicBezTo>
                  <a:cubicBezTo>
                    <a:pt x="110" y="193"/>
                    <a:pt x="111" y="191"/>
                    <a:pt x="112" y="191"/>
                  </a:cubicBezTo>
                  <a:cubicBezTo>
                    <a:pt x="114" y="189"/>
                    <a:pt x="110" y="187"/>
                    <a:pt x="110" y="186"/>
                  </a:cubicBezTo>
                  <a:cubicBezTo>
                    <a:pt x="110" y="186"/>
                    <a:pt x="112" y="189"/>
                    <a:pt x="113" y="189"/>
                  </a:cubicBezTo>
                  <a:cubicBezTo>
                    <a:pt x="114" y="190"/>
                    <a:pt x="114" y="189"/>
                    <a:pt x="115" y="188"/>
                  </a:cubicBezTo>
                  <a:cubicBezTo>
                    <a:pt x="114" y="188"/>
                    <a:pt x="117" y="191"/>
                    <a:pt x="116" y="192"/>
                  </a:cubicBezTo>
                  <a:cubicBezTo>
                    <a:pt x="117" y="191"/>
                    <a:pt x="114" y="189"/>
                    <a:pt x="114" y="191"/>
                  </a:cubicBezTo>
                  <a:cubicBezTo>
                    <a:pt x="114" y="193"/>
                    <a:pt x="116" y="195"/>
                    <a:pt x="114" y="196"/>
                  </a:cubicBezTo>
                  <a:cubicBezTo>
                    <a:pt x="114" y="196"/>
                    <a:pt x="114" y="193"/>
                    <a:pt x="114" y="193"/>
                  </a:cubicBezTo>
                  <a:cubicBezTo>
                    <a:pt x="114" y="192"/>
                    <a:pt x="112" y="194"/>
                    <a:pt x="111" y="194"/>
                  </a:cubicBezTo>
                  <a:cubicBezTo>
                    <a:pt x="110" y="194"/>
                    <a:pt x="109" y="196"/>
                    <a:pt x="109" y="197"/>
                  </a:cubicBezTo>
                  <a:cubicBezTo>
                    <a:pt x="108" y="199"/>
                    <a:pt x="111" y="197"/>
                    <a:pt x="111" y="198"/>
                  </a:cubicBezTo>
                  <a:cubicBezTo>
                    <a:pt x="112" y="199"/>
                    <a:pt x="110" y="200"/>
                    <a:pt x="110" y="200"/>
                  </a:cubicBezTo>
                  <a:cubicBezTo>
                    <a:pt x="110" y="200"/>
                    <a:pt x="112" y="199"/>
                    <a:pt x="113" y="201"/>
                  </a:cubicBezTo>
                  <a:cubicBezTo>
                    <a:pt x="113" y="203"/>
                    <a:pt x="115" y="204"/>
                    <a:pt x="115" y="205"/>
                  </a:cubicBezTo>
                  <a:cubicBezTo>
                    <a:pt x="114" y="207"/>
                    <a:pt x="115" y="207"/>
                    <a:pt x="117" y="209"/>
                  </a:cubicBezTo>
                  <a:cubicBezTo>
                    <a:pt x="118" y="210"/>
                    <a:pt x="119" y="212"/>
                    <a:pt x="120" y="210"/>
                  </a:cubicBezTo>
                  <a:cubicBezTo>
                    <a:pt x="120" y="210"/>
                    <a:pt x="121" y="215"/>
                    <a:pt x="122" y="215"/>
                  </a:cubicBezTo>
                  <a:cubicBezTo>
                    <a:pt x="123" y="216"/>
                    <a:pt x="122" y="215"/>
                    <a:pt x="123" y="215"/>
                  </a:cubicBezTo>
                  <a:cubicBezTo>
                    <a:pt x="124" y="216"/>
                    <a:pt x="125" y="217"/>
                    <a:pt x="126" y="218"/>
                  </a:cubicBezTo>
                  <a:cubicBezTo>
                    <a:pt x="128" y="219"/>
                    <a:pt x="130" y="220"/>
                    <a:pt x="132" y="219"/>
                  </a:cubicBezTo>
                  <a:cubicBezTo>
                    <a:pt x="133" y="219"/>
                    <a:pt x="136" y="219"/>
                    <a:pt x="136" y="218"/>
                  </a:cubicBezTo>
                  <a:cubicBezTo>
                    <a:pt x="136" y="218"/>
                    <a:pt x="136" y="221"/>
                    <a:pt x="136" y="221"/>
                  </a:cubicBezTo>
                  <a:cubicBezTo>
                    <a:pt x="136" y="221"/>
                    <a:pt x="138" y="217"/>
                    <a:pt x="138" y="218"/>
                  </a:cubicBezTo>
                  <a:cubicBezTo>
                    <a:pt x="139" y="218"/>
                    <a:pt x="138" y="219"/>
                    <a:pt x="138" y="219"/>
                  </a:cubicBezTo>
                  <a:cubicBezTo>
                    <a:pt x="138" y="220"/>
                    <a:pt x="139" y="220"/>
                    <a:pt x="139" y="220"/>
                  </a:cubicBezTo>
                  <a:cubicBezTo>
                    <a:pt x="139" y="220"/>
                    <a:pt x="136" y="221"/>
                    <a:pt x="137" y="222"/>
                  </a:cubicBezTo>
                  <a:cubicBezTo>
                    <a:pt x="138" y="222"/>
                    <a:pt x="138" y="222"/>
                    <a:pt x="139" y="221"/>
                  </a:cubicBezTo>
                  <a:cubicBezTo>
                    <a:pt x="140" y="222"/>
                    <a:pt x="139" y="223"/>
                    <a:pt x="139" y="223"/>
                  </a:cubicBezTo>
                  <a:cubicBezTo>
                    <a:pt x="139" y="224"/>
                    <a:pt x="142" y="221"/>
                    <a:pt x="142" y="222"/>
                  </a:cubicBezTo>
                  <a:cubicBezTo>
                    <a:pt x="142" y="223"/>
                    <a:pt x="140" y="224"/>
                    <a:pt x="140" y="225"/>
                  </a:cubicBezTo>
                  <a:cubicBezTo>
                    <a:pt x="140" y="224"/>
                    <a:pt x="143" y="223"/>
                    <a:pt x="142" y="225"/>
                  </a:cubicBezTo>
                  <a:cubicBezTo>
                    <a:pt x="142" y="225"/>
                    <a:pt x="142" y="225"/>
                    <a:pt x="142" y="224"/>
                  </a:cubicBezTo>
                  <a:cubicBezTo>
                    <a:pt x="142" y="226"/>
                    <a:pt x="145" y="223"/>
                    <a:pt x="145" y="223"/>
                  </a:cubicBezTo>
                  <a:cubicBezTo>
                    <a:pt x="146" y="224"/>
                    <a:pt x="145" y="226"/>
                    <a:pt x="145" y="227"/>
                  </a:cubicBezTo>
                  <a:cubicBezTo>
                    <a:pt x="144" y="225"/>
                    <a:pt x="153" y="225"/>
                    <a:pt x="147" y="222"/>
                  </a:cubicBezTo>
                  <a:cubicBezTo>
                    <a:pt x="148" y="222"/>
                    <a:pt x="153" y="222"/>
                    <a:pt x="150" y="221"/>
                  </a:cubicBezTo>
                  <a:cubicBezTo>
                    <a:pt x="147" y="219"/>
                    <a:pt x="151" y="220"/>
                    <a:pt x="152" y="218"/>
                  </a:cubicBezTo>
                  <a:cubicBezTo>
                    <a:pt x="152" y="218"/>
                    <a:pt x="149" y="218"/>
                    <a:pt x="149" y="218"/>
                  </a:cubicBezTo>
                  <a:cubicBezTo>
                    <a:pt x="150" y="217"/>
                    <a:pt x="151" y="216"/>
                    <a:pt x="152" y="216"/>
                  </a:cubicBezTo>
                  <a:cubicBezTo>
                    <a:pt x="154" y="214"/>
                    <a:pt x="151" y="215"/>
                    <a:pt x="151" y="214"/>
                  </a:cubicBezTo>
                  <a:cubicBezTo>
                    <a:pt x="151" y="214"/>
                    <a:pt x="154" y="213"/>
                    <a:pt x="154" y="212"/>
                  </a:cubicBezTo>
                  <a:cubicBezTo>
                    <a:pt x="154" y="211"/>
                    <a:pt x="154" y="209"/>
                    <a:pt x="153" y="208"/>
                  </a:cubicBezTo>
                  <a:cubicBezTo>
                    <a:pt x="152" y="208"/>
                    <a:pt x="154" y="207"/>
                    <a:pt x="153" y="206"/>
                  </a:cubicBezTo>
                  <a:cubicBezTo>
                    <a:pt x="153" y="206"/>
                    <a:pt x="151" y="205"/>
                    <a:pt x="151" y="205"/>
                  </a:cubicBezTo>
                  <a:cubicBezTo>
                    <a:pt x="151" y="205"/>
                    <a:pt x="155" y="204"/>
                    <a:pt x="156" y="204"/>
                  </a:cubicBezTo>
                  <a:cubicBezTo>
                    <a:pt x="159" y="204"/>
                    <a:pt x="156" y="203"/>
                    <a:pt x="155" y="202"/>
                  </a:cubicBezTo>
                  <a:cubicBezTo>
                    <a:pt x="155" y="202"/>
                    <a:pt x="160" y="202"/>
                    <a:pt x="160" y="202"/>
                  </a:cubicBezTo>
                  <a:cubicBezTo>
                    <a:pt x="159" y="201"/>
                    <a:pt x="157" y="201"/>
                    <a:pt x="156" y="200"/>
                  </a:cubicBezTo>
                  <a:cubicBezTo>
                    <a:pt x="156" y="200"/>
                    <a:pt x="160" y="201"/>
                    <a:pt x="160" y="200"/>
                  </a:cubicBezTo>
                  <a:cubicBezTo>
                    <a:pt x="161" y="200"/>
                    <a:pt x="160" y="200"/>
                    <a:pt x="160" y="199"/>
                  </a:cubicBezTo>
                  <a:cubicBezTo>
                    <a:pt x="161" y="199"/>
                    <a:pt x="161" y="199"/>
                    <a:pt x="161" y="199"/>
                  </a:cubicBezTo>
                  <a:cubicBezTo>
                    <a:pt x="162" y="198"/>
                    <a:pt x="158" y="197"/>
                    <a:pt x="158" y="197"/>
                  </a:cubicBezTo>
                  <a:cubicBezTo>
                    <a:pt x="158" y="197"/>
                    <a:pt x="163" y="197"/>
                    <a:pt x="162" y="196"/>
                  </a:cubicBezTo>
                  <a:cubicBezTo>
                    <a:pt x="162" y="195"/>
                    <a:pt x="163" y="195"/>
                    <a:pt x="161" y="194"/>
                  </a:cubicBezTo>
                  <a:cubicBezTo>
                    <a:pt x="161" y="194"/>
                    <a:pt x="158" y="194"/>
                    <a:pt x="158" y="193"/>
                  </a:cubicBezTo>
                  <a:cubicBezTo>
                    <a:pt x="158" y="193"/>
                    <a:pt x="163" y="192"/>
                    <a:pt x="163" y="192"/>
                  </a:cubicBezTo>
                  <a:cubicBezTo>
                    <a:pt x="165" y="192"/>
                    <a:pt x="164" y="189"/>
                    <a:pt x="162" y="189"/>
                  </a:cubicBezTo>
                  <a:cubicBezTo>
                    <a:pt x="161" y="188"/>
                    <a:pt x="158" y="187"/>
                    <a:pt x="161" y="186"/>
                  </a:cubicBezTo>
                  <a:cubicBezTo>
                    <a:pt x="163" y="186"/>
                    <a:pt x="166" y="187"/>
                    <a:pt x="167" y="185"/>
                  </a:cubicBezTo>
                  <a:cubicBezTo>
                    <a:pt x="167" y="185"/>
                    <a:pt x="165" y="183"/>
                    <a:pt x="165" y="183"/>
                  </a:cubicBezTo>
                  <a:cubicBezTo>
                    <a:pt x="165" y="182"/>
                    <a:pt x="167" y="182"/>
                    <a:pt x="167" y="182"/>
                  </a:cubicBezTo>
                  <a:cubicBezTo>
                    <a:pt x="168" y="181"/>
                    <a:pt x="170" y="181"/>
                    <a:pt x="172" y="182"/>
                  </a:cubicBezTo>
                  <a:cubicBezTo>
                    <a:pt x="172" y="182"/>
                    <a:pt x="174" y="182"/>
                    <a:pt x="174" y="182"/>
                  </a:cubicBezTo>
                  <a:cubicBezTo>
                    <a:pt x="175" y="181"/>
                    <a:pt x="173" y="180"/>
                    <a:pt x="173" y="179"/>
                  </a:cubicBezTo>
                  <a:cubicBezTo>
                    <a:pt x="174" y="178"/>
                    <a:pt x="177" y="174"/>
                    <a:pt x="179" y="176"/>
                  </a:cubicBezTo>
                  <a:cubicBezTo>
                    <a:pt x="178" y="175"/>
                    <a:pt x="175" y="181"/>
                    <a:pt x="176" y="181"/>
                  </a:cubicBezTo>
                  <a:cubicBezTo>
                    <a:pt x="177" y="182"/>
                    <a:pt x="179" y="179"/>
                    <a:pt x="181" y="179"/>
                  </a:cubicBezTo>
                  <a:cubicBezTo>
                    <a:pt x="181" y="179"/>
                    <a:pt x="183" y="180"/>
                    <a:pt x="183" y="180"/>
                  </a:cubicBezTo>
                  <a:cubicBezTo>
                    <a:pt x="183" y="180"/>
                    <a:pt x="183" y="178"/>
                    <a:pt x="183" y="178"/>
                  </a:cubicBezTo>
                  <a:cubicBezTo>
                    <a:pt x="186" y="179"/>
                    <a:pt x="186" y="178"/>
                    <a:pt x="187" y="177"/>
                  </a:cubicBezTo>
                  <a:cubicBezTo>
                    <a:pt x="188" y="176"/>
                    <a:pt x="189" y="176"/>
                    <a:pt x="190" y="176"/>
                  </a:cubicBezTo>
                  <a:cubicBezTo>
                    <a:pt x="192" y="175"/>
                    <a:pt x="192" y="174"/>
                    <a:pt x="193" y="173"/>
                  </a:cubicBezTo>
                  <a:cubicBezTo>
                    <a:pt x="194" y="172"/>
                    <a:pt x="196" y="170"/>
                    <a:pt x="197" y="168"/>
                  </a:cubicBezTo>
                  <a:cubicBezTo>
                    <a:pt x="199" y="166"/>
                    <a:pt x="199" y="165"/>
                    <a:pt x="201" y="165"/>
                  </a:cubicBezTo>
                  <a:cubicBezTo>
                    <a:pt x="202" y="164"/>
                    <a:pt x="205" y="164"/>
                    <a:pt x="205" y="162"/>
                  </a:cubicBezTo>
                  <a:cubicBezTo>
                    <a:pt x="204" y="162"/>
                    <a:pt x="203" y="157"/>
                    <a:pt x="203" y="157"/>
                  </a:cubicBezTo>
                  <a:cubicBezTo>
                    <a:pt x="204" y="157"/>
                    <a:pt x="207" y="160"/>
                    <a:pt x="208" y="160"/>
                  </a:cubicBezTo>
                  <a:cubicBezTo>
                    <a:pt x="209" y="161"/>
                    <a:pt x="210" y="161"/>
                    <a:pt x="211" y="161"/>
                  </a:cubicBezTo>
                  <a:cubicBezTo>
                    <a:pt x="211" y="161"/>
                    <a:pt x="213" y="160"/>
                    <a:pt x="213" y="160"/>
                  </a:cubicBezTo>
                  <a:cubicBezTo>
                    <a:pt x="214" y="160"/>
                    <a:pt x="215" y="161"/>
                    <a:pt x="216" y="160"/>
                  </a:cubicBezTo>
                  <a:cubicBezTo>
                    <a:pt x="216" y="160"/>
                    <a:pt x="214" y="158"/>
                    <a:pt x="217" y="159"/>
                  </a:cubicBezTo>
                  <a:cubicBezTo>
                    <a:pt x="219" y="159"/>
                    <a:pt x="221" y="159"/>
                    <a:pt x="223" y="158"/>
                  </a:cubicBezTo>
                  <a:cubicBezTo>
                    <a:pt x="228" y="157"/>
                    <a:pt x="232" y="156"/>
                    <a:pt x="237" y="154"/>
                  </a:cubicBezTo>
                  <a:cubicBezTo>
                    <a:pt x="238" y="153"/>
                    <a:pt x="254" y="143"/>
                    <a:pt x="255" y="143"/>
                  </a:cubicBezTo>
                  <a:cubicBezTo>
                    <a:pt x="254" y="143"/>
                    <a:pt x="247" y="143"/>
                    <a:pt x="246" y="143"/>
                  </a:cubicBezTo>
                  <a:cubicBezTo>
                    <a:pt x="244" y="142"/>
                    <a:pt x="242" y="141"/>
                    <a:pt x="240" y="141"/>
                  </a:cubicBezTo>
                  <a:cubicBezTo>
                    <a:pt x="238" y="141"/>
                    <a:pt x="236" y="142"/>
                    <a:pt x="235" y="142"/>
                  </a:cubicBezTo>
                  <a:cubicBezTo>
                    <a:pt x="233" y="143"/>
                    <a:pt x="233" y="141"/>
                    <a:pt x="232" y="142"/>
                  </a:cubicBezTo>
                  <a:cubicBezTo>
                    <a:pt x="231" y="142"/>
                    <a:pt x="230" y="144"/>
                    <a:pt x="229" y="144"/>
                  </a:cubicBezTo>
                  <a:cubicBezTo>
                    <a:pt x="225" y="144"/>
                    <a:pt x="232" y="140"/>
                    <a:pt x="233" y="141"/>
                  </a:cubicBezTo>
                  <a:cubicBezTo>
                    <a:pt x="232" y="140"/>
                    <a:pt x="229" y="141"/>
                    <a:pt x="228" y="141"/>
                  </a:cubicBezTo>
                  <a:cubicBezTo>
                    <a:pt x="225" y="141"/>
                    <a:pt x="223" y="140"/>
                    <a:pt x="221" y="140"/>
                  </a:cubicBezTo>
                  <a:cubicBezTo>
                    <a:pt x="222" y="140"/>
                    <a:pt x="225" y="138"/>
                    <a:pt x="226" y="137"/>
                  </a:cubicBezTo>
                  <a:cubicBezTo>
                    <a:pt x="226" y="134"/>
                    <a:pt x="228" y="135"/>
                    <a:pt x="229" y="136"/>
                  </a:cubicBezTo>
                  <a:cubicBezTo>
                    <a:pt x="231" y="136"/>
                    <a:pt x="239" y="134"/>
                    <a:pt x="240" y="133"/>
                  </a:cubicBezTo>
                  <a:cubicBezTo>
                    <a:pt x="240" y="132"/>
                    <a:pt x="235" y="131"/>
                    <a:pt x="234" y="130"/>
                  </a:cubicBezTo>
                  <a:cubicBezTo>
                    <a:pt x="235" y="131"/>
                    <a:pt x="239" y="132"/>
                    <a:pt x="240" y="132"/>
                  </a:cubicBezTo>
                  <a:cubicBezTo>
                    <a:pt x="241" y="133"/>
                    <a:pt x="245" y="133"/>
                    <a:pt x="245" y="135"/>
                  </a:cubicBezTo>
                  <a:cubicBezTo>
                    <a:pt x="244" y="138"/>
                    <a:pt x="246" y="139"/>
                    <a:pt x="248" y="139"/>
                  </a:cubicBezTo>
                  <a:cubicBezTo>
                    <a:pt x="248" y="139"/>
                    <a:pt x="254" y="139"/>
                    <a:pt x="253" y="138"/>
                  </a:cubicBezTo>
                  <a:cubicBezTo>
                    <a:pt x="253" y="138"/>
                    <a:pt x="253" y="140"/>
                    <a:pt x="254" y="140"/>
                  </a:cubicBezTo>
                  <a:cubicBezTo>
                    <a:pt x="256" y="139"/>
                    <a:pt x="257" y="136"/>
                    <a:pt x="257" y="134"/>
                  </a:cubicBezTo>
                  <a:cubicBezTo>
                    <a:pt x="257" y="133"/>
                    <a:pt x="257" y="129"/>
                    <a:pt x="255" y="130"/>
                  </a:cubicBezTo>
                  <a:cubicBezTo>
                    <a:pt x="253" y="132"/>
                    <a:pt x="254" y="130"/>
                    <a:pt x="253" y="129"/>
                  </a:cubicBezTo>
                  <a:cubicBezTo>
                    <a:pt x="251" y="127"/>
                    <a:pt x="248" y="126"/>
                    <a:pt x="245" y="124"/>
                  </a:cubicBezTo>
                  <a:cubicBezTo>
                    <a:pt x="244" y="123"/>
                    <a:pt x="243" y="123"/>
                    <a:pt x="242" y="122"/>
                  </a:cubicBezTo>
                  <a:cubicBezTo>
                    <a:pt x="242" y="122"/>
                    <a:pt x="238" y="123"/>
                    <a:pt x="238" y="124"/>
                  </a:cubicBezTo>
                  <a:cubicBezTo>
                    <a:pt x="238" y="124"/>
                    <a:pt x="239" y="123"/>
                    <a:pt x="238" y="123"/>
                  </a:cubicBezTo>
                  <a:cubicBezTo>
                    <a:pt x="238" y="123"/>
                    <a:pt x="237" y="122"/>
                    <a:pt x="237" y="122"/>
                  </a:cubicBezTo>
                  <a:cubicBezTo>
                    <a:pt x="237" y="121"/>
                    <a:pt x="241" y="122"/>
                    <a:pt x="241" y="121"/>
                  </a:cubicBezTo>
                  <a:cubicBezTo>
                    <a:pt x="241" y="119"/>
                    <a:pt x="241" y="118"/>
                    <a:pt x="238" y="118"/>
                  </a:cubicBezTo>
                  <a:cubicBezTo>
                    <a:pt x="236" y="119"/>
                    <a:pt x="235" y="121"/>
                    <a:pt x="233" y="119"/>
                  </a:cubicBezTo>
                  <a:cubicBezTo>
                    <a:pt x="233" y="119"/>
                    <a:pt x="229" y="119"/>
                    <a:pt x="229" y="118"/>
                  </a:cubicBezTo>
                  <a:cubicBezTo>
                    <a:pt x="229" y="116"/>
                    <a:pt x="234" y="119"/>
                    <a:pt x="234" y="119"/>
                  </a:cubicBezTo>
                  <a:cubicBezTo>
                    <a:pt x="235" y="119"/>
                    <a:pt x="240" y="118"/>
                    <a:pt x="240" y="117"/>
                  </a:cubicBezTo>
                  <a:cubicBezTo>
                    <a:pt x="241" y="117"/>
                    <a:pt x="236" y="115"/>
                    <a:pt x="235" y="115"/>
                  </a:cubicBezTo>
                  <a:cubicBezTo>
                    <a:pt x="233" y="115"/>
                    <a:pt x="230" y="115"/>
                    <a:pt x="228" y="116"/>
                  </a:cubicBezTo>
                  <a:cubicBezTo>
                    <a:pt x="229" y="116"/>
                    <a:pt x="233" y="113"/>
                    <a:pt x="233" y="114"/>
                  </a:cubicBezTo>
                  <a:cubicBezTo>
                    <a:pt x="233" y="113"/>
                    <a:pt x="229" y="113"/>
                    <a:pt x="229" y="112"/>
                  </a:cubicBezTo>
                  <a:cubicBezTo>
                    <a:pt x="232" y="113"/>
                    <a:pt x="235" y="115"/>
                    <a:pt x="238" y="113"/>
                  </a:cubicBezTo>
                  <a:cubicBezTo>
                    <a:pt x="238" y="113"/>
                    <a:pt x="241" y="112"/>
                    <a:pt x="241" y="111"/>
                  </a:cubicBezTo>
                  <a:cubicBezTo>
                    <a:pt x="240" y="110"/>
                    <a:pt x="238" y="109"/>
                    <a:pt x="238" y="108"/>
                  </a:cubicBezTo>
                  <a:cubicBezTo>
                    <a:pt x="238" y="109"/>
                    <a:pt x="241" y="110"/>
                    <a:pt x="242" y="110"/>
                  </a:cubicBezTo>
                  <a:cubicBezTo>
                    <a:pt x="244" y="111"/>
                    <a:pt x="243" y="109"/>
                    <a:pt x="245" y="109"/>
                  </a:cubicBezTo>
                  <a:cubicBezTo>
                    <a:pt x="246" y="109"/>
                    <a:pt x="254" y="111"/>
                    <a:pt x="254" y="111"/>
                  </a:cubicBezTo>
                  <a:cubicBezTo>
                    <a:pt x="253" y="111"/>
                    <a:pt x="246" y="110"/>
                    <a:pt x="246" y="110"/>
                  </a:cubicBezTo>
                  <a:cubicBezTo>
                    <a:pt x="248" y="114"/>
                    <a:pt x="254" y="113"/>
                    <a:pt x="257" y="113"/>
                  </a:cubicBezTo>
                  <a:cubicBezTo>
                    <a:pt x="258" y="112"/>
                    <a:pt x="261" y="113"/>
                    <a:pt x="262" y="112"/>
                  </a:cubicBezTo>
                  <a:cubicBezTo>
                    <a:pt x="265" y="111"/>
                    <a:pt x="264" y="109"/>
                    <a:pt x="262" y="108"/>
                  </a:cubicBezTo>
                  <a:cubicBezTo>
                    <a:pt x="261" y="107"/>
                    <a:pt x="258" y="106"/>
                    <a:pt x="257" y="106"/>
                  </a:cubicBezTo>
                  <a:cubicBezTo>
                    <a:pt x="256" y="106"/>
                    <a:pt x="257" y="109"/>
                    <a:pt x="257" y="110"/>
                  </a:cubicBezTo>
                  <a:cubicBezTo>
                    <a:pt x="256" y="109"/>
                    <a:pt x="256" y="108"/>
                    <a:pt x="255" y="107"/>
                  </a:cubicBezTo>
                  <a:cubicBezTo>
                    <a:pt x="255" y="106"/>
                    <a:pt x="254" y="107"/>
                    <a:pt x="253" y="106"/>
                  </a:cubicBezTo>
                  <a:cubicBezTo>
                    <a:pt x="254" y="107"/>
                    <a:pt x="256" y="101"/>
                    <a:pt x="256" y="100"/>
                  </a:cubicBezTo>
                  <a:cubicBezTo>
                    <a:pt x="256" y="100"/>
                    <a:pt x="257" y="103"/>
                    <a:pt x="257" y="103"/>
                  </a:cubicBezTo>
                  <a:cubicBezTo>
                    <a:pt x="257" y="105"/>
                    <a:pt x="257" y="106"/>
                    <a:pt x="258" y="106"/>
                  </a:cubicBezTo>
                  <a:cubicBezTo>
                    <a:pt x="261" y="106"/>
                    <a:pt x="263" y="105"/>
                    <a:pt x="265" y="105"/>
                  </a:cubicBezTo>
                  <a:cubicBezTo>
                    <a:pt x="266" y="105"/>
                    <a:pt x="272" y="103"/>
                    <a:pt x="270" y="101"/>
                  </a:cubicBezTo>
                  <a:cubicBezTo>
                    <a:pt x="268" y="100"/>
                    <a:pt x="267" y="102"/>
                    <a:pt x="266" y="101"/>
                  </a:cubicBezTo>
                  <a:cubicBezTo>
                    <a:pt x="266" y="100"/>
                    <a:pt x="266" y="100"/>
                    <a:pt x="266" y="99"/>
                  </a:cubicBezTo>
                  <a:cubicBezTo>
                    <a:pt x="267" y="98"/>
                    <a:pt x="266" y="97"/>
                    <a:pt x="265" y="97"/>
                  </a:cubicBezTo>
                  <a:cubicBezTo>
                    <a:pt x="265" y="96"/>
                    <a:pt x="262" y="96"/>
                    <a:pt x="261" y="96"/>
                  </a:cubicBezTo>
                  <a:cubicBezTo>
                    <a:pt x="259" y="96"/>
                    <a:pt x="258" y="98"/>
                    <a:pt x="256" y="96"/>
                  </a:cubicBezTo>
                  <a:cubicBezTo>
                    <a:pt x="260" y="99"/>
                    <a:pt x="262" y="91"/>
                    <a:pt x="266" y="95"/>
                  </a:cubicBezTo>
                  <a:cubicBezTo>
                    <a:pt x="267" y="97"/>
                    <a:pt x="269" y="94"/>
                    <a:pt x="269" y="92"/>
                  </a:cubicBezTo>
                  <a:cubicBezTo>
                    <a:pt x="269" y="91"/>
                    <a:pt x="266" y="88"/>
                    <a:pt x="266" y="88"/>
                  </a:cubicBezTo>
                  <a:cubicBezTo>
                    <a:pt x="266" y="87"/>
                    <a:pt x="269" y="90"/>
                    <a:pt x="269" y="91"/>
                  </a:cubicBezTo>
                  <a:cubicBezTo>
                    <a:pt x="269" y="92"/>
                    <a:pt x="271" y="90"/>
                    <a:pt x="270" y="88"/>
                  </a:cubicBezTo>
                  <a:cubicBezTo>
                    <a:pt x="269" y="87"/>
                    <a:pt x="267" y="85"/>
                    <a:pt x="266" y="84"/>
                  </a:cubicBezTo>
                  <a:cubicBezTo>
                    <a:pt x="264" y="84"/>
                    <a:pt x="261" y="85"/>
                    <a:pt x="259" y="84"/>
                  </a:cubicBezTo>
                  <a:cubicBezTo>
                    <a:pt x="258" y="83"/>
                    <a:pt x="258" y="81"/>
                    <a:pt x="256" y="81"/>
                  </a:cubicBezTo>
                  <a:cubicBezTo>
                    <a:pt x="256" y="80"/>
                    <a:pt x="252" y="81"/>
                    <a:pt x="253" y="80"/>
                  </a:cubicBezTo>
                  <a:cubicBezTo>
                    <a:pt x="254" y="78"/>
                    <a:pt x="254" y="77"/>
                    <a:pt x="256" y="79"/>
                  </a:cubicBezTo>
                  <a:cubicBezTo>
                    <a:pt x="258" y="81"/>
                    <a:pt x="260" y="78"/>
                    <a:pt x="262" y="77"/>
                  </a:cubicBezTo>
                  <a:cubicBezTo>
                    <a:pt x="265" y="75"/>
                    <a:pt x="271" y="81"/>
                    <a:pt x="274" y="78"/>
                  </a:cubicBezTo>
                  <a:cubicBezTo>
                    <a:pt x="275" y="77"/>
                    <a:pt x="275" y="72"/>
                    <a:pt x="272" y="73"/>
                  </a:cubicBezTo>
                  <a:cubicBezTo>
                    <a:pt x="271" y="73"/>
                    <a:pt x="270" y="74"/>
                    <a:pt x="269" y="73"/>
                  </a:cubicBezTo>
                  <a:cubicBezTo>
                    <a:pt x="267" y="73"/>
                    <a:pt x="265" y="72"/>
                    <a:pt x="263" y="70"/>
                  </a:cubicBezTo>
                  <a:cubicBezTo>
                    <a:pt x="260" y="68"/>
                    <a:pt x="271" y="71"/>
                    <a:pt x="271" y="70"/>
                  </a:cubicBezTo>
                  <a:cubicBezTo>
                    <a:pt x="270" y="68"/>
                    <a:pt x="265" y="67"/>
                    <a:pt x="263" y="66"/>
                  </a:cubicBezTo>
                  <a:cubicBezTo>
                    <a:pt x="260" y="65"/>
                    <a:pt x="260" y="66"/>
                    <a:pt x="259" y="68"/>
                  </a:cubicBezTo>
                  <a:cubicBezTo>
                    <a:pt x="259" y="69"/>
                    <a:pt x="257" y="70"/>
                    <a:pt x="256" y="69"/>
                  </a:cubicBezTo>
                  <a:cubicBezTo>
                    <a:pt x="255" y="69"/>
                    <a:pt x="258" y="65"/>
                    <a:pt x="258" y="64"/>
                  </a:cubicBezTo>
                  <a:cubicBezTo>
                    <a:pt x="258" y="63"/>
                    <a:pt x="259" y="61"/>
                    <a:pt x="260" y="60"/>
                  </a:cubicBezTo>
                  <a:cubicBezTo>
                    <a:pt x="260" y="59"/>
                    <a:pt x="260" y="57"/>
                    <a:pt x="261" y="57"/>
                  </a:cubicBezTo>
                  <a:cubicBezTo>
                    <a:pt x="262" y="57"/>
                    <a:pt x="264" y="57"/>
                    <a:pt x="265" y="56"/>
                  </a:cubicBezTo>
                  <a:cubicBezTo>
                    <a:pt x="265" y="56"/>
                    <a:pt x="270" y="51"/>
                    <a:pt x="270" y="52"/>
                  </a:cubicBezTo>
                  <a:cubicBezTo>
                    <a:pt x="270" y="52"/>
                    <a:pt x="268" y="51"/>
                    <a:pt x="268" y="51"/>
                  </a:cubicBezTo>
                  <a:cubicBezTo>
                    <a:pt x="268" y="50"/>
                    <a:pt x="268" y="49"/>
                    <a:pt x="268" y="48"/>
                  </a:cubicBezTo>
                  <a:cubicBezTo>
                    <a:pt x="268" y="46"/>
                    <a:pt x="269" y="46"/>
                    <a:pt x="271" y="46"/>
                  </a:cubicBezTo>
                  <a:cubicBezTo>
                    <a:pt x="273" y="46"/>
                    <a:pt x="281" y="43"/>
                    <a:pt x="276" y="43"/>
                  </a:cubicBezTo>
                  <a:cubicBezTo>
                    <a:pt x="273" y="43"/>
                    <a:pt x="268" y="42"/>
                    <a:pt x="266" y="44"/>
                  </a:cubicBezTo>
                  <a:cubicBezTo>
                    <a:pt x="265" y="45"/>
                    <a:pt x="265" y="47"/>
                    <a:pt x="263" y="46"/>
                  </a:cubicBezTo>
                  <a:cubicBezTo>
                    <a:pt x="261" y="45"/>
                    <a:pt x="263" y="43"/>
                    <a:pt x="264" y="42"/>
                  </a:cubicBezTo>
                  <a:cubicBezTo>
                    <a:pt x="266" y="39"/>
                    <a:pt x="270" y="41"/>
                    <a:pt x="273" y="41"/>
                  </a:cubicBezTo>
                  <a:cubicBezTo>
                    <a:pt x="277" y="41"/>
                    <a:pt x="281" y="42"/>
                    <a:pt x="283" y="38"/>
                  </a:cubicBezTo>
                  <a:cubicBezTo>
                    <a:pt x="284" y="38"/>
                    <a:pt x="280" y="37"/>
                    <a:pt x="280" y="37"/>
                  </a:cubicBezTo>
                  <a:cubicBezTo>
                    <a:pt x="278" y="36"/>
                    <a:pt x="276" y="37"/>
                    <a:pt x="274" y="37"/>
                  </a:cubicBezTo>
                  <a:cubicBezTo>
                    <a:pt x="272" y="37"/>
                    <a:pt x="271" y="36"/>
                    <a:pt x="269" y="36"/>
                  </a:cubicBezTo>
                  <a:cubicBezTo>
                    <a:pt x="268" y="36"/>
                    <a:pt x="266" y="36"/>
                    <a:pt x="265" y="36"/>
                  </a:cubicBezTo>
                  <a:cubicBezTo>
                    <a:pt x="266" y="37"/>
                    <a:pt x="269" y="36"/>
                    <a:pt x="271" y="36"/>
                  </a:cubicBezTo>
                  <a:cubicBezTo>
                    <a:pt x="274" y="36"/>
                    <a:pt x="276" y="35"/>
                    <a:pt x="279" y="35"/>
                  </a:cubicBezTo>
                  <a:cubicBezTo>
                    <a:pt x="283" y="36"/>
                    <a:pt x="285" y="34"/>
                    <a:pt x="288" y="34"/>
                  </a:cubicBezTo>
                  <a:cubicBezTo>
                    <a:pt x="289" y="34"/>
                    <a:pt x="291" y="34"/>
                    <a:pt x="291" y="33"/>
                  </a:cubicBezTo>
                  <a:cubicBezTo>
                    <a:pt x="291" y="33"/>
                    <a:pt x="289" y="31"/>
                    <a:pt x="290" y="31"/>
                  </a:cubicBezTo>
                  <a:cubicBezTo>
                    <a:pt x="295" y="30"/>
                    <a:pt x="300" y="29"/>
                    <a:pt x="304" y="26"/>
                  </a:cubicBezTo>
                  <a:cubicBezTo>
                    <a:pt x="305" y="25"/>
                    <a:pt x="301" y="24"/>
                    <a:pt x="301" y="24"/>
                  </a:cubicBezTo>
                  <a:cubicBezTo>
                    <a:pt x="298" y="23"/>
                    <a:pt x="295" y="22"/>
                    <a:pt x="293" y="22"/>
                  </a:cubicBezTo>
                  <a:cubicBezTo>
                    <a:pt x="287" y="21"/>
                    <a:pt x="282" y="20"/>
                    <a:pt x="277" y="25"/>
                  </a:cubicBezTo>
                  <a:cubicBezTo>
                    <a:pt x="275" y="28"/>
                    <a:pt x="273" y="26"/>
                    <a:pt x="269" y="26"/>
                  </a:cubicBezTo>
                  <a:cubicBezTo>
                    <a:pt x="268" y="26"/>
                    <a:pt x="264" y="29"/>
                    <a:pt x="265" y="26"/>
                  </a:cubicBezTo>
                  <a:cubicBezTo>
                    <a:pt x="265" y="24"/>
                    <a:pt x="260" y="27"/>
                    <a:pt x="259" y="28"/>
                  </a:cubicBezTo>
                  <a:cubicBezTo>
                    <a:pt x="257" y="29"/>
                    <a:pt x="255" y="30"/>
                    <a:pt x="253" y="31"/>
                  </a:cubicBezTo>
                  <a:cubicBezTo>
                    <a:pt x="252" y="31"/>
                    <a:pt x="244" y="37"/>
                    <a:pt x="244" y="37"/>
                  </a:cubicBezTo>
                  <a:cubicBezTo>
                    <a:pt x="242" y="35"/>
                    <a:pt x="264" y="22"/>
                    <a:pt x="251" y="19"/>
                  </a:cubicBezTo>
                  <a:cubicBezTo>
                    <a:pt x="246" y="19"/>
                    <a:pt x="247" y="22"/>
                    <a:pt x="243" y="24"/>
                  </a:cubicBezTo>
                  <a:cubicBezTo>
                    <a:pt x="240" y="25"/>
                    <a:pt x="238" y="25"/>
                    <a:pt x="235" y="26"/>
                  </a:cubicBezTo>
                  <a:cubicBezTo>
                    <a:pt x="234" y="26"/>
                    <a:pt x="229" y="28"/>
                    <a:pt x="228" y="28"/>
                  </a:cubicBezTo>
                  <a:cubicBezTo>
                    <a:pt x="226" y="25"/>
                    <a:pt x="233" y="24"/>
                    <a:pt x="235" y="24"/>
                  </a:cubicBezTo>
                  <a:cubicBezTo>
                    <a:pt x="235" y="23"/>
                    <a:pt x="241" y="22"/>
                    <a:pt x="238" y="21"/>
                  </a:cubicBezTo>
                  <a:cubicBezTo>
                    <a:pt x="235" y="20"/>
                    <a:pt x="232" y="20"/>
                    <a:pt x="229" y="20"/>
                  </a:cubicBezTo>
                  <a:cubicBezTo>
                    <a:pt x="221" y="20"/>
                    <a:pt x="213" y="21"/>
                    <a:pt x="205" y="23"/>
                  </a:cubicBezTo>
                  <a:cubicBezTo>
                    <a:pt x="205" y="23"/>
                    <a:pt x="202" y="25"/>
                    <a:pt x="201" y="24"/>
                  </a:cubicBezTo>
                  <a:cubicBezTo>
                    <a:pt x="201" y="22"/>
                    <a:pt x="200" y="22"/>
                    <a:pt x="202" y="22"/>
                  </a:cubicBezTo>
                  <a:cubicBezTo>
                    <a:pt x="206" y="20"/>
                    <a:pt x="210" y="19"/>
                    <a:pt x="214" y="18"/>
                  </a:cubicBezTo>
                  <a:cubicBezTo>
                    <a:pt x="221" y="17"/>
                    <a:pt x="229" y="18"/>
                    <a:pt x="237" y="18"/>
                  </a:cubicBezTo>
                  <a:cubicBezTo>
                    <a:pt x="239" y="18"/>
                    <a:pt x="241" y="18"/>
                    <a:pt x="243" y="18"/>
                  </a:cubicBezTo>
                  <a:cubicBezTo>
                    <a:pt x="247" y="16"/>
                    <a:pt x="252" y="16"/>
                    <a:pt x="256" y="14"/>
                  </a:cubicBezTo>
                  <a:cubicBezTo>
                    <a:pt x="258" y="14"/>
                    <a:pt x="259" y="13"/>
                    <a:pt x="256" y="12"/>
                  </a:cubicBezTo>
                  <a:cubicBezTo>
                    <a:pt x="254" y="11"/>
                    <a:pt x="250" y="10"/>
                    <a:pt x="248" y="11"/>
                  </a:cubicBezTo>
                  <a:cubicBezTo>
                    <a:pt x="246" y="11"/>
                    <a:pt x="246" y="10"/>
                    <a:pt x="244" y="9"/>
                  </a:cubicBezTo>
                  <a:cubicBezTo>
                    <a:pt x="242" y="9"/>
                    <a:pt x="240" y="11"/>
                    <a:pt x="238" y="11"/>
                  </a:cubicBezTo>
                  <a:cubicBezTo>
                    <a:pt x="238" y="11"/>
                    <a:pt x="240" y="8"/>
                    <a:pt x="241" y="8"/>
                  </a:cubicBezTo>
                  <a:cubicBezTo>
                    <a:pt x="242" y="6"/>
                    <a:pt x="238" y="6"/>
                    <a:pt x="237" y="6"/>
                  </a:cubicBezTo>
                  <a:cubicBezTo>
                    <a:pt x="231" y="7"/>
                    <a:pt x="226" y="7"/>
                    <a:pt x="220" y="6"/>
                  </a:cubicBezTo>
                  <a:cubicBezTo>
                    <a:pt x="215" y="6"/>
                    <a:pt x="211" y="8"/>
                    <a:pt x="206" y="8"/>
                  </a:cubicBezTo>
                  <a:cubicBezTo>
                    <a:pt x="204" y="8"/>
                    <a:pt x="201" y="8"/>
                    <a:pt x="199" y="8"/>
                  </a:cubicBezTo>
                  <a:cubicBezTo>
                    <a:pt x="197" y="9"/>
                    <a:pt x="194" y="8"/>
                    <a:pt x="193" y="9"/>
                  </a:cubicBezTo>
                  <a:cubicBezTo>
                    <a:pt x="196" y="8"/>
                    <a:pt x="199" y="8"/>
                    <a:pt x="202" y="7"/>
                  </a:cubicBezTo>
                  <a:cubicBezTo>
                    <a:pt x="207" y="7"/>
                    <a:pt x="211" y="6"/>
                    <a:pt x="215" y="6"/>
                  </a:cubicBezTo>
                  <a:cubicBezTo>
                    <a:pt x="217" y="6"/>
                    <a:pt x="237" y="6"/>
                    <a:pt x="237" y="4"/>
                  </a:cubicBezTo>
                  <a:cubicBezTo>
                    <a:pt x="236" y="4"/>
                    <a:pt x="233" y="3"/>
                    <a:pt x="232" y="2"/>
                  </a:cubicBezTo>
                  <a:cubicBezTo>
                    <a:pt x="229" y="2"/>
                    <a:pt x="227" y="2"/>
                    <a:pt x="224" y="2"/>
                  </a:cubicBezTo>
                  <a:cubicBezTo>
                    <a:pt x="220" y="2"/>
                    <a:pt x="216" y="1"/>
                    <a:pt x="213" y="0"/>
                  </a:cubicBezTo>
                  <a:cubicBezTo>
                    <a:pt x="206" y="0"/>
                    <a:pt x="200" y="0"/>
                    <a:pt x="194" y="0"/>
                  </a:cubicBezTo>
                  <a:cubicBezTo>
                    <a:pt x="191" y="1"/>
                    <a:pt x="188" y="1"/>
                    <a:pt x="185" y="1"/>
                  </a:cubicBezTo>
                  <a:cubicBezTo>
                    <a:pt x="184" y="1"/>
                    <a:pt x="183" y="3"/>
                    <a:pt x="183" y="3"/>
                  </a:cubicBezTo>
                  <a:cubicBezTo>
                    <a:pt x="181" y="3"/>
                    <a:pt x="179" y="2"/>
                    <a:pt x="177" y="2"/>
                  </a:cubicBezTo>
                  <a:cubicBezTo>
                    <a:pt x="176" y="2"/>
                    <a:pt x="175" y="3"/>
                    <a:pt x="173" y="3"/>
                  </a:cubicBezTo>
                  <a:cubicBezTo>
                    <a:pt x="171" y="3"/>
                    <a:pt x="171" y="4"/>
                    <a:pt x="173" y="4"/>
                  </a:cubicBezTo>
                  <a:cubicBezTo>
                    <a:pt x="176" y="5"/>
                    <a:pt x="179" y="5"/>
                    <a:pt x="181" y="6"/>
                  </a:cubicBezTo>
                  <a:cubicBezTo>
                    <a:pt x="180" y="5"/>
                    <a:pt x="174" y="7"/>
                    <a:pt x="173" y="8"/>
                  </a:cubicBezTo>
                  <a:cubicBezTo>
                    <a:pt x="173" y="8"/>
                    <a:pt x="170" y="8"/>
                    <a:pt x="170" y="8"/>
                  </a:cubicBezTo>
                  <a:cubicBezTo>
                    <a:pt x="170" y="8"/>
                    <a:pt x="172" y="10"/>
                    <a:pt x="172" y="10"/>
                  </a:cubicBezTo>
                  <a:cubicBezTo>
                    <a:pt x="171" y="10"/>
                    <a:pt x="169" y="9"/>
                    <a:pt x="168" y="8"/>
                  </a:cubicBezTo>
                  <a:cubicBezTo>
                    <a:pt x="167" y="7"/>
                    <a:pt x="164" y="8"/>
                    <a:pt x="163" y="8"/>
                  </a:cubicBezTo>
                  <a:cubicBezTo>
                    <a:pt x="160" y="7"/>
                    <a:pt x="157" y="6"/>
                    <a:pt x="154" y="5"/>
                  </a:cubicBezTo>
                  <a:cubicBezTo>
                    <a:pt x="152" y="4"/>
                    <a:pt x="150" y="6"/>
                    <a:pt x="147" y="6"/>
                  </a:cubicBezTo>
                  <a:cubicBezTo>
                    <a:pt x="146" y="6"/>
                    <a:pt x="140" y="5"/>
                    <a:pt x="140" y="7"/>
                  </a:cubicBezTo>
                  <a:cubicBezTo>
                    <a:pt x="139" y="7"/>
                    <a:pt x="153" y="9"/>
                    <a:pt x="155" y="10"/>
                  </a:cubicBezTo>
                  <a:cubicBezTo>
                    <a:pt x="158" y="10"/>
                    <a:pt x="161" y="10"/>
                    <a:pt x="163" y="11"/>
                  </a:cubicBezTo>
                  <a:cubicBezTo>
                    <a:pt x="164" y="11"/>
                    <a:pt x="165" y="11"/>
                    <a:pt x="166" y="12"/>
                  </a:cubicBezTo>
                  <a:cubicBezTo>
                    <a:pt x="166" y="12"/>
                    <a:pt x="166" y="15"/>
                    <a:pt x="166" y="15"/>
                  </a:cubicBezTo>
                  <a:cubicBezTo>
                    <a:pt x="166" y="16"/>
                    <a:pt x="165" y="14"/>
                    <a:pt x="165" y="13"/>
                  </a:cubicBezTo>
                  <a:cubicBezTo>
                    <a:pt x="164" y="12"/>
                    <a:pt x="161" y="12"/>
                    <a:pt x="160" y="11"/>
                  </a:cubicBezTo>
                  <a:cubicBezTo>
                    <a:pt x="160" y="11"/>
                    <a:pt x="157" y="11"/>
                    <a:pt x="157" y="11"/>
                  </a:cubicBezTo>
                  <a:cubicBezTo>
                    <a:pt x="157" y="12"/>
                    <a:pt x="158" y="14"/>
                    <a:pt x="158" y="14"/>
                  </a:cubicBezTo>
                  <a:cubicBezTo>
                    <a:pt x="156" y="14"/>
                    <a:pt x="155" y="11"/>
                    <a:pt x="154" y="11"/>
                  </a:cubicBezTo>
                  <a:cubicBezTo>
                    <a:pt x="152" y="11"/>
                    <a:pt x="150" y="11"/>
                    <a:pt x="148" y="10"/>
                  </a:cubicBezTo>
                  <a:cubicBezTo>
                    <a:pt x="147" y="10"/>
                    <a:pt x="139" y="10"/>
                    <a:pt x="139" y="10"/>
                  </a:cubicBezTo>
                  <a:cubicBezTo>
                    <a:pt x="138" y="12"/>
                    <a:pt x="151" y="17"/>
                    <a:pt x="151" y="17"/>
                  </a:cubicBezTo>
                  <a:cubicBezTo>
                    <a:pt x="151" y="18"/>
                    <a:pt x="146" y="17"/>
                    <a:pt x="146" y="17"/>
                  </a:cubicBezTo>
                  <a:cubicBezTo>
                    <a:pt x="143" y="17"/>
                    <a:pt x="142" y="16"/>
                    <a:pt x="143" y="19"/>
                  </a:cubicBezTo>
                  <a:cubicBezTo>
                    <a:pt x="142" y="19"/>
                    <a:pt x="141" y="18"/>
                    <a:pt x="140" y="17"/>
                  </a:cubicBezTo>
                  <a:cubicBezTo>
                    <a:pt x="140" y="16"/>
                    <a:pt x="142" y="17"/>
                    <a:pt x="143" y="16"/>
                  </a:cubicBezTo>
                  <a:cubicBezTo>
                    <a:pt x="143" y="16"/>
                    <a:pt x="141" y="14"/>
                    <a:pt x="140" y="14"/>
                  </a:cubicBezTo>
                  <a:cubicBezTo>
                    <a:pt x="138" y="13"/>
                    <a:pt x="136" y="12"/>
                    <a:pt x="133" y="12"/>
                  </a:cubicBezTo>
                  <a:cubicBezTo>
                    <a:pt x="132" y="12"/>
                    <a:pt x="130" y="11"/>
                    <a:pt x="129" y="12"/>
                  </a:cubicBezTo>
                  <a:cubicBezTo>
                    <a:pt x="128" y="12"/>
                    <a:pt x="131" y="15"/>
                    <a:pt x="131" y="15"/>
                  </a:cubicBezTo>
                  <a:cubicBezTo>
                    <a:pt x="134" y="17"/>
                    <a:pt x="138" y="17"/>
                    <a:pt x="142" y="20"/>
                  </a:cubicBezTo>
                  <a:cubicBezTo>
                    <a:pt x="143" y="20"/>
                    <a:pt x="144" y="21"/>
                    <a:pt x="143" y="22"/>
                  </a:cubicBezTo>
                  <a:cubicBezTo>
                    <a:pt x="141" y="24"/>
                    <a:pt x="139" y="22"/>
                    <a:pt x="137" y="21"/>
                  </a:cubicBezTo>
                  <a:cubicBezTo>
                    <a:pt x="132" y="18"/>
                    <a:pt x="126" y="16"/>
                    <a:pt x="120" y="15"/>
                  </a:cubicBezTo>
                  <a:cubicBezTo>
                    <a:pt x="117" y="14"/>
                    <a:pt x="114" y="13"/>
                    <a:pt x="111" y="14"/>
                  </a:cubicBezTo>
                  <a:cubicBezTo>
                    <a:pt x="110" y="14"/>
                    <a:pt x="113" y="17"/>
                    <a:pt x="113" y="18"/>
                  </a:cubicBezTo>
                  <a:cubicBezTo>
                    <a:pt x="113" y="18"/>
                    <a:pt x="117" y="21"/>
                    <a:pt x="117" y="21"/>
                  </a:cubicBezTo>
                  <a:cubicBezTo>
                    <a:pt x="117" y="22"/>
                    <a:pt x="111" y="21"/>
                    <a:pt x="111" y="21"/>
                  </a:cubicBezTo>
                  <a:cubicBezTo>
                    <a:pt x="111" y="23"/>
                    <a:pt x="115" y="22"/>
                    <a:pt x="115" y="24"/>
                  </a:cubicBezTo>
                  <a:cubicBezTo>
                    <a:pt x="115" y="24"/>
                    <a:pt x="111" y="23"/>
                    <a:pt x="110" y="22"/>
                  </a:cubicBezTo>
                  <a:cubicBezTo>
                    <a:pt x="108" y="21"/>
                    <a:pt x="106" y="21"/>
                    <a:pt x="103" y="20"/>
                  </a:cubicBezTo>
                  <a:cubicBezTo>
                    <a:pt x="101" y="19"/>
                    <a:pt x="101" y="20"/>
                    <a:pt x="101" y="22"/>
                  </a:cubicBezTo>
                  <a:cubicBezTo>
                    <a:pt x="100" y="23"/>
                    <a:pt x="99" y="23"/>
                    <a:pt x="98" y="23"/>
                  </a:cubicBezTo>
                  <a:cubicBezTo>
                    <a:pt x="98" y="24"/>
                    <a:pt x="98" y="26"/>
                    <a:pt x="97" y="26"/>
                  </a:cubicBezTo>
                  <a:cubicBezTo>
                    <a:pt x="97" y="27"/>
                    <a:pt x="97" y="24"/>
                    <a:pt x="97" y="23"/>
                  </a:cubicBezTo>
                  <a:cubicBezTo>
                    <a:pt x="97" y="22"/>
                    <a:pt x="98" y="21"/>
                    <a:pt x="98" y="20"/>
                  </a:cubicBezTo>
                  <a:cubicBezTo>
                    <a:pt x="97" y="16"/>
                    <a:pt x="93" y="16"/>
                    <a:pt x="90" y="16"/>
                  </a:cubicBezTo>
                  <a:cubicBezTo>
                    <a:pt x="86" y="17"/>
                    <a:pt x="82" y="18"/>
                    <a:pt x="78" y="18"/>
                  </a:cubicBezTo>
                  <a:cubicBezTo>
                    <a:pt x="77" y="19"/>
                    <a:pt x="75" y="19"/>
                    <a:pt x="74" y="19"/>
                  </a:cubicBezTo>
                  <a:cubicBezTo>
                    <a:pt x="74" y="19"/>
                    <a:pt x="69" y="20"/>
                    <a:pt x="69" y="20"/>
                  </a:cubicBezTo>
                  <a:cubicBezTo>
                    <a:pt x="70" y="21"/>
                    <a:pt x="72" y="21"/>
                    <a:pt x="73" y="21"/>
                  </a:cubicBezTo>
                  <a:cubicBezTo>
                    <a:pt x="74" y="22"/>
                    <a:pt x="75" y="23"/>
                    <a:pt x="77" y="24"/>
                  </a:cubicBezTo>
                  <a:cubicBezTo>
                    <a:pt x="77" y="24"/>
                    <a:pt x="81" y="27"/>
                    <a:pt x="81" y="27"/>
                  </a:cubicBezTo>
                  <a:cubicBezTo>
                    <a:pt x="80" y="27"/>
                    <a:pt x="76" y="25"/>
                    <a:pt x="75" y="25"/>
                  </a:cubicBezTo>
                  <a:cubicBezTo>
                    <a:pt x="73" y="24"/>
                    <a:pt x="72" y="22"/>
                    <a:pt x="70" y="22"/>
                  </a:cubicBezTo>
                  <a:cubicBezTo>
                    <a:pt x="67" y="21"/>
                    <a:pt x="64" y="22"/>
                    <a:pt x="61" y="22"/>
                  </a:cubicBezTo>
                  <a:cubicBezTo>
                    <a:pt x="58" y="23"/>
                    <a:pt x="58" y="22"/>
                    <a:pt x="60" y="25"/>
                  </a:cubicBezTo>
                  <a:cubicBezTo>
                    <a:pt x="60" y="26"/>
                    <a:pt x="60" y="29"/>
                    <a:pt x="60" y="30"/>
                  </a:cubicBezTo>
                  <a:cubicBezTo>
                    <a:pt x="60" y="32"/>
                    <a:pt x="56" y="30"/>
                    <a:pt x="55" y="30"/>
                  </a:cubicBezTo>
                  <a:cubicBezTo>
                    <a:pt x="54" y="30"/>
                    <a:pt x="51" y="28"/>
                    <a:pt x="50" y="30"/>
                  </a:cubicBezTo>
                  <a:cubicBezTo>
                    <a:pt x="49" y="31"/>
                    <a:pt x="50" y="34"/>
                    <a:pt x="50" y="34"/>
                  </a:cubicBezTo>
                  <a:cubicBezTo>
                    <a:pt x="49" y="35"/>
                    <a:pt x="48" y="33"/>
                    <a:pt x="47" y="32"/>
                  </a:cubicBezTo>
                  <a:cubicBezTo>
                    <a:pt x="45" y="31"/>
                    <a:pt x="43" y="31"/>
                    <a:pt x="42" y="32"/>
                  </a:cubicBezTo>
                  <a:cubicBezTo>
                    <a:pt x="39" y="34"/>
                    <a:pt x="36" y="36"/>
                    <a:pt x="32" y="37"/>
                  </a:cubicBezTo>
                  <a:cubicBezTo>
                    <a:pt x="31" y="38"/>
                    <a:pt x="34" y="37"/>
                    <a:pt x="32" y="37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08" name="Freeform 785">
              <a:extLst>
                <a:ext uri="{FF2B5EF4-FFF2-40B4-BE49-F238E27FC236}">
                  <a16:creationId xmlns:a16="http://schemas.microsoft.com/office/drawing/2014/main" id="{A113C8F3-1FC5-CA6E-FD27-E72E38059FD0}"/>
                </a:ext>
              </a:extLst>
            </p:cNvPr>
            <p:cNvSpPr>
              <a:spLocks/>
            </p:cNvSpPr>
            <p:nvPr/>
          </p:nvSpPr>
          <p:spPr bwMode="auto">
            <a:xfrm>
              <a:off x="5338676" y="1677076"/>
              <a:ext cx="35765" cy="22709"/>
            </a:xfrm>
            <a:custGeom>
              <a:avLst/>
              <a:gdLst>
                <a:gd name="T0" fmla="*/ 1 w 7"/>
                <a:gd name="T1" fmla="*/ 0 h 4"/>
                <a:gd name="T2" fmla="*/ 1 w 7"/>
                <a:gd name="T3" fmla="*/ 4 h 4"/>
                <a:gd name="T4" fmla="*/ 5 w 7"/>
                <a:gd name="T5" fmla="*/ 4 h 4"/>
                <a:gd name="T6" fmla="*/ 1 w 7"/>
                <a:gd name="T7" fmla="*/ 0 h 4"/>
                <a:gd name="T8" fmla="*/ 1 w 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1" y="0"/>
                  </a:moveTo>
                  <a:cubicBezTo>
                    <a:pt x="0" y="1"/>
                    <a:pt x="0" y="3"/>
                    <a:pt x="1" y="4"/>
                  </a:cubicBezTo>
                  <a:cubicBezTo>
                    <a:pt x="2" y="4"/>
                    <a:pt x="3" y="4"/>
                    <a:pt x="5" y="4"/>
                  </a:cubicBezTo>
                  <a:cubicBezTo>
                    <a:pt x="7" y="4"/>
                    <a:pt x="1" y="0"/>
                    <a:pt x="1" y="0"/>
                  </a:cubicBezTo>
                  <a:cubicBezTo>
                    <a:pt x="0" y="1"/>
                    <a:pt x="1" y="0"/>
                    <a:pt x="1" y="0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09" name="Freeform 787">
              <a:extLst>
                <a:ext uri="{FF2B5EF4-FFF2-40B4-BE49-F238E27FC236}">
                  <a16:creationId xmlns:a16="http://schemas.microsoft.com/office/drawing/2014/main" id="{D54F149C-B832-9F6D-6C95-5860553898D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5945" y="1788728"/>
              <a:ext cx="46495" cy="17033"/>
            </a:xfrm>
            <a:custGeom>
              <a:avLst/>
              <a:gdLst>
                <a:gd name="T0" fmla="*/ 8 w 9"/>
                <a:gd name="T1" fmla="*/ 1 h 3"/>
                <a:gd name="T2" fmla="*/ 5 w 9"/>
                <a:gd name="T3" fmla="*/ 0 h 3"/>
                <a:gd name="T4" fmla="*/ 0 w 9"/>
                <a:gd name="T5" fmla="*/ 0 h 3"/>
                <a:gd name="T6" fmla="*/ 8 w 9"/>
                <a:gd name="T7" fmla="*/ 1 h 3"/>
                <a:gd name="T8" fmla="*/ 8 w 9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3">
                  <a:moveTo>
                    <a:pt x="8" y="1"/>
                  </a:moveTo>
                  <a:cubicBezTo>
                    <a:pt x="9" y="1"/>
                    <a:pt x="5" y="0"/>
                    <a:pt x="5" y="0"/>
                  </a:cubicBezTo>
                  <a:cubicBezTo>
                    <a:pt x="3" y="0"/>
                    <a:pt x="1" y="0"/>
                    <a:pt x="0" y="0"/>
                  </a:cubicBezTo>
                  <a:cubicBezTo>
                    <a:pt x="2" y="0"/>
                    <a:pt x="6" y="3"/>
                    <a:pt x="8" y="1"/>
                  </a:cubicBezTo>
                  <a:cubicBezTo>
                    <a:pt x="9" y="1"/>
                    <a:pt x="7" y="2"/>
                    <a:pt x="8" y="1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7" name="Freeform 526">
              <a:extLst>
                <a:ext uri="{FF2B5EF4-FFF2-40B4-BE49-F238E27FC236}">
                  <a16:creationId xmlns:a16="http://schemas.microsoft.com/office/drawing/2014/main" id="{8B110D93-1A38-4C1F-4BB4-4090DB37C8B8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5439" y="3800311"/>
              <a:ext cx="51859" cy="22709"/>
            </a:xfrm>
            <a:custGeom>
              <a:avLst/>
              <a:gdLst>
                <a:gd name="T0" fmla="*/ 9 w 10"/>
                <a:gd name="T1" fmla="*/ 2 h 4"/>
                <a:gd name="T2" fmla="*/ 4 w 10"/>
                <a:gd name="T3" fmla="*/ 0 h 4"/>
                <a:gd name="T4" fmla="*/ 1 w 10"/>
                <a:gd name="T5" fmla="*/ 3 h 4"/>
                <a:gd name="T6" fmla="*/ 9 w 10"/>
                <a:gd name="T7" fmla="*/ 2 h 4"/>
                <a:gd name="T8" fmla="*/ 9 w 10"/>
                <a:gd name="T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4">
                  <a:moveTo>
                    <a:pt x="9" y="2"/>
                  </a:moveTo>
                  <a:cubicBezTo>
                    <a:pt x="7" y="1"/>
                    <a:pt x="6" y="0"/>
                    <a:pt x="4" y="0"/>
                  </a:cubicBezTo>
                  <a:cubicBezTo>
                    <a:pt x="3" y="0"/>
                    <a:pt x="0" y="1"/>
                    <a:pt x="1" y="3"/>
                  </a:cubicBezTo>
                  <a:cubicBezTo>
                    <a:pt x="2" y="4"/>
                    <a:pt x="9" y="2"/>
                    <a:pt x="9" y="2"/>
                  </a:cubicBezTo>
                  <a:cubicBezTo>
                    <a:pt x="6" y="1"/>
                    <a:pt x="10" y="3"/>
                    <a:pt x="9" y="2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8" name="Freeform 527">
              <a:extLst>
                <a:ext uri="{FF2B5EF4-FFF2-40B4-BE49-F238E27FC236}">
                  <a16:creationId xmlns:a16="http://schemas.microsoft.com/office/drawing/2014/main" id="{8F00E183-ADAD-BDE6-6091-C01A1A3051E3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0376" y="3794633"/>
              <a:ext cx="59013" cy="28387"/>
            </a:xfrm>
            <a:custGeom>
              <a:avLst/>
              <a:gdLst>
                <a:gd name="T0" fmla="*/ 10 w 11"/>
                <a:gd name="T1" fmla="*/ 4 h 5"/>
                <a:gd name="T2" fmla="*/ 0 w 11"/>
                <a:gd name="T3" fmla="*/ 2 h 5"/>
                <a:gd name="T4" fmla="*/ 5 w 11"/>
                <a:gd name="T5" fmla="*/ 5 h 5"/>
                <a:gd name="T6" fmla="*/ 10 w 11"/>
                <a:gd name="T7" fmla="*/ 4 h 5"/>
                <a:gd name="T8" fmla="*/ 10 w 11"/>
                <a:gd name="T9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5">
                  <a:moveTo>
                    <a:pt x="10" y="4"/>
                  </a:moveTo>
                  <a:cubicBezTo>
                    <a:pt x="10" y="1"/>
                    <a:pt x="2" y="0"/>
                    <a:pt x="0" y="2"/>
                  </a:cubicBezTo>
                  <a:cubicBezTo>
                    <a:pt x="0" y="2"/>
                    <a:pt x="4" y="5"/>
                    <a:pt x="5" y="5"/>
                  </a:cubicBezTo>
                  <a:cubicBezTo>
                    <a:pt x="6" y="5"/>
                    <a:pt x="11" y="4"/>
                    <a:pt x="10" y="4"/>
                  </a:cubicBezTo>
                  <a:cubicBezTo>
                    <a:pt x="10" y="3"/>
                    <a:pt x="11" y="5"/>
                    <a:pt x="10" y="4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9" name="Freeform 528">
              <a:extLst>
                <a:ext uri="{FF2B5EF4-FFF2-40B4-BE49-F238E27FC236}">
                  <a16:creationId xmlns:a16="http://schemas.microsoft.com/office/drawing/2014/main" id="{6EC099A2-1E5B-FD2F-8212-3FE1B2DE28EF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9435" y="3667845"/>
              <a:ext cx="271815" cy="100296"/>
            </a:xfrm>
            <a:custGeom>
              <a:avLst/>
              <a:gdLst>
                <a:gd name="T0" fmla="*/ 52 w 52"/>
                <a:gd name="T1" fmla="*/ 16 h 18"/>
                <a:gd name="T2" fmla="*/ 41 w 52"/>
                <a:gd name="T3" fmla="*/ 17 h 18"/>
                <a:gd name="T4" fmla="*/ 35 w 52"/>
                <a:gd name="T5" fmla="*/ 17 h 18"/>
                <a:gd name="T6" fmla="*/ 37 w 52"/>
                <a:gd name="T7" fmla="*/ 14 h 18"/>
                <a:gd name="T8" fmla="*/ 32 w 52"/>
                <a:gd name="T9" fmla="*/ 11 h 18"/>
                <a:gd name="T10" fmla="*/ 28 w 52"/>
                <a:gd name="T11" fmla="*/ 8 h 18"/>
                <a:gd name="T12" fmla="*/ 20 w 52"/>
                <a:gd name="T13" fmla="*/ 5 h 18"/>
                <a:gd name="T14" fmla="*/ 14 w 52"/>
                <a:gd name="T15" fmla="*/ 5 h 18"/>
                <a:gd name="T16" fmla="*/ 16 w 52"/>
                <a:gd name="T17" fmla="*/ 3 h 18"/>
                <a:gd name="T18" fmla="*/ 8 w 52"/>
                <a:gd name="T19" fmla="*/ 3 h 18"/>
                <a:gd name="T20" fmla="*/ 0 w 52"/>
                <a:gd name="T21" fmla="*/ 6 h 18"/>
                <a:gd name="T22" fmla="*/ 6 w 52"/>
                <a:gd name="T23" fmla="*/ 2 h 18"/>
                <a:gd name="T24" fmla="*/ 16 w 52"/>
                <a:gd name="T25" fmla="*/ 0 h 18"/>
                <a:gd name="T26" fmla="*/ 24 w 52"/>
                <a:gd name="T27" fmla="*/ 1 h 18"/>
                <a:gd name="T28" fmla="*/ 31 w 52"/>
                <a:gd name="T29" fmla="*/ 4 h 18"/>
                <a:gd name="T30" fmla="*/ 32 w 52"/>
                <a:gd name="T31" fmla="*/ 4 h 18"/>
                <a:gd name="T32" fmla="*/ 34 w 52"/>
                <a:gd name="T33" fmla="*/ 5 h 18"/>
                <a:gd name="T34" fmla="*/ 38 w 52"/>
                <a:gd name="T35" fmla="*/ 8 h 18"/>
                <a:gd name="T36" fmla="*/ 45 w 52"/>
                <a:gd name="T37" fmla="*/ 11 h 18"/>
                <a:gd name="T38" fmla="*/ 52 w 52"/>
                <a:gd name="T39" fmla="*/ 1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2" h="18">
                  <a:moveTo>
                    <a:pt x="52" y="16"/>
                  </a:moveTo>
                  <a:cubicBezTo>
                    <a:pt x="52" y="17"/>
                    <a:pt x="42" y="17"/>
                    <a:pt x="41" y="17"/>
                  </a:cubicBezTo>
                  <a:cubicBezTo>
                    <a:pt x="39" y="17"/>
                    <a:pt x="37" y="18"/>
                    <a:pt x="35" y="17"/>
                  </a:cubicBezTo>
                  <a:cubicBezTo>
                    <a:pt x="34" y="16"/>
                    <a:pt x="41" y="15"/>
                    <a:pt x="37" y="14"/>
                  </a:cubicBezTo>
                  <a:cubicBezTo>
                    <a:pt x="35" y="13"/>
                    <a:pt x="33" y="13"/>
                    <a:pt x="32" y="11"/>
                  </a:cubicBezTo>
                  <a:cubicBezTo>
                    <a:pt x="30" y="9"/>
                    <a:pt x="31" y="8"/>
                    <a:pt x="28" y="8"/>
                  </a:cubicBezTo>
                  <a:cubicBezTo>
                    <a:pt x="24" y="9"/>
                    <a:pt x="23" y="6"/>
                    <a:pt x="20" y="5"/>
                  </a:cubicBezTo>
                  <a:cubicBezTo>
                    <a:pt x="19" y="5"/>
                    <a:pt x="15" y="6"/>
                    <a:pt x="14" y="5"/>
                  </a:cubicBezTo>
                  <a:cubicBezTo>
                    <a:pt x="14" y="4"/>
                    <a:pt x="16" y="4"/>
                    <a:pt x="16" y="3"/>
                  </a:cubicBezTo>
                  <a:cubicBezTo>
                    <a:pt x="16" y="2"/>
                    <a:pt x="9" y="3"/>
                    <a:pt x="8" y="3"/>
                  </a:cubicBezTo>
                  <a:cubicBezTo>
                    <a:pt x="8" y="4"/>
                    <a:pt x="0" y="7"/>
                    <a:pt x="0" y="6"/>
                  </a:cubicBezTo>
                  <a:cubicBezTo>
                    <a:pt x="0" y="4"/>
                    <a:pt x="4" y="2"/>
                    <a:pt x="6" y="2"/>
                  </a:cubicBezTo>
                  <a:cubicBezTo>
                    <a:pt x="9" y="0"/>
                    <a:pt x="12" y="0"/>
                    <a:pt x="16" y="0"/>
                  </a:cubicBezTo>
                  <a:cubicBezTo>
                    <a:pt x="18" y="0"/>
                    <a:pt x="22" y="0"/>
                    <a:pt x="24" y="1"/>
                  </a:cubicBezTo>
                  <a:cubicBezTo>
                    <a:pt x="26" y="2"/>
                    <a:pt x="28" y="4"/>
                    <a:pt x="31" y="4"/>
                  </a:cubicBezTo>
                  <a:cubicBezTo>
                    <a:pt x="31" y="4"/>
                    <a:pt x="31" y="3"/>
                    <a:pt x="32" y="4"/>
                  </a:cubicBezTo>
                  <a:cubicBezTo>
                    <a:pt x="33" y="5"/>
                    <a:pt x="33" y="5"/>
                    <a:pt x="34" y="5"/>
                  </a:cubicBezTo>
                  <a:cubicBezTo>
                    <a:pt x="35" y="6"/>
                    <a:pt x="37" y="7"/>
                    <a:pt x="38" y="8"/>
                  </a:cubicBezTo>
                  <a:cubicBezTo>
                    <a:pt x="40" y="9"/>
                    <a:pt x="44" y="9"/>
                    <a:pt x="45" y="11"/>
                  </a:cubicBezTo>
                  <a:cubicBezTo>
                    <a:pt x="47" y="13"/>
                    <a:pt x="52" y="13"/>
                    <a:pt x="52" y="16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0" name="Freeform 529">
              <a:extLst>
                <a:ext uri="{FF2B5EF4-FFF2-40B4-BE49-F238E27FC236}">
                  <a16:creationId xmlns:a16="http://schemas.microsoft.com/office/drawing/2014/main" id="{C4966299-3EE2-585D-BAB4-699AD54C4802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0376" y="3607289"/>
              <a:ext cx="21459" cy="20817"/>
            </a:xfrm>
            <a:custGeom>
              <a:avLst/>
              <a:gdLst>
                <a:gd name="T0" fmla="*/ 2 w 4"/>
                <a:gd name="T1" fmla="*/ 4 h 4"/>
                <a:gd name="T2" fmla="*/ 1 w 4"/>
                <a:gd name="T3" fmla="*/ 0 h 4"/>
                <a:gd name="T4" fmla="*/ 2 w 4"/>
                <a:gd name="T5" fmla="*/ 4 h 4"/>
                <a:gd name="T6" fmla="*/ 2 w 4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2" y="4"/>
                  </a:moveTo>
                  <a:cubicBezTo>
                    <a:pt x="0" y="4"/>
                    <a:pt x="1" y="1"/>
                    <a:pt x="1" y="0"/>
                  </a:cubicBezTo>
                  <a:cubicBezTo>
                    <a:pt x="2" y="0"/>
                    <a:pt x="4" y="4"/>
                    <a:pt x="2" y="4"/>
                  </a:cubicBezTo>
                  <a:cubicBezTo>
                    <a:pt x="1" y="4"/>
                    <a:pt x="4" y="4"/>
                    <a:pt x="2" y="4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1" name="Freeform 530">
              <a:extLst>
                <a:ext uri="{FF2B5EF4-FFF2-40B4-BE49-F238E27FC236}">
                  <a16:creationId xmlns:a16="http://schemas.microsoft.com/office/drawing/2014/main" id="{EEDECF97-A986-E399-99B3-0932D090BC11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2708" y="3722724"/>
              <a:ext cx="10730" cy="11355"/>
            </a:xfrm>
            <a:custGeom>
              <a:avLst/>
              <a:gdLst>
                <a:gd name="T0" fmla="*/ 2 w 2"/>
                <a:gd name="T1" fmla="*/ 1 h 2"/>
                <a:gd name="T2" fmla="*/ 0 w 2"/>
                <a:gd name="T3" fmla="*/ 1 h 2"/>
                <a:gd name="T4" fmla="*/ 2 w 2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2" y="1"/>
                  </a:moveTo>
                  <a:cubicBezTo>
                    <a:pt x="2" y="0"/>
                    <a:pt x="0" y="0"/>
                    <a:pt x="0" y="1"/>
                  </a:cubicBezTo>
                  <a:cubicBezTo>
                    <a:pt x="0" y="1"/>
                    <a:pt x="2" y="2"/>
                    <a:pt x="2" y="1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2" name="Freeform 631">
              <a:extLst>
                <a:ext uri="{FF2B5EF4-FFF2-40B4-BE49-F238E27FC236}">
                  <a16:creationId xmlns:a16="http://schemas.microsoft.com/office/drawing/2014/main" id="{D6F3C32F-AE00-4939-5BA5-BFED68D01BE6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6115" y="3889252"/>
              <a:ext cx="114449" cy="134357"/>
            </a:xfrm>
            <a:custGeom>
              <a:avLst/>
              <a:gdLst>
                <a:gd name="T0" fmla="*/ 15 w 22"/>
                <a:gd name="T1" fmla="*/ 23 h 24"/>
                <a:gd name="T2" fmla="*/ 19 w 22"/>
                <a:gd name="T3" fmla="*/ 24 h 24"/>
                <a:gd name="T4" fmla="*/ 19 w 22"/>
                <a:gd name="T5" fmla="*/ 17 h 24"/>
                <a:gd name="T6" fmla="*/ 20 w 22"/>
                <a:gd name="T7" fmla="*/ 10 h 24"/>
                <a:gd name="T8" fmla="*/ 21 w 22"/>
                <a:gd name="T9" fmla="*/ 7 h 24"/>
                <a:gd name="T10" fmla="*/ 22 w 22"/>
                <a:gd name="T11" fmla="*/ 3 h 24"/>
                <a:gd name="T12" fmla="*/ 17 w 22"/>
                <a:gd name="T13" fmla="*/ 4 h 24"/>
                <a:gd name="T14" fmla="*/ 12 w 22"/>
                <a:gd name="T15" fmla="*/ 5 h 24"/>
                <a:gd name="T16" fmla="*/ 9 w 22"/>
                <a:gd name="T17" fmla="*/ 8 h 24"/>
                <a:gd name="T18" fmla="*/ 4 w 22"/>
                <a:gd name="T19" fmla="*/ 9 h 24"/>
                <a:gd name="T20" fmla="*/ 3 w 22"/>
                <a:gd name="T21" fmla="*/ 12 h 24"/>
                <a:gd name="T22" fmla="*/ 0 w 22"/>
                <a:gd name="T23" fmla="*/ 13 h 24"/>
                <a:gd name="T24" fmla="*/ 6 w 22"/>
                <a:gd name="T25" fmla="*/ 19 h 24"/>
                <a:gd name="T26" fmla="*/ 11 w 22"/>
                <a:gd name="T27" fmla="*/ 22 h 24"/>
                <a:gd name="T28" fmla="*/ 15 w 22"/>
                <a:gd name="T29" fmla="*/ 23 h 24"/>
                <a:gd name="T30" fmla="*/ 15 w 22"/>
                <a:gd name="T31" fmla="*/ 2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" h="24">
                  <a:moveTo>
                    <a:pt x="15" y="23"/>
                  </a:moveTo>
                  <a:cubicBezTo>
                    <a:pt x="16" y="24"/>
                    <a:pt x="17" y="24"/>
                    <a:pt x="19" y="24"/>
                  </a:cubicBezTo>
                  <a:cubicBezTo>
                    <a:pt x="17" y="21"/>
                    <a:pt x="19" y="20"/>
                    <a:pt x="19" y="17"/>
                  </a:cubicBezTo>
                  <a:cubicBezTo>
                    <a:pt x="19" y="15"/>
                    <a:pt x="20" y="12"/>
                    <a:pt x="20" y="10"/>
                  </a:cubicBezTo>
                  <a:cubicBezTo>
                    <a:pt x="20" y="9"/>
                    <a:pt x="21" y="8"/>
                    <a:pt x="21" y="7"/>
                  </a:cubicBezTo>
                  <a:cubicBezTo>
                    <a:pt x="22" y="6"/>
                    <a:pt x="21" y="5"/>
                    <a:pt x="22" y="3"/>
                  </a:cubicBezTo>
                  <a:cubicBezTo>
                    <a:pt x="22" y="0"/>
                    <a:pt x="18" y="4"/>
                    <a:pt x="17" y="4"/>
                  </a:cubicBezTo>
                  <a:cubicBezTo>
                    <a:pt x="15" y="4"/>
                    <a:pt x="14" y="3"/>
                    <a:pt x="12" y="5"/>
                  </a:cubicBezTo>
                  <a:cubicBezTo>
                    <a:pt x="12" y="5"/>
                    <a:pt x="10" y="9"/>
                    <a:pt x="9" y="8"/>
                  </a:cubicBezTo>
                  <a:cubicBezTo>
                    <a:pt x="7" y="8"/>
                    <a:pt x="6" y="8"/>
                    <a:pt x="4" y="9"/>
                  </a:cubicBezTo>
                  <a:cubicBezTo>
                    <a:pt x="4" y="10"/>
                    <a:pt x="4" y="12"/>
                    <a:pt x="3" y="12"/>
                  </a:cubicBezTo>
                  <a:cubicBezTo>
                    <a:pt x="3" y="13"/>
                    <a:pt x="1" y="13"/>
                    <a:pt x="0" y="13"/>
                  </a:cubicBezTo>
                  <a:cubicBezTo>
                    <a:pt x="2" y="15"/>
                    <a:pt x="4" y="18"/>
                    <a:pt x="6" y="19"/>
                  </a:cubicBezTo>
                  <a:cubicBezTo>
                    <a:pt x="7" y="21"/>
                    <a:pt x="9" y="22"/>
                    <a:pt x="11" y="22"/>
                  </a:cubicBezTo>
                  <a:cubicBezTo>
                    <a:pt x="12" y="22"/>
                    <a:pt x="14" y="22"/>
                    <a:pt x="15" y="23"/>
                  </a:cubicBezTo>
                  <a:cubicBezTo>
                    <a:pt x="16" y="23"/>
                    <a:pt x="15" y="22"/>
                    <a:pt x="15" y="23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3" name="Freeform 632">
              <a:extLst>
                <a:ext uri="{FF2B5EF4-FFF2-40B4-BE49-F238E27FC236}">
                  <a16:creationId xmlns:a16="http://schemas.microsoft.com/office/drawing/2014/main" id="{17055350-F3ED-8339-D587-4C13C0AB2FE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1882" y="4012254"/>
              <a:ext cx="89412" cy="83263"/>
            </a:xfrm>
            <a:custGeom>
              <a:avLst/>
              <a:gdLst>
                <a:gd name="T0" fmla="*/ 16 w 17"/>
                <a:gd name="T1" fmla="*/ 10 h 15"/>
                <a:gd name="T2" fmla="*/ 17 w 17"/>
                <a:gd name="T3" fmla="*/ 8 h 15"/>
                <a:gd name="T4" fmla="*/ 15 w 17"/>
                <a:gd name="T5" fmla="*/ 6 h 15"/>
                <a:gd name="T6" fmla="*/ 12 w 17"/>
                <a:gd name="T7" fmla="*/ 2 h 15"/>
                <a:gd name="T8" fmla="*/ 8 w 17"/>
                <a:gd name="T9" fmla="*/ 1 h 15"/>
                <a:gd name="T10" fmla="*/ 3 w 17"/>
                <a:gd name="T11" fmla="*/ 0 h 15"/>
                <a:gd name="T12" fmla="*/ 3 w 17"/>
                <a:gd name="T13" fmla="*/ 6 h 15"/>
                <a:gd name="T14" fmla="*/ 6 w 17"/>
                <a:gd name="T15" fmla="*/ 7 h 15"/>
                <a:gd name="T16" fmla="*/ 4 w 17"/>
                <a:gd name="T17" fmla="*/ 5 h 15"/>
                <a:gd name="T18" fmla="*/ 7 w 17"/>
                <a:gd name="T19" fmla="*/ 7 h 15"/>
                <a:gd name="T20" fmla="*/ 11 w 17"/>
                <a:gd name="T21" fmla="*/ 10 h 15"/>
                <a:gd name="T22" fmla="*/ 14 w 17"/>
                <a:gd name="T23" fmla="*/ 14 h 15"/>
                <a:gd name="T24" fmla="*/ 16 w 17"/>
                <a:gd name="T25" fmla="*/ 10 h 15"/>
                <a:gd name="T26" fmla="*/ 16 w 17"/>
                <a:gd name="T27" fmla="*/ 1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" h="15">
                  <a:moveTo>
                    <a:pt x="16" y="10"/>
                  </a:moveTo>
                  <a:cubicBezTo>
                    <a:pt x="16" y="9"/>
                    <a:pt x="16" y="8"/>
                    <a:pt x="17" y="8"/>
                  </a:cubicBezTo>
                  <a:cubicBezTo>
                    <a:pt x="16" y="7"/>
                    <a:pt x="16" y="6"/>
                    <a:pt x="15" y="6"/>
                  </a:cubicBezTo>
                  <a:cubicBezTo>
                    <a:pt x="14" y="5"/>
                    <a:pt x="13" y="2"/>
                    <a:pt x="12" y="2"/>
                  </a:cubicBezTo>
                  <a:cubicBezTo>
                    <a:pt x="10" y="2"/>
                    <a:pt x="9" y="2"/>
                    <a:pt x="8" y="1"/>
                  </a:cubicBezTo>
                  <a:cubicBezTo>
                    <a:pt x="7" y="0"/>
                    <a:pt x="4" y="0"/>
                    <a:pt x="3" y="0"/>
                  </a:cubicBezTo>
                  <a:cubicBezTo>
                    <a:pt x="4" y="1"/>
                    <a:pt x="0" y="6"/>
                    <a:pt x="3" y="6"/>
                  </a:cubicBezTo>
                  <a:cubicBezTo>
                    <a:pt x="4" y="6"/>
                    <a:pt x="4" y="8"/>
                    <a:pt x="6" y="7"/>
                  </a:cubicBezTo>
                  <a:cubicBezTo>
                    <a:pt x="7" y="6"/>
                    <a:pt x="4" y="5"/>
                    <a:pt x="4" y="5"/>
                  </a:cubicBezTo>
                  <a:cubicBezTo>
                    <a:pt x="5" y="5"/>
                    <a:pt x="7" y="6"/>
                    <a:pt x="7" y="7"/>
                  </a:cubicBezTo>
                  <a:cubicBezTo>
                    <a:pt x="8" y="9"/>
                    <a:pt x="10" y="8"/>
                    <a:pt x="11" y="10"/>
                  </a:cubicBezTo>
                  <a:cubicBezTo>
                    <a:pt x="12" y="11"/>
                    <a:pt x="12" y="13"/>
                    <a:pt x="14" y="14"/>
                  </a:cubicBezTo>
                  <a:cubicBezTo>
                    <a:pt x="17" y="15"/>
                    <a:pt x="17" y="12"/>
                    <a:pt x="16" y="10"/>
                  </a:cubicBezTo>
                  <a:cubicBezTo>
                    <a:pt x="16" y="9"/>
                    <a:pt x="16" y="11"/>
                    <a:pt x="16" y="10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4" name="Freeform 633">
              <a:extLst>
                <a:ext uri="{FF2B5EF4-FFF2-40B4-BE49-F238E27FC236}">
                  <a16:creationId xmlns:a16="http://schemas.microsoft.com/office/drawing/2014/main" id="{05EAB560-FE02-FF5B-A4AC-11C317812BB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1738" y="3917636"/>
              <a:ext cx="59013" cy="49203"/>
            </a:xfrm>
            <a:custGeom>
              <a:avLst/>
              <a:gdLst>
                <a:gd name="T0" fmla="*/ 4 w 11"/>
                <a:gd name="T1" fmla="*/ 1 h 9"/>
                <a:gd name="T2" fmla="*/ 4 w 11"/>
                <a:gd name="T3" fmla="*/ 0 h 9"/>
                <a:gd name="T4" fmla="*/ 0 w 11"/>
                <a:gd name="T5" fmla="*/ 4 h 9"/>
                <a:gd name="T6" fmla="*/ 11 w 11"/>
                <a:gd name="T7" fmla="*/ 5 h 9"/>
                <a:gd name="T8" fmla="*/ 4 w 11"/>
                <a:gd name="T9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9">
                  <a:moveTo>
                    <a:pt x="4" y="1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1"/>
                    <a:pt x="1" y="3"/>
                    <a:pt x="0" y="4"/>
                  </a:cubicBezTo>
                  <a:cubicBezTo>
                    <a:pt x="2" y="5"/>
                    <a:pt x="11" y="9"/>
                    <a:pt x="11" y="5"/>
                  </a:cubicBezTo>
                  <a:cubicBezTo>
                    <a:pt x="11" y="2"/>
                    <a:pt x="6" y="3"/>
                    <a:pt x="4" y="1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5" name="Freeform 634">
              <a:extLst>
                <a:ext uri="{FF2B5EF4-FFF2-40B4-BE49-F238E27FC236}">
                  <a16:creationId xmlns:a16="http://schemas.microsoft.com/office/drawing/2014/main" id="{C9ADEFCA-08E1-0CA6-3B59-0E128132E30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9149" y="3817343"/>
              <a:ext cx="105509" cy="128679"/>
            </a:xfrm>
            <a:custGeom>
              <a:avLst/>
              <a:gdLst>
                <a:gd name="T0" fmla="*/ 16 w 20"/>
                <a:gd name="T1" fmla="*/ 16 h 23"/>
                <a:gd name="T2" fmla="*/ 20 w 20"/>
                <a:gd name="T3" fmla="*/ 12 h 23"/>
                <a:gd name="T4" fmla="*/ 16 w 20"/>
                <a:gd name="T5" fmla="*/ 8 h 23"/>
                <a:gd name="T6" fmla="*/ 16 w 20"/>
                <a:gd name="T7" fmla="*/ 1 h 23"/>
                <a:gd name="T8" fmla="*/ 8 w 20"/>
                <a:gd name="T9" fmla="*/ 1 h 23"/>
                <a:gd name="T10" fmla="*/ 7 w 20"/>
                <a:gd name="T11" fmla="*/ 6 h 23"/>
                <a:gd name="T12" fmla="*/ 8 w 20"/>
                <a:gd name="T13" fmla="*/ 10 h 23"/>
                <a:gd name="T14" fmla="*/ 4 w 20"/>
                <a:gd name="T15" fmla="*/ 10 h 23"/>
                <a:gd name="T16" fmla="*/ 2 w 20"/>
                <a:gd name="T17" fmla="*/ 15 h 23"/>
                <a:gd name="T18" fmla="*/ 12 w 20"/>
                <a:gd name="T19" fmla="*/ 21 h 23"/>
                <a:gd name="T20" fmla="*/ 16 w 20"/>
                <a:gd name="T21" fmla="*/ 16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23">
                  <a:moveTo>
                    <a:pt x="16" y="16"/>
                  </a:moveTo>
                  <a:cubicBezTo>
                    <a:pt x="16" y="14"/>
                    <a:pt x="19" y="13"/>
                    <a:pt x="20" y="12"/>
                  </a:cubicBezTo>
                  <a:cubicBezTo>
                    <a:pt x="17" y="11"/>
                    <a:pt x="16" y="11"/>
                    <a:pt x="16" y="8"/>
                  </a:cubicBezTo>
                  <a:cubicBezTo>
                    <a:pt x="16" y="7"/>
                    <a:pt x="17" y="2"/>
                    <a:pt x="16" y="1"/>
                  </a:cubicBezTo>
                  <a:cubicBezTo>
                    <a:pt x="15" y="0"/>
                    <a:pt x="10" y="1"/>
                    <a:pt x="8" y="1"/>
                  </a:cubicBezTo>
                  <a:cubicBezTo>
                    <a:pt x="6" y="1"/>
                    <a:pt x="6" y="4"/>
                    <a:pt x="7" y="6"/>
                  </a:cubicBezTo>
                  <a:cubicBezTo>
                    <a:pt x="8" y="7"/>
                    <a:pt x="12" y="10"/>
                    <a:pt x="8" y="10"/>
                  </a:cubicBezTo>
                  <a:cubicBezTo>
                    <a:pt x="7" y="10"/>
                    <a:pt x="5" y="10"/>
                    <a:pt x="4" y="10"/>
                  </a:cubicBezTo>
                  <a:cubicBezTo>
                    <a:pt x="2" y="10"/>
                    <a:pt x="2" y="14"/>
                    <a:pt x="2" y="15"/>
                  </a:cubicBezTo>
                  <a:cubicBezTo>
                    <a:pt x="0" y="21"/>
                    <a:pt x="8" y="20"/>
                    <a:pt x="12" y="21"/>
                  </a:cubicBezTo>
                  <a:cubicBezTo>
                    <a:pt x="13" y="23"/>
                    <a:pt x="16" y="17"/>
                    <a:pt x="16" y="16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6" name="Freeform 635">
              <a:extLst>
                <a:ext uri="{FF2B5EF4-FFF2-40B4-BE49-F238E27FC236}">
                  <a16:creationId xmlns:a16="http://schemas.microsoft.com/office/drawing/2014/main" id="{9AFB033A-4151-60B1-757C-88CD0D88F0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0743" y="3378314"/>
              <a:ext cx="785045" cy="533647"/>
            </a:xfrm>
            <a:custGeom>
              <a:avLst/>
              <a:gdLst>
                <a:gd name="T0" fmla="*/ 132 w 150"/>
                <a:gd name="T1" fmla="*/ 88 h 96"/>
                <a:gd name="T2" fmla="*/ 130 w 150"/>
                <a:gd name="T3" fmla="*/ 80 h 96"/>
                <a:gd name="T4" fmla="*/ 144 w 150"/>
                <a:gd name="T5" fmla="*/ 78 h 96"/>
                <a:gd name="T6" fmla="*/ 146 w 150"/>
                <a:gd name="T7" fmla="*/ 68 h 96"/>
                <a:gd name="T8" fmla="*/ 146 w 150"/>
                <a:gd name="T9" fmla="*/ 61 h 96"/>
                <a:gd name="T10" fmla="*/ 132 w 150"/>
                <a:gd name="T11" fmla="*/ 64 h 96"/>
                <a:gd name="T12" fmla="*/ 126 w 150"/>
                <a:gd name="T13" fmla="*/ 76 h 96"/>
                <a:gd name="T14" fmla="*/ 110 w 150"/>
                <a:gd name="T15" fmla="*/ 76 h 96"/>
                <a:gd name="T16" fmla="*/ 102 w 150"/>
                <a:gd name="T17" fmla="*/ 69 h 96"/>
                <a:gd name="T18" fmla="*/ 96 w 150"/>
                <a:gd name="T19" fmla="*/ 51 h 96"/>
                <a:gd name="T20" fmla="*/ 98 w 150"/>
                <a:gd name="T21" fmla="*/ 38 h 96"/>
                <a:gd name="T22" fmla="*/ 90 w 150"/>
                <a:gd name="T23" fmla="*/ 35 h 96"/>
                <a:gd name="T24" fmla="*/ 82 w 150"/>
                <a:gd name="T25" fmla="*/ 24 h 96"/>
                <a:gd name="T26" fmla="*/ 75 w 150"/>
                <a:gd name="T27" fmla="*/ 17 h 96"/>
                <a:gd name="T28" fmla="*/ 68 w 150"/>
                <a:gd name="T29" fmla="*/ 20 h 96"/>
                <a:gd name="T30" fmla="*/ 59 w 150"/>
                <a:gd name="T31" fmla="*/ 10 h 96"/>
                <a:gd name="T32" fmla="*/ 45 w 150"/>
                <a:gd name="T33" fmla="*/ 6 h 96"/>
                <a:gd name="T34" fmla="*/ 29 w 150"/>
                <a:gd name="T35" fmla="*/ 8 h 96"/>
                <a:gd name="T36" fmla="*/ 13 w 150"/>
                <a:gd name="T37" fmla="*/ 1 h 96"/>
                <a:gd name="T38" fmla="*/ 7 w 150"/>
                <a:gd name="T39" fmla="*/ 16 h 96"/>
                <a:gd name="T40" fmla="*/ 15 w 150"/>
                <a:gd name="T41" fmla="*/ 28 h 96"/>
                <a:gd name="T42" fmla="*/ 15 w 150"/>
                <a:gd name="T43" fmla="*/ 32 h 96"/>
                <a:gd name="T44" fmla="*/ 25 w 150"/>
                <a:gd name="T45" fmla="*/ 38 h 96"/>
                <a:gd name="T46" fmla="*/ 26 w 150"/>
                <a:gd name="T47" fmla="*/ 44 h 96"/>
                <a:gd name="T48" fmla="*/ 36 w 150"/>
                <a:gd name="T49" fmla="*/ 53 h 96"/>
                <a:gd name="T50" fmla="*/ 36 w 150"/>
                <a:gd name="T51" fmla="*/ 47 h 96"/>
                <a:gd name="T52" fmla="*/ 32 w 150"/>
                <a:gd name="T53" fmla="*/ 42 h 96"/>
                <a:gd name="T54" fmla="*/ 26 w 150"/>
                <a:gd name="T55" fmla="*/ 32 h 96"/>
                <a:gd name="T56" fmla="*/ 20 w 150"/>
                <a:gd name="T57" fmla="*/ 23 h 96"/>
                <a:gd name="T58" fmla="*/ 13 w 150"/>
                <a:gd name="T59" fmla="*/ 16 h 96"/>
                <a:gd name="T60" fmla="*/ 11 w 150"/>
                <a:gd name="T61" fmla="*/ 5 h 96"/>
                <a:gd name="T62" fmla="*/ 15 w 150"/>
                <a:gd name="T63" fmla="*/ 7 h 96"/>
                <a:gd name="T64" fmla="*/ 20 w 150"/>
                <a:gd name="T65" fmla="*/ 9 h 96"/>
                <a:gd name="T66" fmla="*/ 23 w 150"/>
                <a:gd name="T67" fmla="*/ 19 h 96"/>
                <a:gd name="T68" fmla="*/ 23 w 150"/>
                <a:gd name="T69" fmla="*/ 20 h 96"/>
                <a:gd name="T70" fmla="*/ 32 w 150"/>
                <a:gd name="T71" fmla="*/ 27 h 96"/>
                <a:gd name="T72" fmla="*/ 36 w 150"/>
                <a:gd name="T73" fmla="*/ 33 h 96"/>
                <a:gd name="T74" fmla="*/ 38 w 150"/>
                <a:gd name="T75" fmla="*/ 38 h 96"/>
                <a:gd name="T76" fmla="*/ 46 w 150"/>
                <a:gd name="T77" fmla="*/ 45 h 96"/>
                <a:gd name="T78" fmla="*/ 54 w 150"/>
                <a:gd name="T79" fmla="*/ 53 h 96"/>
                <a:gd name="T80" fmla="*/ 56 w 150"/>
                <a:gd name="T81" fmla="*/ 59 h 96"/>
                <a:gd name="T82" fmla="*/ 58 w 150"/>
                <a:gd name="T83" fmla="*/ 65 h 96"/>
                <a:gd name="T84" fmla="*/ 60 w 150"/>
                <a:gd name="T85" fmla="*/ 72 h 96"/>
                <a:gd name="T86" fmla="*/ 68 w 150"/>
                <a:gd name="T87" fmla="*/ 77 h 96"/>
                <a:gd name="T88" fmla="*/ 89 w 150"/>
                <a:gd name="T89" fmla="*/ 86 h 96"/>
                <a:gd name="T90" fmla="*/ 113 w 150"/>
                <a:gd name="T91" fmla="*/ 88 h 96"/>
                <a:gd name="T92" fmla="*/ 126 w 150"/>
                <a:gd name="T93" fmla="*/ 8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50" h="96">
                  <a:moveTo>
                    <a:pt x="126" y="89"/>
                  </a:moveTo>
                  <a:cubicBezTo>
                    <a:pt x="127" y="89"/>
                    <a:pt x="134" y="90"/>
                    <a:pt x="132" y="88"/>
                  </a:cubicBezTo>
                  <a:cubicBezTo>
                    <a:pt x="131" y="86"/>
                    <a:pt x="129" y="85"/>
                    <a:pt x="128" y="83"/>
                  </a:cubicBezTo>
                  <a:cubicBezTo>
                    <a:pt x="128" y="83"/>
                    <a:pt x="129" y="80"/>
                    <a:pt x="130" y="80"/>
                  </a:cubicBezTo>
                  <a:cubicBezTo>
                    <a:pt x="131" y="79"/>
                    <a:pt x="136" y="80"/>
                    <a:pt x="138" y="80"/>
                  </a:cubicBezTo>
                  <a:cubicBezTo>
                    <a:pt x="141" y="80"/>
                    <a:pt x="140" y="75"/>
                    <a:pt x="144" y="78"/>
                  </a:cubicBezTo>
                  <a:cubicBezTo>
                    <a:pt x="145" y="76"/>
                    <a:pt x="146" y="75"/>
                    <a:pt x="146" y="73"/>
                  </a:cubicBezTo>
                  <a:cubicBezTo>
                    <a:pt x="146" y="71"/>
                    <a:pt x="145" y="69"/>
                    <a:pt x="146" y="68"/>
                  </a:cubicBezTo>
                  <a:cubicBezTo>
                    <a:pt x="147" y="66"/>
                    <a:pt x="150" y="64"/>
                    <a:pt x="150" y="63"/>
                  </a:cubicBezTo>
                  <a:cubicBezTo>
                    <a:pt x="149" y="61"/>
                    <a:pt x="148" y="61"/>
                    <a:pt x="146" y="61"/>
                  </a:cubicBezTo>
                  <a:cubicBezTo>
                    <a:pt x="143" y="61"/>
                    <a:pt x="139" y="61"/>
                    <a:pt x="136" y="62"/>
                  </a:cubicBezTo>
                  <a:cubicBezTo>
                    <a:pt x="134" y="62"/>
                    <a:pt x="133" y="63"/>
                    <a:pt x="132" y="64"/>
                  </a:cubicBezTo>
                  <a:cubicBezTo>
                    <a:pt x="131" y="66"/>
                    <a:pt x="132" y="68"/>
                    <a:pt x="131" y="70"/>
                  </a:cubicBezTo>
                  <a:cubicBezTo>
                    <a:pt x="131" y="71"/>
                    <a:pt x="126" y="76"/>
                    <a:pt x="126" y="76"/>
                  </a:cubicBezTo>
                  <a:cubicBezTo>
                    <a:pt x="122" y="75"/>
                    <a:pt x="118" y="76"/>
                    <a:pt x="114" y="78"/>
                  </a:cubicBezTo>
                  <a:cubicBezTo>
                    <a:pt x="112" y="78"/>
                    <a:pt x="111" y="77"/>
                    <a:pt x="110" y="76"/>
                  </a:cubicBezTo>
                  <a:cubicBezTo>
                    <a:pt x="109" y="75"/>
                    <a:pt x="107" y="75"/>
                    <a:pt x="105" y="74"/>
                  </a:cubicBezTo>
                  <a:cubicBezTo>
                    <a:pt x="103" y="74"/>
                    <a:pt x="103" y="71"/>
                    <a:pt x="102" y="69"/>
                  </a:cubicBezTo>
                  <a:cubicBezTo>
                    <a:pt x="101" y="67"/>
                    <a:pt x="99" y="66"/>
                    <a:pt x="98" y="64"/>
                  </a:cubicBezTo>
                  <a:cubicBezTo>
                    <a:pt x="97" y="60"/>
                    <a:pt x="95" y="55"/>
                    <a:pt x="96" y="51"/>
                  </a:cubicBezTo>
                  <a:cubicBezTo>
                    <a:pt x="96" y="48"/>
                    <a:pt x="95" y="44"/>
                    <a:pt x="97" y="41"/>
                  </a:cubicBezTo>
                  <a:cubicBezTo>
                    <a:pt x="98" y="40"/>
                    <a:pt x="98" y="39"/>
                    <a:pt x="98" y="38"/>
                  </a:cubicBezTo>
                  <a:cubicBezTo>
                    <a:pt x="99" y="36"/>
                    <a:pt x="97" y="37"/>
                    <a:pt x="96" y="36"/>
                  </a:cubicBezTo>
                  <a:cubicBezTo>
                    <a:pt x="94" y="36"/>
                    <a:pt x="92" y="35"/>
                    <a:pt x="90" y="35"/>
                  </a:cubicBezTo>
                  <a:cubicBezTo>
                    <a:pt x="89" y="34"/>
                    <a:pt x="87" y="32"/>
                    <a:pt x="87" y="30"/>
                  </a:cubicBezTo>
                  <a:cubicBezTo>
                    <a:pt x="87" y="27"/>
                    <a:pt x="84" y="26"/>
                    <a:pt x="82" y="24"/>
                  </a:cubicBezTo>
                  <a:cubicBezTo>
                    <a:pt x="81" y="22"/>
                    <a:pt x="81" y="20"/>
                    <a:pt x="80" y="18"/>
                  </a:cubicBezTo>
                  <a:cubicBezTo>
                    <a:pt x="79" y="17"/>
                    <a:pt x="77" y="17"/>
                    <a:pt x="75" y="17"/>
                  </a:cubicBezTo>
                  <a:cubicBezTo>
                    <a:pt x="74" y="16"/>
                    <a:pt x="72" y="16"/>
                    <a:pt x="71" y="17"/>
                  </a:cubicBezTo>
                  <a:cubicBezTo>
                    <a:pt x="71" y="18"/>
                    <a:pt x="70" y="20"/>
                    <a:pt x="68" y="20"/>
                  </a:cubicBezTo>
                  <a:cubicBezTo>
                    <a:pt x="66" y="20"/>
                    <a:pt x="63" y="18"/>
                    <a:pt x="62" y="16"/>
                  </a:cubicBezTo>
                  <a:cubicBezTo>
                    <a:pt x="61" y="13"/>
                    <a:pt x="61" y="12"/>
                    <a:pt x="59" y="10"/>
                  </a:cubicBezTo>
                  <a:cubicBezTo>
                    <a:pt x="57" y="9"/>
                    <a:pt x="54" y="6"/>
                    <a:pt x="52" y="6"/>
                  </a:cubicBezTo>
                  <a:cubicBezTo>
                    <a:pt x="51" y="5"/>
                    <a:pt x="45" y="5"/>
                    <a:pt x="45" y="6"/>
                  </a:cubicBezTo>
                  <a:cubicBezTo>
                    <a:pt x="43" y="9"/>
                    <a:pt x="42" y="8"/>
                    <a:pt x="39" y="8"/>
                  </a:cubicBezTo>
                  <a:cubicBezTo>
                    <a:pt x="35" y="8"/>
                    <a:pt x="32" y="8"/>
                    <a:pt x="29" y="8"/>
                  </a:cubicBezTo>
                  <a:cubicBezTo>
                    <a:pt x="28" y="8"/>
                    <a:pt x="25" y="6"/>
                    <a:pt x="23" y="5"/>
                  </a:cubicBezTo>
                  <a:cubicBezTo>
                    <a:pt x="20" y="4"/>
                    <a:pt x="17" y="3"/>
                    <a:pt x="13" y="1"/>
                  </a:cubicBezTo>
                  <a:cubicBezTo>
                    <a:pt x="9" y="0"/>
                    <a:pt x="4" y="1"/>
                    <a:pt x="0" y="2"/>
                  </a:cubicBezTo>
                  <a:cubicBezTo>
                    <a:pt x="1" y="7"/>
                    <a:pt x="5" y="11"/>
                    <a:pt x="7" y="16"/>
                  </a:cubicBezTo>
                  <a:cubicBezTo>
                    <a:pt x="8" y="18"/>
                    <a:pt x="11" y="20"/>
                    <a:pt x="13" y="21"/>
                  </a:cubicBezTo>
                  <a:cubicBezTo>
                    <a:pt x="14" y="23"/>
                    <a:pt x="16" y="26"/>
                    <a:pt x="15" y="28"/>
                  </a:cubicBezTo>
                  <a:cubicBezTo>
                    <a:pt x="15" y="28"/>
                    <a:pt x="8" y="26"/>
                    <a:pt x="12" y="29"/>
                  </a:cubicBezTo>
                  <a:cubicBezTo>
                    <a:pt x="13" y="30"/>
                    <a:pt x="14" y="31"/>
                    <a:pt x="15" y="32"/>
                  </a:cubicBezTo>
                  <a:cubicBezTo>
                    <a:pt x="17" y="32"/>
                    <a:pt x="18" y="32"/>
                    <a:pt x="19" y="33"/>
                  </a:cubicBezTo>
                  <a:cubicBezTo>
                    <a:pt x="21" y="34"/>
                    <a:pt x="23" y="36"/>
                    <a:pt x="25" y="38"/>
                  </a:cubicBezTo>
                  <a:cubicBezTo>
                    <a:pt x="26" y="39"/>
                    <a:pt x="25" y="41"/>
                    <a:pt x="24" y="42"/>
                  </a:cubicBezTo>
                  <a:cubicBezTo>
                    <a:pt x="23" y="43"/>
                    <a:pt x="25" y="44"/>
                    <a:pt x="26" y="44"/>
                  </a:cubicBezTo>
                  <a:cubicBezTo>
                    <a:pt x="29" y="46"/>
                    <a:pt x="31" y="48"/>
                    <a:pt x="33" y="50"/>
                  </a:cubicBezTo>
                  <a:cubicBezTo>
                    <a:pt x="34" y="51"/>
                    <a:pt x="35" y="53"/>
                    <a:pt x="36" y="53"/>
                  </a:cubicBezTo>
                  <a:cubicBezTo>
                    <a:pt x="37" y="53"/>
                    <a:pt x="38" y="51"/>
                    <a:pt x="37" y="50"/>
                  </a:cubicBezTo>
                  <a:cubicBezTo>
                    <a:pt x="37" y="49"/>
                    <a:pt x="36" y="48"/>
                    <a:pt x="36" y="47"/>
                  </a:cubicBezTo>
                  <a:cubicBezTo>
                    <a:pt x="35" y="46"/>
                    <a:pt x="33" y="47"/>
                    <a:pt x="32" y="46"/>
                  </a:cubicBezTo>
                  <a:cubicBezTo>
                    <a:pt x="30" y="44"/>
                    <a:pt x="32" y="44"/>
                    <a:pt x="32" y="42"/>
                  </a:cubicBezTo>
                  <a:cubicBezTo>
                    <a:pt x="32" y="42"/>
                    <a:pt x="30" y="40"/>
                    <a:pt x="30" y="39"/>
                  </a:cubicBezTo>
                  <a:cubicBezTo>
                    <a:pt x="28" y="37"/>
                    <a:pt x="28" y="34"/>
                    <a:pt x="26" y="32"/>
                  </a:cubicBezTo>
                  <a:cubicBezTo>
                    <a:pt x="24" y="31"/>
                    <a:pt x="22" y="29"/>
                    <a:pt x="21" y="27"/>
                  </a:cubicBezTo>
                  <a:cubicBezTo>
                    <a:pt x="21" y="26"/>
                    <a:pt x="21" y="24"/>
                    <a:pt x="20" y="23"/>
                  </a:cubicBezTo>
                  <a:cubicBezTo>
                    <a:pt x="19" y="22"/>
                    <a:pt x="18" y="21"/>
                    <a:pt x="17" y="20"/>
                  </a:cubicBezTo>
                  <a:cubicBezTo>
                    <a:pt x="16" y="18"/>
                    <a:pt x="15" y="17"/>
                    <a:pt x="13" y="16"/>
                  </a:cubicBezTo>
                  <a:cubicBezTo>
                    <a:pt x="12" y="15"/>
                    <a:pt x="12" y="13"/>
                    <a:pt x="12" y="12"/>
                  </a:cubicBezTo>
                  <a:cubicBezTo>
                    <a:pt x="12" y="11"/>
                    <a:pt x="10" y="6"/>
                    <a:pt x="11" y="5"/>
                  </a:cubicBezTo>
                  <a:cubicBezTo>
                    <a:pt x="12" y="4"/>
                    <a:pt x="13" y="7"/>
                    <a:pt x="14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7" y="6"/>
                    <a:pt x="17" y="7"/>
                    <a:pt x="18" y="8"/>
                  </a:cubicBezTo>
                  <a:cubicBezTo>
                    <a:pt x="19" y="8"/>
                    <a:pt x="20" y="8"/>
                    <a:pt x="20" y="9"/>
                  </a:cubicBezTo>
                  <a:cubicBezTo>
                    <a:pt x="20" y="11"/>
                    <a:pt x="21" y="13"/>
                    <a:pt x="22" y="15"/>
                  </a:cubicBezTo>
                  <a:cubicBezTo>
                    <a:pt x="22" y="16"/>
                    <a:pt x="23" y="18"/>
                    <a:pt x="23" y="19"/>
                  </a:cubicBezTo>
                  <a:cubicBezTo>
                    <a:pt x="23" y="20"/>
                    <a:pt x="22" y="21"/>
                    <a:pt x="22" y="22"/>
                  </a:cubicBezTo>
                  <a:cubicBezTo>
                    <a:pt x="23" y="22"/>
                    <a:pt x="23" y="20"/>
                    <a:pt x="23" y="20"/>
                  </a:cubicBezTo>
                  <a:cubicBezTo>
                    <a:pt x="24" y="19"/>
                    <a:pt x="25" y="22"/>
                    <a:pt x="26" y="22"/>
                  </a:cubicBezTo>
                  <a:cubicBezTo>
                    <a:pt x="27" y="23"/>
                    <a:pt x="32" y="26"/>
                    <a:pt x="32" y="27"/>
                  </a:cubicBezTo>
                  <a:cubicBezTo>
                    <a:pt x="32" y="29"/>
                    <a:pt x="33" y="30"/>
                    <a:pt x="34" y="30"/>
                  </a:cubicBezTo>
                  <a:cubicBezTo>
                    <a:pt x="35" y="31"/>
                    <a:pt x="35" y="32"/>
                    <a:pt x="36" y="33"/>
                  </a:cubicBezTo>
                  <a:cubicBezTo>
                    <a:pt x="37" y="34"/>
                    <a:pt x="38" y="33"/>
                    <a:pt x="38" y="34"/>
                  </a:cubicBezTo>
                  <a:cubicBezTo>
                    <a:pt x="39" y="35"/>
                    <a:pt x="37" y="36"/>
                    <a:pt x="38" y="38"/>
                  </a:cubicBezTo>
                  <a:cubicBezTo>
                    <a:pt x="40" y="39"/>
                    <a:pt x="42" y="40"/>
                    <a:pt x="44" y="42"/>
                  </a:cubicBezTo>
                  <a:cubicBezTo>
                    <a:pt x="45" y="43"/>
                    <a:pt x="45" y="44"/>
                    <a:pt x="46" y="45"/>
                  </a:cubicBezTo>
                  <a:cubicBezTo>
                    <a:pt x="47" y="46"/>
                    <a:pt x="48" y="46"/>
                    <a:pt x="49" y="48"/>
                  </a:cubicBezTo>
                  <a:cubicBezTo>
                    <a:pt x="51" y="49"/>
                    <a:pt x="52" y="51"/>
                    <a:pt x="54" y="53"/>
                  </a:cubicBezTo>
                  <a:cubicBezTo>
                    <a:pt x="55" y="54"/>
                    <a:pt x="56" y="55"/>
                    <a:pt x="57" y="56"/>
                  </a:cubicBezTo>
                  <a:cubicBezTo>
                    <a:pt x="58" y="58"/>
                    <a:pt x="56" y="58"/>
                    <a:pt x="56" y="59"/>
                  </a:cubicBezTo>
                  <a:cubicBezTo>
                    <a:pt x="56" y="60"/>
                    <a:pt x="59" y="59"/>
                    <a:pt x="59" y="61"/>
                  </a:cubicBezTo>
                  <a:cubicBezTo>
                    <a:pt x="58" y="63"/>
                    <a:pt x="57" y="63"/>
                    <a:pt x="58" y="65"/>
                  </a:cubicBezTo>
                  <a:cubicBezTo>
                    <a:pt x="58" y="65"/>
                    <a:pt x="56" y="67"/>
                    <a:pt x="57" y="68"/>
                  </a:cubicBezTo>
                  <a:cubicBezTo>
                    <a:pt x="58" y="69"/>
                    <a:pt x="59" y="71"/>
                    <a:pt x="60" y="72"/>
                  </a:cubicBezTo>
                  <a:cubicBezTo>
                    <a:pt x="61" y="73"/>
                    <a:pt x="62" y="73"/>
                    <a:pt x="63" y="73"/>
                  </a:cubicBezTo>
                  <a:cubicBezTo>
                    <a:pt x="66" y="74"/>
                    <a:pt x="66" y="76"/>
                    <a:pt x="68" y="77"/>
                  </a:cubicBezTo>
                  <a:cubicBezTo>
                    <a:pt x="71" y="79"/>
                    <a:pt x="75" y="79"/>
                    <a:pt x="77" y="81"/>
                  </a:cubicBezTo>
                  <a:cubicBezTo>
                    <a:pt x="81" y="83"/>
                    <a:pt x="85" y="85"/>
                    <a:pt x="89" y="86"/>
                  </a:cubicBezTo>
                  <a:cubicBezTo>
                    <a:pt x="92" y="88"/>
                    <a:pt x="97" y="90"/>
                    <a:pt x="101" y="91"/>
                  </a:cubicBezTo>
                  <a:cubicBezTo>
                    <a:pt x="105" y="91"/>
                    <a:pt x="108" y="87"/>
                    <a:pt x="113" y="88"/>
                  </a:cubicBezTo>
                  <a:cubicBezTo>
                    <a:pt x="117" y="89"/>
                    <a:pt x="120" y="93"/>
                    <a:pt x="123" y="96"/>
                  </a:cubicBezTo>
                  <a:cubicBezTo>
                    <a:pt x="123" y="95"/>
                    <a:pt x="124" y="90"/>
                    <a:pt x="126" y="89"/>
                  </a:cubicBezTo>
                  <a:cubicBezTo>
                    <a:pt x="127" y="89"/>
                    <a:pt x="125" y="89"/>
                    <a:pt x="126" y="89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7" name="Freeform 636">
              <a:extLst>
                <a:ext uri="{FF2B5EF4-FFF2-40B4-BE49-F238E27FC236}">
                  <a16:creationId xmlns:a16="http://schemas.microsoft.com/office/drawing/2014/main" id="{068C62D2-0DBC-9174-4188-83918552F2D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7833" y="3874113"/>
              <a:ext cx="157367" cy="88941"/>
            </a:xfrm>
            <a:custGeom>
              <a:avLst/>
              <a:gdLst>
                <a:gd name="T0" fmla="*/ 12 w 30"/>
                <a:gd name="T1" fmla="*/ 15 h 16"/>
                <a:gd name="T2" fmla="*/ 13 w 30"/>
                <a:gd name="T3" fmla="*/ 13 h 16"/>
                <a:gd name="T4" fmla="*/ 16 w 30"/>
                <a:gd name="T5" fmla="*/ 11 h 16"/>
                <a:gd name="T6" fmla="*/ 20 w 30"/>
                <a:gd name="T7" fmla="*/ 10 h 16"/>
                <a:gd name="T8" fmla="*/ 24 w 30"/>
                <a:gd name="T9" fmla="*/ 7 h 16"/>
                <a:gd name="T10" fmla="*/ 30 w 30"/>
                <a:gd name="T11" fmla="*/ 5 h 16"/>
                <a:gd name="T12" fmla="*/ 20 w 30"/>
                <a:gd name="T13" fmla="*/ 1 h 16"/>
                <a:gd name="T14" fmla="*/ 14 w 30"/>
                <a:gd name="T15" fmla="*/ 2 h 16"/>
                <a:gd name="T16" fmla="*/ 8 w 30"/>
                <a:gd name="T17" fmla="*/ 1 h 16"/>
                <a:gd name="T18" fmla="*/ 2 w 30"/>
                <a:gd name="T19" fmla="*/ 4 h 16"/>
                <a:gd name="T20" fmla="*/ 1 w 30"/>
                <a:gd name="T21" fmla="*/ 9 h 16"/>
                <a:gd name="T22" fmla="*/ 8 w 30"/>
                <a:gd name="T23" fmla="*/ 14 h 16"/>
                <a:gd name="T24" fmla="*/ 10 w 30"/>
                <a:gd name="T25" fmla="*/ 14 h 16"/>
                <a:gd name="T26" fmla="*/ 9 w 30"/>
                <a:gd name="T27" fmla="*/ 16 h 16"/>
                <a:gd name="T28" fmla="*/ 12 w 30"/>
                <a:gd name="T29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0" h="16">
                  <a:moveTo>
                    <a:pt x="12" y="15"/>
                  </a:moveTo>
                  <a:cubicBezTo>
                    <a:pt x="13" y="15"/>
                    <a:pt x="13" y="14"/>
                    <a:pt x="13" y="13"/>
                  </a:cubicBezTo>
                  <a:cubicBezTo>
                    <a:pt x="13" y="12"/>
                    <a:pt x="15" y="11"/>
                    <a:pt x="16" y="11"/>
                  </a:cubicBezTo>
                  <a:cubicBezTo>
                    <a:pt x="18" y="10"/>
                    <a:pt x="18" y="12"/>
                    <a:pt x="20" y="10"/>
                  </a:cubicBezTo>
                  <a:cubicBezTo>
                    <a:pt x="21" y="9"/>
                    <a:pt x="22" y="6"/>
                    <a:pt x="24" y="7"/>
                  </a:cubicBezTo>
                  <a:cubicBezTo>
                    <a:pt x="27" y="7"/>
                    <a:pt x="27" y="6"/>
                    <a:pt x="30" y="5"/>
                  </a:cubicBezTo>
                  <a:cubicBezTo>
                    <a:pt x="26" y="3"/>
                    <a:pt x="25" y="0"/>
                    <a:pt x="20" y="1"/>
                  </a:cubicBezTo>
                  <a:cubicBezTo>
                    <a:pt x="18" y="1"/>
                    <a:pt x="16" y="2"/>
                    <a:pt x="14" y="2"/>
                  </a:cubicBezTo>
                  <a:cubicBezTo>
                    <a:pt x="12" y="2"/>
                    <a:pt x="10" y="1"/>
                    <a:pt x="8" y="1"/>
                  </a:cubicBezTo>
                  <a:cubicBezTo>
                    <a:pt x="5" y="2"/>
                    <a:pt x="4" y="2"/>
                    <a:pt x="2" y="4"/>
                  </a:cubicBezTo>
                  <a:cubicBezTo>
                    <a:pt x="2" y="5"/>
                    <a:pt x="0" y="7"/>
                    <a:pt x="1" y="9"/>
                  </a:cubicBezTo>
                  <a:cubicBezTo>
                    <a:pt x="4" y="11"/>
                    <a:pt x="8" y="9"/>
                    <a:pt x="8" y="14"/>
                  </a:cubicBezTo>
                  <a:cubicBezTo>
                    <a:pt x="8" y="14"/>
                    <a:pt x="10" y="14"/>
                    <a:pt x="10" y="14"/>
                  </a:cubicBezTo>
                  <a:cubicBezTo>
                    <a:pt x="10" y="14"/>
                    <a:pt x="9" y="16"/>
                    <a:pt x="9" y="16"/>
                  </a:cubicBezTo>
                  <a:cubicBezTo>
                    <a:pt x="10" y="16"/>
                    <a:pt x="12" y="16"/>
                    <a:pt x="12" y="15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8" name="Freeform 637">
              <a:extLst>
                <a:ext uri="{FF2B5EF4-FFF2-40B4-BE49-F238E27FC236}">
                  <a16:creationId xmlns:a16="http://schemas.microsoft.com/office/drawing/2014/main" id="{6121E15F-D0ED-DBEC-BEAC-5CD99C3C0C0A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7833" y="3800311"/>
              <a:ext cx="37553" cy="83263"/>
            </a:xfrm>
            <a:custGeom>
              <a:avLst/>
              <a:gdLst>
                <a:gd name="T0" fmla="*/ 5 w 7"/>
                <a:gd name="T1" fmla="*/ 1 h 15"/>
                <a:gd name="T2" fmla="*/ 2 w 7"/>
                <a:gd name="T3" fmla="*/ 4 h 15"/>
                <a:gd name="T4" fmla="*/ 1 w 7"/>
                <a:gd name="T5" fmla="*/ 6 h 15"/>
                <a:gd name="T6" fmla="*/ 2 w 7"/>
                <a:gd name="T7" fmla="*/ 14 h 15"/>
                <a:gd name="T8" fmla="*/ 6 w 7"/>
                <a:gd name="T9" fmla="*/ 8 h 15"/>
                <a:gd name="T10" fmla="*/ 7 w 7"/>
                <a:gd name="T11" fmla="*/ 2 h 15"/>
                <a:gd name="T12" fmla="*/ 5 w 7"/>
                <a:gd name="T13" fmla="*/ 1 h 15"/>
                <a:gd name="T14" fmla="*/ 5 w 7"/>
                <a:gd name="T15" fmla="*/ 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15">
                  <a:moveTo>
                    <a:pt x="5" y="1"/>
                  </a:moveTo>
                  <a:cubicBezTo>
                    <a:pt x="4" y="0"/>
                    <a:pt x="2" y="3"/>
                    <a:pt x="2" y="4"/>
                  </a:cubicBezTo>
                  <a:cubicBezTo>
                    <a:pt x="1" y="5"/>
                    <a:pt x="1" y="4"/>
                    <a:pt x="1" y="6"/>
                  </a:cubicBezTo>
                  <a:cubicBezTo>
                    <a:pt x="1" y="7"/>
                    <a:pt x="0" y="15"/>
                    <a:pt x="2" y="14"/>
                  </a:cubicBezTo>
                  <a:cubicBezTo>
                    <a:pt x="2" y="13"/>
                    <a:pt x="5" y="10"/>
                    <a:pt x="6" y="8"/>
                  </a:cubicBezTo>
                  <a:cubicBezTo>
                    <a:pt x="6" y="5"/>
                    <a:pt x="6" y="4"/>
                    <a:pt x="7" y="2"/>
                  </a:cubicBezTo>
                  <a:cubicBezTo>
                    <a:pt x="7" y="1"/>
                    <a:pt x="6" y="1"/>
                    <a:pt x="5" y="1"/>
                  </a:cubicBezTo>
                  <a:cubicBezTo>
                    <a:pt x="4" y="0"/>
                    <a:pt x="6" y="1"/>
                    <a:pt x="5" y="1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9" name="Freeform 638">
              <a:extLst>
                <a:ext uri="{FF2B5EF4-FFF2-40B4-BE49-F238E27FC236}">
                  <a16:creationId xmlns:a16="http://schemas.microsoft.com/office/drawing/2014/main" id="{48376F04-D90C-6EFF-B871-9B5652451959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1247" y="3751108"/>
              <a:ext cx="67953" cy="60555"/>
            </a:xfrm>
            <a:custGeom>
              <a:avLst/>
              <a:gdLst>
                <a:gd name="T0" fmla="*/ 12 w 13"/>
                <a:gd name="T1" fmla="*/ 3 h 11"/>
                <a:gd name="T2" fmla="*/ 6 w 13"/>
                <a:gd name="T3" fmla="*/ 1 h 11"/>
                <a:gd name="T4" fmla="*/ 7 w 13"/>
                <a:gd name="T5" fmla="*/ 5 h 11"/>
                <a:gd name="T6" fmla="*/ 9 w 13"/>
                <a:gd name="T7" fmla="*/ 9 h 11"/>
                <a:gd name="T8" fmla="*/ 6 w 13"/>
                <a:gd name="T9" fmla="*/ 10 h 11"/>
                <a:gd name="T10" fmla="*/ 5 w 13"/>
                <a:gd name="T11" fmla="*/ 8 h 11"/>
                <a:gd name="T12" fmla="*/ 0 w 13"/>
                <a:gd name="T13" fmla="*/ 9 h 11"/>
                <a:gd name="T14" fmla="*/ 3 w 13"/>
                <a:gd name="T15" fmla="*/ 11 h 11"/>
                <a:gd name="T16" fmla="*/ 13 w 13"/>
                <a:gd name="T17" fmla="*/ 11 h 11"/>
                <a:gd name="T18" fmla="*/ 12 w 13"/>
                <a:gd name="T19" fmla="*/ 3 h 11"/>
                <a:gd name="T20" fmla="*/ 12 w 13"/>
                <a:gd name="T21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" h="11">
                  <a:moveTo>
                    <a:pt x="12" y="3"/>
                  </a:moveTo>
                  <a:cubicBezTo>
                    <a:pt x="10" y="3"/>
                    <a:pt x="8" y="0"/>
                    <a:pt x="6" y="1"/>
                  </a:cubicBezTo>
                  <a:cubicBezTo>
                    <a:pt x="3" y="2"/>
                    <a:pt x="7" y="3"/>
                    <a:pt x="7" y="5"/>
                  </a:cubicBezTo>
                  <a:cubicBezTo>
                    <a:pt x="8" y="6"/>
                    <a:pt x="10" y="8"/>
                    <a:pt x="9" y="9"/>
                  </a:cubicBezTo>
                  <a:cubicBezTo>
                    <a:pt x="8" y="10"/>
                    <a:pt x="7" y="10"/>
                    <a:pt x="6" y="10"/>
                  </a:cubicBezTo>
                  <a:cubicBezTo>
                    <a:pt x="4" y="9"/>
                    <a:pt x="6" y="9"/>
                    <a:pt x="5" y="8"/>
                  </a:cubicBezTo>
                  <a:cubicBezTo>
                    <a:pt x="5" y="8"/>
                    <a:pt x="0" y="9"/>
                    <a:pt x="0" y="9"/>
                  </a:cubicBezTo>
                  <a:cubicBezTo>
                    <a:pt x="0" y="11"/>
                    <a:pt x="2" y="11"/>
                    <a:pt x="3" y="11"/>
                  </a:cubicBezTo>
                  <a:cubicBezTo>
                    <a:pt x="6" y="10"/>
                    <a:pt x="9" y="11"/>
                    <a:pt x="13" y="11"/>
                  </a:cubicBezTo>
                  <a:cubicBezTo>
                    <a:pt x="13" y="8"/>
                    <a:pt x="12" y="5"/>
                    <a:pt x="12" y="3"/>
                  </a:cubicBezTo>
                  <a:cubicBezTo>
                    <a:pt x="11" y="3"/>
                    <a:pt x="12" y="5"/>
                    <a:pt x="12" y="3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0" name="Freeform 639">
              <a:extLst>
                <a:ext uri="{FF2B5EF4-FFF2-40B4-BE49-F238E27FC236}">
                  <a16:creationId xmlns:a16="http://schemas.microsoft.com/office/drawing/2014/main" id="{DB4DF677-DF9A-091A-3FC0-34CE9C9D181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3837" y="3751108"/>
              <a:ext cx="94778" cy="83263"/>
            </a:xfrm>
            <a:custGeom>
              <a:avLst/>
              <a:gdLst>
                <a:gd name="T0" fmla="*/ 14 w 18"/>
                <a:gd name="T1" fmla="*/ 7 h 15"/>
                <a:gd name="T2" fmla="*/ 8 w 18"/>
                <a:gd name="T3" fmla="*/ 3 h 15"/>
                <a:gd name="T4" fmla="*/ 1 w 18"/>
                <a:gd name="T5" fmla="*/ 1 h 15"/>
                <a:gd name="T6" fmla="*/ 0 w 18"/>
                <a:gd name="T7" fmla="*/ 3 h 15"/>
                <a:gd name="T8" fmla="*/ 1 w 18"/>
                <a:gd name="T9" fmla="*/ 10 h 15"/>
                <a:gd name="T10" fmla="*/ 2 w 18"/>
                <a:gd name="T11" fmla="*/ 12 h 15"/>
                <a:gd name="T12" fmla="*/ 4 w 18"/>
                <a:gd name="T13" fmla="*/ 10 h 15"/>
                <a:gd name="T14" fmla="*/ 13 w 18"/>
                <a:gd name="T15" fmla="*/ 10 h 15"/>
                <a:gd name="T16" fmla="*/ 17 w 18"/>
                <a:gd name="T17" fmla="*/ 10 h 15"/>
                <a:gd name="T18" fmla="*/ 14 w 18"/>
                <a:gd name="T19" fmla="*/ 7 h 15"/>
                <a:gd name="T20" fmla="*/ 14 w 18"/>
                <a:gd name="T21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" h="15">
                  <a:moveTo>
                    <a:pt x="14" y="7"/>
                  </a:moveTo>
                  <a:cubicBezTo>
                    <a:pt x="12" y="6"/>
                    <a:pt x="10" y="4"/>
                    <a:pt x="8" y="3"/>
                  </a:cubicBezTo>
                  <a:cubicBezTo>
                    <a:pt x="7" y="2"/>
                    <a:pt x="2" y="0"/>
                    <a:pt x="1" y="1"/>
                  </a:cubicBezTo>
                  <a:cubicBezTo>
                    <a:pt x="1" y="1"/>
                    <a:pt x="3" y="3"/>
                    <a:pt x="0" y="3"/>
                  </a:cubicBezTo>
                  <a:cubicBezTo>
                    <a:pt x="0" y="5"/>
                    <a:pt x="1" y="7"/>
                    <a:pt x="1" y="10"/>
                  </a:cubicBezTo>
                  <a:cubicBezTo>
                    <a:pt x="1" y="11"/>
                    <a:pt x="1" y="11"/>
                    <a:pt x="2" y="12"/>
                  </a:cubicBezTo>
                  <a:cubicBezTo>
                    <a:pt x="3" y="15"/>
                    <a:pt x="3" y="11"/>
                    <a:pt x="4" y="10"/>
                  </a:cubicBezTo>
                  <a:cubicBezTo>
                    <a:pt x="6" y="8"/>
                    <a:pt x="11" y="10"/>
                    <a:pt x="13" y="10"/>
                  </a:cubicBezTo>
                  <a:cubicBezTo>
                    <a:pt x="15" y="10"/>
                    <a:pt x="15" y="11"/>
                    <a:pt x="17" y="10"/>
                  </a:cubicBezTo>
                  <a:cubicBezTo>
                    <a:pt x="18" y="8"/>
                    <a:pt x="17" y="7"/>
                    <a:pt x="14" y="7"/>
                  </a:cubicBezTo>
                  <a:cubicBezTo>
                    <a:pt x="12" y="7"/>
                    <a:pt x="16" y="7"/>
                    <a:pt x="14" y="7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1" name="Freeform 531">
              <a:extLst>
                <a:ext uri="{FF2B5EF4-FFF2-40B4-BE49-F238E27FC236}">
                  <a16:creationId xmlns:a16="http://schemas.microsoft.com/office/drawing/2014/main" id="{F64685E0-08E9-3E6A-EC16-3B9A3EAD6850}"/>
                </a:ext>
              </a:extLst>
            </p:cNvPr>
            <p:cNvSpPr>
              <a:spLocks/>
            </p:cNvSpPr>
            <p:nvPr/>
          </p:nvSpPr>
          <p:spPr bwMode="auto">
            <a:xfrm>
              <a:off x="4217440" y="2905223"/>
              <a:ext cx="30400" cy="56771"/>
            </a:xfrm>
            <a:custGeom>
              <a:avLst/>
              <a:gdLst>
                <a:gd name="T0" fmla="*/ 3 w 6"/>
                <a:gd name="T1" fmla="*/ 8 h 10"/>
                <a:gd name="T2" fmla="*/ 0 w 6"/>
                <a:gd name="T3" fmla="*/ 7 h 10"/>
                <a:gd name="T4" fmla="*/ 4 w 6"/>
                <a:gd name="T5" fmla="*/ 2 h 10"/>
                <a:gd name="T6" fmla="*/ 6 w 6"/>
                <a:gd name="T7" fmla="*/ 4 h 10"/>
                <a:gd name="T8" fmla="*/ 3 w 6"/>
                <a:gd name="T9" fmla="*/ 8 h 10"/>
                <a:gd name="T10" fmla="*/ 3 w 6"/>
                <a:gd name="T11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0">
                  <a:moveTo>
                    <a:pt x="3" y="8"/>
                  </a:moveTo>
                  <a:cubicBezTo>
                    <a:pt x="2" y="10"/>
                    <a:pt x="0" y="9"/>
                    <a:pt x="0" y="7"/>
                  </a:cubicBezTo>
                  <a:cubicBezTo>
                    <a:pt x="1" y="6"/>
                    <a:pt x="3" y="3"/>
                    <a:pt x="4" y="2"/>
                  </a:cubicBezTo>
                  <a:cubicBezTo>
                    <a:pt x="6" y="0"/>
                    <a:pt x="6" y="3"/>
                    <a:pt x="6" y="4"/>
                  </a:cubicBezTo>
                  <a:cubicBezTo>
                    <a:pt x="6" y="6"/>
                    <a:pt x="3" y="6"/>
                    <a:pt x="3" y="8"/>
                  </a:cubicBezTo>
                  <a:cubicBezTo>
                    <a:pt x="2" y="10"/>
                    <a:pt x="3" y="8"/>
                    <a:pt x="3" y="8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2" name="Freeform 532">
              <a:extLst>
                <a:ext uri="{FF2B5EF4-FFF2-40B4-BE49-F238E27FC236}">
                  <a16:creationId xmlns:a16="http://schemas.microsoft.com/office/drawing/2014/main" id="{EB0DAF0E-54BB-A3E9-7366-72F3522E4D5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1746" y="2933609"/>
              <a:ext cx="37553" cy="22709"/>
            </a:xfrm>
            <a:custGeom>
              <a:avLst/>
              <a:gdLst>
                <a:gd name="T0" fmla="*/ 3 w 7"/>
                <a:gd name="T1" fmla="*/ 4 h 4"/>
                <a:gd name="T2" fmla="*/ 5 w 7"/>
                <a:gd name="T3" fmla="*/ 1 h 4"/>
                <a:gd name="T4" fmla="*/ 3 w 7"/>
                <a:gd name="T5" fmla="*/ 4 h 4"/>
                <a:gd name="T6" fmla="*/ 3 w 7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4">
                  <a:moveTo>
                    <a:pt x="3" y="4"/>
                  </a:moveTo>
                  <a:cubicBezTo>
                    <a:pt x="0" y="4"/>
                    <a:pt x="3" y="0"/>
                    <a:pt x="5" y="1"/>
                  </a:cubicBezTo>
                  <a:cubicBezTo>
                    <a:pt x="7" y="1"/>
                    <a:pt x="4" y="4"/>
                    <a:pt x="3" y="4"/>
                  </a:cubicBezTo>
                  <a:cubicBezTo>
                    <a:pt x="2" y="4"/>
                    <a:pt x="4" y="4"/>
                    <a:pt x="3" y="4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3" name="Freeform 533">
              <a:extLst>
                <a:ext uri="{FF2B5EF4-FFF2-40B4-BE49-F238E27FC236}">
                  <a16:creationId xmlns:a16="http://schemas.microsoft.com/office/drawing/2014/main" id="{627AB1A0-0C17-C9F0-05F4-6A35E1CA3F6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8026" y="2910900"/>
              <a:ext cx="78683" cy="39739"/>
            </a:xfrm>
            <a:custGeom>
              <a:avLst/>
              <a:gdLst>
                <a:gd name="T0" fmla="*/ 11 w 15"/>
                <a:gd name="T1" fmla="*/ 6 h 7"/>
                <a:gd name="T2" fmla="*/ 10 w 15"/>
                <a:gd name="T3" fmla="*/ 5 h 7"/>
                <a:gd name="T4" fmla="*/ 7 w 15"/>
                <a:gd name="T5" fmla="*/ 5 h 7"/>
                <a:gd name="T6" fmla="*/ 3 w 15"/>
                <a:gd name="T7" fmla="*/ 0 h 7"/>
                <a:gd name="T8" fmla="*/ 6 w 15"/>
                <a:gd name="T9" fmla="*/ 2 h 7"/>
                <a:gd name="T10" fmla="*/ 8 w 15"/>
                <a:gd name="T11" fmla="*/ 3 h 7"/>
                <a:gd name="T12" fmla="*/ 15 w 15"/>
                <a:gd name="T13" fmla="*/ 3 h 7"/>
                <a:gd name="T14" fmla="*/ 11 w 15"/>
                <a:gd name="T15" fmla="*/ 6 h 7"/>
                <a:gd name="T16" fmla="*/ 11 w 15"/>
                <a:gd name="T1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7">
                  <a:moveTo>
                    <a:pt x="11" y="6"/>
                  </a:moveTo>
                  <a:cubicBezTo>
                    <a:pt x="10" y="6"/>
                    <a:pt x="10" y="6"/>
                    <a:pt x="10" y="5"/>
                  </a:cubicBezTo>
                  <a:cubicBezTo>
                    <a:pt x="10" y="5"/>
                    <a:pt x="8" y="6"/>
                    <a:pt x="7" y="5"/>
                  </a:cubicBezTo>
                  <a:cubicBezTo>
                    <a:pt x="7" y="4"/>
                    <a:pt x="0" y="1"/>
                    <a:pt x="3" y="0"/>
                  </a:cubicBezTo>
                  <a:cubicBezTo>
                    <a:pt x="4" y="0"/>
                    <a:pt x="5" y="2"/>
                    <a:pt x="6" y="2"/>
                  </a:cubicBezTo>
                  <a:cubicBezTo>
                    <a:pt x="7" y="3"/>
                    <a:pt x="7" y="2"/>
                    <a:pt x="8" y="3"/>
                  </a:cubicBezTo>
                  <a:cubicBezTo>
                    <a:pt x="9" y="4"/>
                    <a:pt x="13" y="2"/>
                    <a:pt x="15" y="3"/>
                  </a:cubicBezTo>
                  <a:cubicBezTo>
                    <a:pt x="14" y="3"/>
                    <a:pt x="12" y="6"/>
                    <a:pt x="11" y="6"/>
                  </a:cubicBezTo>
                  <a:cubicBezTo>
                    <a:pt x="9" y="7"/>
                    <a:pt x="12" y="6"/>
                    <a:pt x="11" y="6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5" name="Freeform 535">
              <a:extLst>
                <a:ext uri="{FF2B5EF4-FFF2-40B4-BE49-F238E27FC236}">
                  <a16:creationId xmlns:a16="http://schemas.microsoft.com/office/drawing/2014/main" id="{03117874-C79C-58CE-095E-F143E33F2269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4664" y="2744372"/>
              <a:ext cx="168096" cy="172205"/>
            </a:xfrm>
            <a:custGeom>
              <a:avLst/>
              <a:gdLst>
                <a:gd name="T0" fmla="*/ 19 w 32"/>
                <a:gd name="T1" fmla="*/ 1 h 31"/>
                <a:gd name="T2" fmla="*/ 17 w 32"/>
                <a:gd name="T3" fmla="*/ 0 h 31"/>
                <a:gd name="T4" fmla="*/ 14 w 32"/>
                <a:gd name="T5" fmla="*/ 2 h 31"/>
                <a:gd name="T6" fmla="*/ 11 w 32"/>
                <a:gd name="T7" fmla="*/ 5 h 31"/>
                <a:gd name="T8" fmla="*/ 9 w 32"/>
                <a:gd name="T9" fmla="*/ 7 h 31"/>
                <a:gd name="T10" fmla="*/ 7 w 32"/>
                <a:gd name="T11" fmla="*/ 13 h 31"/>
                <a:gd name="T12" fmla="*/ 5 w 32"/>
                <a:gd name="T13" fmla="*/ 17 h 31"/>
                <a:gd name="T14" fmla="*/ 2 w 32"/>
                <a:gd name="T15" fmla="*/ 19 h 31"/>
                <a:gd name="T16" fmla="*/ 4 w 32"/>
                <a:gd name="T17" fmla="*/ 21 h 31"/>
                <a:gd name="T18" fmla="*/ 0 w 32"/>
                <a:gd name="T19" fmla="*/ 25 h 31"/>
                <a:gd name="T20" fmla="*/ 4 w 32"/>
                <a:gd name="T21" fmla="*/ 25 h 31"/>
                <a:gd name="T22" fmla="*/ 10 w 32"/>
                <a:gd name="T23" fmla="*/ 26 h 31"/>
                <a:gd name="T24" fmla="*/ 19 w 32"/>
                <a:gd name="T25" fmla="*/ 27 h 31"/>
                <a:gd name="T26" fmla="*/ 22 w 32"/>
                <a:gd name="T27" fmla="*/ 26 h 31"/>
                <a:gd name="T28" fmla="*/ 19 w 32"/>
                <a:gd name="T29" fmla="*/ 30 h 31"/>
                <a:gd name="T30" fmla="*/ 22 w 32"/>
                <a:gd name="T31" fmla="*/ 28 h 31"/>
                <a:gd name="T32" fmla="*/ 27 w 32"/>
                <a:gd name="T33" fmla="*/ 26 h 31"/>
                <a:gd name="T34" fmla="*/ 32 w 32"/>
                <a:gd name="T35" fmla="*/ 20 h 31"/>
                <a:gd name="T36" fmla="*/ 29 w 32"/>
                <a:gd name="T37" fmla="*/ 20 h 31"/>
                <a:gd name="T38" fmla="*/ 26 w 32"/>
                <a:gd name="T39" fmla="*/ 18 h 31"/>
                <a:gd name="T40" fmla="*/ 29 w 32"/>
                <a:gd name="T41" fmla="*/ 15 h 31"/>
                <a:gd name="T42" fmla="*/ 26 w 32"/>
                <a:gd name="T43" fmla="*/ 15 h 31"/>
                <a:gd name="T44" fmla="*/ 24 w 32"/>
                <a:gd name="T45" fmla="*/ 13 h 31"/>
                <a:gd name="T46" fmla="*/ 21 w 32"/>
                <a:gd name="T47" fmla="*/ 16 h 31"/>
                <a:gd name="T48" fmla="*/ 18 w 32"/>
                <a:gd name="T49" fmla="*/ 13 h 31"/>
                <a:gd name="T50" fmla="*/ 19 w 32"/>
                <a:gd name="T51" fmla="*/ 11 h 31"/>
                <a:gd name="T52" fmla="*/ 16 w 32"/>
                <a:gd name="T53" fmla="*/ 9 h 31"/>
                <a:gd name="T54" fmla="*/ 14 w 32"/>
                <a:gd name="T55" fmla="*/ 12 h 31"/>
                <a:gd name="T56" fmla="*/ 16 w 32"/>
                <a:gd name="T57" fmla="*/ 7 h 31"/>
                <a:gd name="T58" fmla="*/ 18 w 32"/>
                <a:gd name="T59" fmla="*/ 4 h 31"/>
                <a:gd name="T60" fmla="*/ 18 w 32"/>
                <a:gd name="T61" fmla="*/ 2 h 31"/>
                <a:gd name="T62" fmla="*/ 19 w 32"/>
                <a:gd name="T63" fmla="*/ 1 h 31"/>
                <a:gd name="T64" fmla="*/ 19 w 32"/>
                <a:gd name="T65" fmla="*/ 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2" h="31">
                  <a:moveTo>
                    <a:pt x="19" y="1"/>
                  </a:moveTo>
                  <a:cubicBezTo>
                    <a:pt x="20" y="0"/>
                    <a:pt x="17" y="0"/>
                    <a:pt x="17" y="0"/>
                  </a:cubicBezTo>
                  <a:cubicBezTo>
                    <a:pt x="16" y="0"/>
                    <a:pt x="15" y="1"/>
                    <a:pt x="14" y="2"/>
                  </a:cubicBezTo>
                  <a:cubicBezTo>
                    <a:pt x="13" y="3"/>
                    <a:pt x="12" y="4"/>
                    <a:pt x="11" y="5"/>
                  </a:cubicBezTo>
                  <a:cubicBezTo>
                    <a:pt x="11" y="6"/>
                    <a:pt x="10" y="7"/>
                    <a:pt x="9" y="7"/>
                  </a:cubicBezTo>
                  <a:cubicBezTo>
                    <a:pt x="9" y="9"/>
                    <a:pt x="8" y="11"/>
                    <a:pt x="7" y="13"/>
                  </a:cubicBezTo>
                  <a:cubicBezTo>
                    <a:pt x="7" y="15"/>
                    <a:pt x="6" y="16"/>
                    <a:pt x="5" y="17"/>
                  </a:cubicBezTo>
                  <a:cubicBezTo>
                    <a:pt x="4" y="18"/>
                    <a:pt x="2" y="19"/>
                    <a:pt x="2" y="19"/>
                  </a:cubicBezTo>
                  <a:cubicBezTo>
                    <a:pt x="2" y="20"/>
                    <a:pt x="4" y="20"/>
                    <a:pt x="4" y="21"/>
                  </a:cubicBezTo>
                  <a:cubicBezTo>
                    <a:pt x="4" y="22"/>
                    <a:pt x="0" y="24"/>
                    <a:pt x="0" y="25"/>
                  </a:cubicBezTo>
                  <a:cubicBezTo>
                    <a:pt x="0" y="27"/>
                    <a:pt x="3" y="26"/>
                    <a:pt x="4" y="25"/>
                  </a:cubicBezTo>
                  <a:cubicBezTo>
                    <a:pt x="6" y="25"/>
                    <a:pt x="8" y="26"/>
                    <a:pt x="10" y="26"/>
                  </a:cubicBezTo>
                  <a:cubicBezTo>
                    <a:pt x="13" y="27"/>
                    <a:pt x="16" y="26"/>
                    <a:pt x="19" y="27"/>
                  </a:cubicBezTo>
                  <a:cubicBezTo>
                    <a:pt x="19" y="27"/>
                    <a:pt x="22" y="25"/>
                    <a:pt x="22" y="26"/>
                  </a:cubicBezTo>
                  <a:cubicBezTo>
                    <a:pt x="22" y="27"/>
                    <a:pt x="19" y="30"/>
                    <a:pt x="19" y="30"/>
                  </a:cubicBezTo>
                  <a:cubicBezTo>
                    <a:pt x="20" y="31"/>
                    <a:pt x="22" y="28"/>
                    <a:pt x="22" y="28"/>
                  </a:cubicBezTo>
                  <a:cubicBezTo>
                    <a:pt x="24" y="27"/>
                    <a:pt x="26" y="27"/>
                    <a:pt x="27" y="26"/>
                  </a:cubicBezTo>
                  <a:cubicBezTo>
                    <a:pt x="27" y="25"/>
                    <a:pt x="32" y="20"/>
                    <a:pt x="32" y="20"/>
                  </a:cubicBezTo>
                  <a:cubicBezTo>
                    <a:pt x="31" y="19"/>
                    <a:pt x="30" y="20"/>
                    <a:pt x="29" y="20"/>
                  </a:cubicBezTo>
                  <a:cubicBezTo>
                    <a:pt x="29" y="20"/>
                    <a:pt x="26" y="18"/>
                    <a:pt x="26" y="18"/>
                  </a:cubicBezTo>
                  <a:cubicBezTo>
                    <a:pt x="26" y="17"/>
                    <a:pt x="30" y="16"/>
                    <a:pt x="29" y="15"/>
                  </a:cubicBezTo>
                  <a:cubicBezTo>
                    <a:pt x="29" y="14"/>
                    <a:pt x="27" y="15"/>
                    <a:pt x="26" y="15"/>
                  </a:cubicBezTo>
                  <a:cubicBezTo>
                    <a:pt x="25" y="15"/>
                    <a:pt x="25" y="13"/>
                    <a:pt x="24" y="13"/>
                  </a:cubicBezTo>
                  <a:cubicBezTo>
                    <a:pt x="24" y="13"/>
                    <a:pt x="21" y="16"/>
                    <a:pt x="21" y="16"/>
                  </a:cubicBezTo>
                  <a:cubicBezTo>
                    <a:pt x="20" y="14"/>
                    <a:pt x="20" y="14"/>
                    <a:pt x="18" y="13"/>
                  </a:cubicBezTo>
                  <a:cubicBezTo>
                    <a:pt x="16" y="12"/>
                    <a:pt x="19" y="12"/>
                    <a:pt x="19" y="11"/>
                  </a:cubicBezTo>
                  <a:cubicBezTo>
                    <a:pt x="19" y="11"/>
                    <a:pt x="17" y="9"/>
                    <a:pt x="16" y="9"/>
                  </a:cubicBezTo>
                  <a:cubicBezTo>
                    <a:pt x="16" y="10"/>
                    <a:pt x="14" y="13"/>
                    <a:pt x="14" y="12"/>
                  </a:cubicBezTo>
                  <a:cubicBezTo>
                    <a:pt x="12" y="11"/>
                    <a:pt x="15" y="7"/>
                    <a:pt x="16" y="7"/>
                  </a:cubicBezTo>
                  <a:cubicBezTo>
                    <a:pt x="17" y="6"/>
                    <a:pt x="17" y="5"/>
                    <a:pt x="18" y="4"/>
                  </a:cubicBezTo>
                  <a:cubicBezTo>
                    <a:pt x="18" y="3"/>
                    <a:pt x="18" y="2"/>
                    <a:pt x="18" y="2"/>
                  </a:cubicBezTo>
                  <a:cubicBezTo>
                    <a:pt x="18" y="2"/>
                    <a:pt x="19" y="1"/>
                    <a:pt x="19" y="1"/>
                  </a:cubicBezTo>
                  <a:cubicBezTo>
                    <a:pt x="20" y="0"/>
                    <a:pt x="19" y="1"/>
                    <a:pt x="19" y="1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6" name="Freeform 536">
              <a:extLst>
                <a:ext uri="{FF2B5EF4-FFF2-40B4-BE49-F238E27FC236}">
                  <a16:creationId xmlns:a16="http://schemas.microsoft.com/office/drawing/2014/main" id="{76EABC7B-6207-7CA7-C8BC-ECE21D368CFE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0572" y="2867374"/>
              <a:ext cx="42917" cy="54878"/>
            </a:xfrm>
            <a:custGeom>
              <a:avLst/>
              <a:gdLst>
                <a:gd name="T0" fmla="*/ 6 w 8"/>
                <a:gd name="T1" fmla="*/ 1 h 10"/>
                <a:gd name="T2" fmla="*/ 1 w 8"/>
                <a:gd name="T3" fmla="*/ 9 h 10"/>
                <a:gd name="T4" fmla="*/ 4 w 8"/>
                <a:gd name="T5" fmla="*/ 7 h 10"/>
                <a:gd name="T6" fmla="*/ 3 w 8"/>
                <a:gd name="T7" fmla="*/ 10 h 10"/>
                <a:gd name="T8" fmla="*/ 6 w 8"/>
                <a:gd name="T9" fmla="*/ 8 h 10"/>
                <a:gd name="T10" fmla="*/ 8 w 8"/>
                <a:gd name="T11" fmla="*/ 4 h 10"/>
                <a:gd name="T12" fmla="*/ 5 w 8"/>
                <a:gd name="T13" fmla="*/ 4 h 10"/>
                <a:gd name="T14" fmla="*/ 6 w 8"/>
                <a:gd name="T15" fmla="*/ 1 h 10"/>
                <a:gd name="T16" fmla="*/ 6 w 8"/>
                <a:gd name="T17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10">
                  <a:moveTo>
                    <a:pt x="6" y="1"/>
                  </a:moveTo>
                  <a:cubicBezTo>
                    <a:pt x="5" y="2"/>
                    <a:pt x="0" y="6"/>
                    <a:pt x="1" y="9"/>
                  </a:cubicBezTo>
                  <a:cubicBezTo>
                    <a:pt x="1" y="9"/>
                    <a:pt x="3" y="6"/>
                    <a:pt x="4" y="7"/>
                  </a:cubicBezTo>
                  <a:cubicBezTo>
                    <a:pt x="4" y="7"/>
                    <a:pt x="3" y="10"/>
                    <a:pt x="3" y="10"/>
                  </a:cubicBezTo>
                  <a:cubicBezTo>
                    <a:pt x="4" y="10"/>
                    <a:pt x="6" y="9"/>
                    <a:pt x="6" y="8"/>
                  </a:cubicBezTo>
                  <a:cubicBezTo>
                    <a:pt x="6" y="7"/>
                    <a:pt x="7" y="6"/>
                    <a:pt x="8" y="4"/>
                  </a:cubicBezTo>
                  <a:cubicBezTo>
                    <a:pt x="8" y="2"/>
                    <a:pt x="6" y="4"/>
                    <a:pt x="5" y="4"/>
                  </a:cubicBezTo>
                  <a:cubicBezTo>
                    <a:pt x="6" y="4"/>
                    <a:pt x="6" y="0"/>
                    <a:pt x="6" y="1"/>
                  </a:cubicBezTo>
                  <a:cubicBezTo>
                    <a:pt x="5" y="1"/>
                    <a:pt x="7" y="0"/>
                    <a:pt x="6" y="1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6" name="Freeform 556">
              <a:extLst>
                <a:ext uri="{FF2B5EF4-FFF2-40B4-BE49-F238E27FC236}">
                  <a16:creationId xmlns:a16="http://schemas.microsoft.com/office/drawing/2014/main" id="{386F5534-36B1-74D8-C629-A0A6F7D74740}"/>
                </a:ext>
              </a:extLst>
            </p:cNvPr>
            <p:cNvSpPr>
              <a:spLocks/>
            </p:cNvSpPr>
            <p:nvPr/>
          </p:nvSpPr>
          <p:spPr bwMode="auto">
            <a:xfrm>
              <a:off x="2464951" y="2772758"/>
              <a:ext cx="152001" cy="105974"/>
            </a:xfrm>
            <a:custGeom>
              <a:avLst/>
              <a:gdLst>
                <a:gd name="T0" fmla="*/ 27 w 29"/>
                <a:gd name="T1" fmla="*/ 16 h 19"/>
                <a:gd name="T2" fmla="*/ 24 w 29"/>
                <a:gd name="T3" fmla="*/ 12 h 19"/>
                <a:gd name="T4" fmla="*/ 19 w 29"/>
                <a:gd name="T5" fmla="*/ 10 h 19"/>
                <a:gd name="T6" fmla="*/ 14 w 29"/>
                <a:gd name="T7" fmla="*/ 3 h 19"/>
                <a:gd name="T8" fmla="*/ 8 w 29"/>
                <a:gd name="T9" fmla="*/ 2 h 19"/>
                <a:gd name="T10" fmla="*/ 2 w 29"/>
                <a:gd name="T11" fmla="*/ 0 h 19"/>
                <a:gd name="T12" fmla="*/ 3 w 29"/>
                <a:gd name="T13" fmla="*/ 2 h 19"/>
                <a:gd name="T14" fmla="*/ 5 w 29"/>
                <a:gd name="T15" fmla="*/ 3 h 19"/>
                <a:gd name="T16" fmla="*/ 6 w 29"/>
                <a:gd name="T17" fmla="*/ 4 h 19"/>
                <a:gd name="T18" fmla="*/ 4 w 29"/>
                <a:gd name="T19" fmla="*/ 2 h 19"/>
                <a:gd name="T20" fmla="*/ 4 w 29"/>
                <a:gd name="T21" fmla="*/ 4 h 19"/>
                <a:gd name="T22" fmla="*/ 7 w 29"/>
                <a:gd name="T23" fmla="*/ 6 h 19"/>
                <a:gd name="T24" fmla="*/ 12 w 29"/>
                <a:gd name="T25" fmla="*/ 9 h 19"/>
                <a:gd name="T26" fmla="*/ 10 w 29"/>
                <a:gd name="T27" fmla="*/ 10 h 19"/>
                <a:gd name="T28" fmla="*/ 14 w 29"/>
                <a:gd name="T29" fmla="*/ 10 h 19"/>
                <a:gd name="T30" fmla="*/ 14 w 29"/>
                <a:gd name="T31" fmla="*/ 12 h 19"/>
                <a:gd name="T32" fmla="*/ 19 w 29"/>
                <a:gd name="T33" fmla="*/ 12 h 19"/>
                <a:gd name="T34" fmla="*/ 27 w 29"/>
                <a:gd name="T35" fmla="*/ 16 h 19"/>
                <a:gd name="T36" fmla="*/ 27 w 29"/>
                <a:gd name="T37" fmla="*/ 16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9" h="19">
                  <a:moveTo>
                    <a:pt x="27" y="16"/>
                  </a:moveTo>
                  <a:cubicBezTo>
                    <a:pt x="26" y="15"/>
                    <a:pt x="25" y="13"/>
                    <a:pt x="24" y="12"/>
                  </a:cubicBezTo>
                  <a:cubicBezTo>
                    <a:pt x="23" y="10"/>
                    <a:pt x="21" y="10"/>
                    <a:pt x="19" y="10"/>
                  </a:cubicBezTo>
                  <a:cubicBezTo>
                    <a:pt x="17" y="8"/>
                    <a:pt x="17" y="4"/>
                    <a:pt x="14" y="3"/>
                  </a:cubicBezTo>
                  <a:cubicBezTo>
                    <a:pt x="13" y="3"/>
                    <a:pt x="10" y="3"/>
                    <a:pt x="8" y="2"/>
                  </a:cubicBezTo>
                  <a:cubicBezTo>
                    <a:pt x="7" y="1"/>
                    <a:pt x="5" y="0"/>
                    <a:pt x="2" y="0"/>
                  </a:cubicBezTo>
                  <a:cubicBezTo>
                    <a:pt x="0" y="0"/>
                    <a:pt x="1" y="2"/>
                    <a:pt x="3" y="2"/>
                  </a:cubicBezTo>
                  <a:cubicBezTo>
                    <a:pt x="4" y="2"/>
                    <a:pt x="4" y="2"/>
                    <a:pt x="5" y="3"/>
                  </a:cubicBezTo>
                  <a:cubicBezTo>
                    <a:pt x="5" y="3"/>
                    <a:pt x="6" y="4"/>
                    <a:pt x="6" y="4"/>
                  </a:cubicBezTo>
                  <a:cubicBezTo>
                    <a:pt x="5" y="4"/>
                    <a:pt x="4" y="3"/>
                    <a:pt x="4" y="2"/>
                  </a:cubicBezTo>
                  <a:cubicBezTo>
                    <a:pt x="4" y="2"/>
                    <a:pt x="4" y="4"/>
                    <a:pt x="4" y="4"/>
                  </a:cubicBezTo>
                  <a:cubicBezTo>
                    <a:pt x="4" y="6"/>
                    <a:pt x="6" y="6"/>
                    <a:pt x="7" y="6"/>
                  </a:cubicBezTo>
                  <a:cubicBezTo>
                    <a:pt x="7" y="6"/>
                    <a:pt x="12" y="9"/>
                    <a:pt x="12" y="9"/>
                  </a:cubicBezTo>
                  <a:cubicBezTo>
                    <a:pt x="12" y="9"/>
                    <a:pt x="11" y="9"/>
                    <a:pt x="10" y="10"/>
                  </a:cubicBezTo>
                  <a:cubicBezTo>
                    <a:pt x="10" y="10"/>
                    <a:pt x="14" y="10"/>
                    <a:pt x="14" y="10"/>
                  </a:cubicBezTo>
                  <a:cubicBezTo>
                    <a:pt x="16" y="11"/>
                    <a:pt x="14" y="12"/>
                    <a:pt x="14" y="12"/>
                  </a:cubicBezTo>
                  <a:cubicBezTo>
                    <a:pt x="15" y="13"/>
                    <a:pt x="18" y="12"/>
                    <a:pt x="19" y="12"/>
                  </a:cubicBezTo>
                  <a:cubicBezTo>
                    <a:pt x="14" y="13"/>
                    <a:pt x="29" y="19"/>
                    <a:pt x="27" y="16"/>
                  </a:cubicBezTo>
                  <a:cubicBezTo>
                    <a:pt x="26" y="15"/>
                    <a:pt x="28" y="18"/>
                    <a:pt x="27" y="16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0" name="Freeform 557">
              <a:extLst>
                <a:ext uri="{FF2B5EF4-FFF2-40B4-BE49-F238E27FC236}">
                  <a16:creationId xmlns:a16="http://schemas.microsoft.com/office/drawing/2014/main" id="{3FF19877-92B5-E544-0397-99052C949A17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5139" y="2649754"/>
              <a:ext cx="67953" cy="77587"/>
            </a:xfrm>
            <a:custGeom>
              <a:avLst/>
              <a:gdLst>
                <a:gd name="T0" fmla="*/ 11 w 13"/>
                <a:gd name="T1" fmla="*/ 14 h 14"/>
                <a:gd name="T2" fmla="*/ 11 w 13"/>
                <a:gd name="T3" fmla="*/ 14 h 14"/>
                <a:gd name="T4" fmla="*/ 8 w 13"/>
                <a:gd name="T5" fmla="*/ 11 h 14"/>
                <a:gd name="T6" fmla="*/ 7 w 13"/>
                <a:gd name="T7" fmla="*/ 7 h 14"/>
                <a:gd name="T8" fmla="*/ 6 w 13"/>
                <a:gd name="T9" fmla="*/ 5 h 14"/>
                <a:gd name="T10" fmla="*/ 7 w 13"/>
                <a:gd name="T11" fmla="*/ 2 h 14"/>
                <a:gd name="T12" fmla="*/ 4 w 13"/>
                <a:gd name="T13" fmla="*/ 4 h 14"/>
                <a:gd name="T14" fmla="*/ 6 w 13"/>
                <a:gd name="T15" fmla="*/ 1 h 14"/>
                <a:gd name="T16" fmla="*/ 1 w 13"/>
                <a:gd name="T17" fmla="*/ 0 h 14"/>
                <a:gd name="T18" fmla="*/ 3 w 13"/>
                <a:gd name="T19" fmla="*/ 6 h 14"/>
                <a:gd name="T20" fmla="*/ 11 w 13"/>
                <a:gd name="T21" fmla="*/ 14 h 14"/>
                <a:gd name="T22" fmla="*/ 11 w 13"/>
                <a:gd name="T23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" h="14">
                  <a:moveTo>
                    <a:pt x="11" y="14"/>
                  </a:moveTo>
                  <a:cubicBezTo>
                    <a:pt x="11" y="14"/>
                    <a:pt x="11" y="14"/>
                    <a:pt x="11" y="14"/>
                  </a:cubicBezTo>
                  <a:cubicBezTo>
                    <a:pt x="11" y="13"/>
                    <a:pt x="9" y="11"/>
                    <a:pt x="8" y="11"/>
                  </a:cubicBezTo>
                  <a:cubicBezTo>
                    <a:pt x="7" y="9"/>
                    <a:pt x="8" y="8"/>
                    <a:pt x="7" y="7"/>
                  </a:cubicBezTo>
                  <a:cubicBezTo>
                    <a:pt x="6" y="6"/>
                    <a:pt x="6" y="6"/>
                    <a:pt x="6" y="5"/>
                  </a:cubicBezTo>
                  <a:cubicBezTo>
                    <a:pt x="5" y="3"/>
                    <a:pt x="6" y="3"/>
                    <a:pt x="7" y="2"/>
                  </a:cubicBezTo>
                  <a:cubicBezTo>
                    <a:pt x="9" y="0"/>
                    <a:pt x="3" y="3"/>
                    <a:pt x="4" y="4"/>
                  </a:cubicBezTo>
                  <a:cubicBezTo>
                    <a:pt x="3" y="3"/>
                    <a:pt x="6" y="1"/>
                    <a:pt x="6" y="1"/>
                  </a:cubicBezTo>
                  <a:cubicBezTo>
                    <a:pt x="5" y="0"/>
                    <a:pt x="1" y="0"/>
                    <a:pt x="1" y="0"/>
                  </a:cubicBezTo>
                  <a:cubicBezTo>
                    <a:pt x="0" y="1"/>
                    <a:pt x="2" y="5"/>
                    <a:pt x="3" y="6"/>
                  </a:cubicBezTo>
                  <a:cubicBezTo>
                    <a:pt x="5" y="8"/>
                    <a:pt x="8" y="13"/>
                    <a:pt x="11" y="14"/>
                  </a:cubicBezTo>
                  <a:cubicBezTo>
                    <a:pt x="13" y="14"/>
                    <a:pt x="8" y="13"/>
                    <a:pt x="11" y="14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1" name="Freeform 558">
              <a:extLst>
                <a:ext uri="{FF2B5EF4-FFF2-40B4-BE49-F238E27FC236}">
                  <a16:creationId xmlns:a16="http://schemas.microsoft.com/office/drawing/2014/main" id="{506AE64C-AEA5-61F8-2B80-0EDC2A14A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0505" y="2560812"/>
              <a:ext cx="21459" cy="22709"/>
            </a:xfrm>
            <a:custGeom>
              <a:avLst/>
              <a:gdLst>
                <a:gd name="T0" fmla="*/ 3 w 4"/>
                <a:gd name="T1" fmla="*/ 3 h 4"/>
                <a:gd name="T2" fmla="*/ 2 w 4"/>
                <a:gd name="T3" fmla="*/ 1 h 4"/>
                <a:gd name="T4" fmla="*/ 3 w 4"/>
                <a:gd name="T5" fmla="*/ 3 h 4"/>
                <a:gd name="T6" fmla="*/ 3 w 4"/>
                <a:gd name="T7" fmla="*/ 3 h 4"/>
                <a:gd name="T8" fmla="*/ 3 w 4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3" y="3"/>
                  </a:moveTo>
                  <a:cubicBezTo>
                    <a:pt x="2" y="2"/>
                    <a:pt x="0" y="2"/>
                    <a:pt x="2" y="1"/>
                  </a:cubicBezTo>
                  <a:cubicBezTo>
                    <a:pt x="3" y="0"/>
                    <a:pt x="4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2"/>
                    <a:pt x="4" y="4"/>
                    <a:pt x="3" y="3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2" name="Freeform 559">
              <a:extLst>
                <a:ext uri="{FF2B5EF4-FFF2-40B4-BE49-F238E27FC236}">
                  <a16:creationId xmlns:a16="http://schemas.microsoft.com/office/drawing/2014/main" id="{6FFF8F70-A10A-C8A4-AE56-5F0A07BB70F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3679" y="2534321"/>
              <a:ext cx="32188" cy="32169"/>
            </a:xfrm>
            <a:custGeom>
              <a:avLst/>
              <a:gdLst>
                <a:gd name="T0" fmla="*/ 5 w 6"/>
                <a:gd name="T1" fmla="*/ 2 h 6"/>
                <a:gd name="T2" fmla="*/ 0 w 6"/>
                <a:gd name="T3" fmla="*/ 1 h 6"/>
                <a:gd name="T4" fmla="*/ 1 w 6"/>
                <a:gd name="T5" fmla="*/ 3 h 6"/>
                <a:gd name="T6" fmla="*/ 1 w 6"/>
                <a:gd name="T7" fmla="*/ 6 h 6"/>
                <a:gd name="T8" fmla="*/ 5 w 6"/>
                <a:gd name="T9" fmla="*/ 5 h 6"/>
                <a:gd name="T10" fmla="*/ 3 w 6"/>
                <a:gd name="T11" fmla="*/ 3 h 6"/>
                <a:gd name="T12" fmla="*/ 5 w 6"/>
                <a:gd name="T13" fmla="*/ 2 h 6"/>
                <a:gd name="T14" fmla="*/ 5 w 6"/>
                <a:gd name="T15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6">
                  <a:moveTo>
                    <a:pt x="5" y="2"/>
                  </a:moveTo>
                  <a:cubicBezTo>
                    <a:pt x="4" y="2"/>
                    <a:pt x="1" y="0"/>
                    <a:pt x="0" y="1"/>
                  </a:cubicBezTo>
                  <a:cubicBezTo>
                    <a:pt x="1" y="0"/>
                    <a:pt x="2" y="4"/>
                    <a:pt x="1" y="3"/>
                  </a:cubicBezTo>
                  <a:cubicBezTo>
                    <a:pt x="1" y="4"/>
                    <a:pt x="1" y="5"/>
                    <a:pt x="1" y="6"/>
                  </a:cubicBezTo>
                  <a:cubicBezTo>
                    <a:pt x="1" y="5"/>
                    <a:pt x="5" y="4"/>
                    <a:pt x="5" y="5"/>
                  </a:cubicBezTo>
                  <a:cubicBezTo>
                    <a:pt x="5" y="4"/>
                    <a:pt x="4" y="4"/>
                    <a:pt x="3" y="3"/>
                  </a:cubicBezTo>
                  <a:cubicBezTo>
                    <a:pt x="4" y="4"/>
                    <a:pt x="6" y="2"/>
                    <a:pt x="5" y="2"/>
                  </a:cubicBezTo>
                  <a:cubicBezTo>
                    <a:pt x="4" y="2"/>
                    <a:pt x="6" y="2"/>
                    <a:pt x="5" y="2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3" name="Freeform 560">
              <a:extLst>
                <a:ext uri="{FF2B5EF4-FFF2-40B4-BE49-F238E27FC236}">
                  <a16:creationId xmlns:a16="http://schemas.microsoft.com/office/drawing/2014/main" id="{5B2502E3-4202-E7B9-1796-8853F1A837C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09374" y="2543781"/>
              <a:ext cx="19671" cy="34061"/>
            </a:xfrm>
            <a:custGeom>
              <a:avLst/>
              <a:gdLst>
                <a:gd name="T0" fmla="*/ 2 w 4"/>
                <a:gd name="T1" fmla="*/ 0 h 6"/>
                <a:gd name="T2" fmla="*/ 2 w 4"/>
                <a:gd name="T3" fmla="*/ 2 h 6"/>
                <a:gd name="T4" fmla="*/ 2 w 4"/>
                <a:gd name="T5" fmla="*/ 5 h 6"/>
                <a:gd name="T6" fmla="*/ 3 w 4"/>
                <a:gd name="T7" fmla="*/ 3 h 6"/>
                <a:gd name="T8" fmla="*/ 2 w 4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6">
                  <a:moveTo>
                    <a:pt x="2" y="0"/>
                  </a:moveTo>
                  <a:cubicBezTo>
                    <a:pt x="0" y="0"/>
                    <a:pt x="2" y="1"/>
                    <a:pt x="2" y="2"/>
                  </a:cubicBezTo>
                  <a:cubicBezTo>
                    <a:pt x="2" y="3"/>
                    <a:pt x="1" y="5"/>
                    <a:pt x="2" y="5"/>
                  </a:cubicBezTo>
                  <a:cubicBezTo>
                    <a:pt x="3" y="6"/>
                    <a:pt x="3" y="3"/>
                    <a:pt x="3" y="3"/>
                  </a:cubicBezTo>
                  <a:cubicBezTo>
                    <a:pt x="3" y="2"/>
                    <a:pt x="4" y="0"/>
                    <a:pt x="2" y="0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4" name="Freeform 561">
              <a:extLst>
                <a:ext uri="{FF2B5EF4-FFF2-40B4-BE49-F238E27FC236}">
                  <a16:creationId xmlns:a16="http://schemas.microsoft.com/office/drawing/2014/main" id="{251D8EBE-9977-BD96-03BE-693918F6AA7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77185" y="2511610"/>
              <a:ext cx="26823" cy="60555"/>
            </a:xfrm>
            <a:custGeom>
              <a:avLst/>
              <a:gdLst>
                <a:gd name="T0" fmla="*/ 4 w 5"/>
                <a:gd name="T1" fmla="*/ 10 h 11"/>
                <a:gd name="T2" fmla="*/ 2 w 5"/>
                <a:gd name="T3" fmla="*/ 6 h 11"/>
                <a:gd name="T4" fmla="*/ 1 w 5"/>
                <a:gd name="T5" fmla="*/ 3 h 11"/>
                <a:gd name="T6" fmla="*/ 5 w 5"/>
                <a:gd name="T7" fmla="*/ 5 h 11"/>
                <a:gd name="T8" fmla="*/ 4 w 5"/>
                <a:gd name="T9" fmla="*/ 10 h 11"/>
                <a:gd name="T10" fmla="*/ 4 w 5"/>
                <a:gd name="T11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11">
                  <a:moveTo>
                    <a:pt x="4" y="10"/>
                  </a:moveTo>
                  <a:cubicBezTo>
                    <a:pt x="4" y="9"/>
                    <a:pt x="2" y="6"/>
                    <a:pt x="2" y="6"/>
                  </a:cubicBezTo>
                  <a:cubicBezTo>
                    <a:pt x="4" y="4"/>
                    <a:pt x="0" y="4"/>
                    <a:pt x="1" y="3"/>
                  </a:cubicBezTo>
                  <a:cubicBezTo>
                    <a:pt x="2" y="0"/>
                    <a:pt x="5" y="5"/>
                    <a:pt x="5" y="5"/>
                  </a:cubicBezTo>
                  <a:cubicBezTo>
                    <a:pt x="5" y="6"/>
                    <a:pt x="5" y="11"/>
                    <a:pt x="4" y="10"/>
                  </a:cubicBezTo>
                  <a:cubicBezTo>
                    <a:pt x="4" y="9"/>
                    <a:pt x="5" y="11"/>
                    <a:pt x="4" y="10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5" name="Freeform 562">
              <a:extLst>
                <a:ext uri="{FF2B5EF4-FFF2-40B4-BE49-F238E27FC236}">
                  <a16:creationId xmlns:a16="http://schemas.microsoft.com/office/drawing/2014/main" id="{42E14CDD-9C65-3F98-5887-C623DF342382}"/>
                </a:ext>
              </a:extLst>
            </p:cNvPr>
            <p:cNvSpPr>
              <a:spLocks/>
            </p:cNvSpPr>
            <p:nvPr/>
          </p:nvSpPr>
          <p:spPr bwMode="auto">
            <a:xfrm>
              <a:off x="2255725" y="2488902"/>
              <a:ext cx="37553" cy="39739"/>
            </a:xfrm>
            <a:custGeom>
              <a:avLst/>
              <a:gdLst>
                <a:gd name="T0" fmla="*/ 4 w 7"/>
                <a:gd name="T1" fmla="*/ 6 h 7"/>
                <a:gd name="T2" fmla="*/ 2 w 7"/>
                <a:gd name="T3" fmla="*/ 3 h 7"/>
                <a:gd name="T4" fmla="*/ 0 w 7"/>
                <a:gd name="T5" fmla="*/ 2 h 7"/>
                <a:gd name="T6" fmla="*/ 5 w 7"/>
                <a:gd name="T7" fmla="*/ 1 h 7"/>
                <a:gd name="T8" fmla="*/ 4 w 7"/>
                <a:gd name="T9" fmla="*/ 3 h 7"/>
                <a:gd name="T10" fmla="*/ 7 w 7"/>
                <a:gd name="T11" fmla="*/ 4 h 7"/>
                <a:gd name="T12" fmla="*/ 5 w 7"/>
                <a:gd name="T13" fmla="*/ 5 h 7"/>
                <a:gd name="T14" fmla="*/ 4 w 7"/>
                <a:gd name="T15" fmla="*/ 6 h 7"/>
                <a:gd name="T16" fmla="*/ 4 w 7"/>
                <a:gd name="T1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7">
                  <a:moveTo>
                    <a:pt x="4" y="6"/>
                  </a:moveTo>
                  <a:cubicBezTo>
                    <a:pt x="2" y="4"/>
                    <a:pt x="1" y="4"/>
                    <a:pt x="2" y="3"/>
                  </a:cubicBezTo>
                  <a:cubicBezTo>
                    <a:pt x="2" y="2"/>
                    <a:pt x="0" y="2"/>
                    <a:pt x="0" y="2"/>
                  </a:cubicBezTo>
                  <a:cubicBezTo>
                    <a:pt x="0" y="1"/>
                    <a:pt x="4" y="0"/>
                    <a:pt x="5" y="1"/>
                  </a:cubicBezTo>
                  <a:cubicBezTo>
                    <a:pt x="5" y="1"/>
                    <a:pt x="3" y="2"/>
                    <a:pt x="4" y="3"/>
                  </a:cubicBezTo>
                  <a:cubicBezTo>
                    <a:pt x="5" y="3"/>
                    <a:pt x="7" y="4"/>
                    <a:pt x="7" y="4"/>
                  </a:cubicBezTo>
                  <a:cubicBezTo>
                    <a:pt x="7" y="5"/>
                    <a:pt x="5" y="5"/>
                    <a:pt x="5" y="5"/>
                  </a:cubicBezTo>
                  <a:cubicBezTo>
                    <a:pt x="4" y="5"/>
                    <a:pt x="5" y="7"/>
                    <a:pt x="4" y="6"/>
                  </a:cubicBezTo>
                  <a:cubicBezTo>
                    <a:pt x="2" y="5"/>
                    <a:pt x="4" y="6"/>
                    <a:pt x="4" y="6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6" name="Freeform 563">
              <a:extLst>
                <a:ext uri="{FF2B5EF4-FFF2-40B4-BE49-F238E27FC236}">
                  <a16:creationId xmlns:a16="http://schemas.microsoft.com/office/drawing/2014/main" id="{9FBC8AE5-0C0B-BADB-9F98-3DC56FA2D898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3279" y="2488902"/>
              <a:ext cx="35765" cy="51094"/>
            </a:xfrm>
            <a:custGeom>
              <a:avLst/>
              <a:gdLst>
                <a:gd name="T0" fmla="*/ 3 w 7"/>
                <a:gd name="T1" fmla="*/ 8 h 9"/>
                <a:gd name="T2" fmla="*/ 4 w 7"/>
                <a:gd name="T3" fmla="*/ 6 h 9"/>
                <a:gd name="T4" fmla="*/ 2 w 7"/>
                <a:gd name="T5" fmla="*/ 4 h 9"/>
                <a:gd name="T6" fmla="*/ 3 w 7"/>
                <a:gd name="T7" fmla="*/ 1 h 9"/>
                <a:gd name="T8" fmla="*/ 6 w 7"/>
                <a:gd name="T9" fmla="*/ 5 h 9"/>
                <a:gd name="T10" fmla="*/ 3 w 7"/>
                <a:gd name="T11" fmla="*/ 8 h 9"/>
                <a:gd name="T12" fmla="*/ 3 w 7"/>
                <a:gd name="T13" fmla="*/ 8 h 9"/>
                <a:gd name="T14" fmla="*/ 3 w 7"/>
                <a:gd name="T1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9">
                  <a:moveTo>
                    <a:pt x="3" y="8"/>
                  </a:moveTo>
                  <a:cubicBezTo>
                    <a:pt x="4" y="7"/>
                    <a:pt x="5" y="7"/>
                    <a:pt x="4" y="6"/>
                  </a:cubicBezTo>
                  <a:cubicBezTo>
                    <a:pt x="4" y="5"/>
                    <a:pt x="2" y="5"/>
                    <a:pt x="2" y="4"/>
                  </a:cubicBezTo>
                  <a:cubicBezTo>
                    <a:pt x="3" y="3"/>
                    <a:pt x="0" y="0"/>
                    <a:pt x="3" y="1"/>
                  </a:cubicBezTo>
                  <a:cubicBezTo>
                    <a:pt x="6" y="2"/>
                    <a:pt x="6" y="3"/>
                    <a:pt x="6" y="5"/>
                  </a:cubicBezTo>
                  <a:cubicBezTo>
                    <a:pt x="7" y="7"/>
                    <a:pt x="3" y="8"/>
                    <a:pt x="3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4" y="7"/>
                    <a:pt x="2" y="9"/>
                    <a:pt x="3" y="8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7" name="Freeform 564">
              <a:extLst>
                <a:ext uri="{FF2B5EF4-FFF2-40B4-BE49-F238E27FC236}">
                  <a16:creationId xmlns:a16="http://schemas.microsoft.com/office/drawing/2014/main" id="{A60B75A3-91A7-6ABD-7C2A-3D0492C82977}"/>
                </a:ext>
              </a:extLst>
            </p:cNvPr>
            <p:cNvSpPr>
              <a:spLocks/>
            </p:cNvSpPr>
            <p:nvPr/>
          </p:nvSpPr>
          <p:spPr bwMode="auto">
            <a:xfrm>
              <a:off x="2282549" y="2500256"/>
              <a:ext cx="16094" cy="5677"/>
            </a:xfrm>
            <a:custGeom>
              <a:avLst/>
              <a:gdLst>
                <a:gd name="T0" fmla="*/ 2 w 3"/>
                <a:gd name="T1" fmla="*/ 1 h 1"/>
                <a:gd name="T2" fmla="*/ 0 w 3"/>
                <a:gd name="T3" fmla="*/ 0 h 1"/>
                <a:gd name="T4" fmla="*/ 3 w 3"/>
                <a:gd name="T5" fmla="*/ 0 h 1"/>
                <a:gd name="T6" fmla="*/ 2 w 3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">
                  <a:moveTo>
                    <a:pt x="2" y="1"/>
                  </a:moveTo>
                  <a:cubicBezTo>
                    <a:pt x="1" y="1"/>
                    <a:pt x="0" y="1"/>
                    <a:pt x="0" y="0"/>
                  </a:cubicBezTo>
                  <a:cubicBezTo>
                    <a:pt x="0" y="0"/>
                    <a:pt x="2" y="0"/>
                    <a:pt x="3" y="0"/>
                  </a:cubicBezTo>
                  <a:cubicBezTo>
                    <a:pt x="3" y="0"/>
                    <a:pt x="2" y="1"/>
                    <a:pt x="2" y="1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8" name="Freeform 565">
              <a:extLst>
                <a:ext uri="{FF2B5EF4-FFF2-40B4-BE49-F238E27FC236}">
                  <a16:creationId xmlns:a16="http://schemas.microsoft.com/office/drawing/2014/main" id="{DB256A17-9632-3387-0741-BC96A41975F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8262" y="2505934"/>
              <a:ext cx="69741" cy="37847"/>
            </a:xfrm>
            <a:custGeom>
              <a:avLst/>
              <a:gdLst>
                <a:gd name="T0" fmla="*/ 10 w 13"/>
                <a:gd name="T1" fmla="*/ 1 h 7"/>
                <a:gd name="T2" fmla="*/ 7 w 13"/>
                <a:gd name="T3" fmla="*/ 1 h 7"/>
                <a:gd name="T4" fmla="*/ 5 w 13"/>
                <a:gd name="T5" fmla="*/ 1 h 7"/>
                <a:gd name="T6" fmla="*/ 5 w 13"/>
                <a:gd name="T7" fmla="*/ 4 h 7"/>
                <a:gd name="T8" fmla="*/ 1 w 13"/>
                <a:gd name="T9" fmla="*/ 3 h 7"/>
                <a:gd name="T10" fmla="*/ 1 w 13"/>
                <a:gd name="T11" fmla="*/ 6 h 7"/>
                <a:gd name="T12" fmla="*/ 11 w 13"/>
                <a:gd name="T13" fmla="*/ 4 h 7"/>
                <a:gd name="T14" fmla="*/ 9 w 13"/>
                <a:gd name="T15" fmla="*/ 3 h 7"/>
                <a:gd name="T16" fmla="*/ 12 w 13"/>
                <a:gd name="T17" fmla="*/ 3 h 7"/>
                <a:gd name="T18" fmla="*/ 10 w 13"/>
                <a:gd name="T19" fmla="*/ 1 h 7"/>
                <a:gd name="T20" fmla="*/ 10 w 13"/>
                <a:gd name="T21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" h="7">
                  <a:moveTo>
                    <a:pt x="10" y="1"/>
                  </a:moveTo>
                  <a:cubicBezTo>
                    <a:pt x="9" y="1"/>
                    <a:pt x="8" y="1"/>
                    <a:pt x="7" y="1"/>
                  </a:cubicBezTo>
                  <a:cubicBezTo>
                    <a:pt x="6" y="1"/>
                    <a:pt x="6" y="1"/>
                    <a:pt x="5" y="1"/>
                  </a:cubicBezTo>
                  <a:cubicBezTo>
                    <a:pt x="3" y="2"/>
                    <a:pt x="4" y="4"/>
                    <a:pt x="5" y="4"/>
                  </a:cubicBezTo>
                  <a:cubicBezTo>
                    <a:pt x="4" y="4"/>
                    <a:pt x="2" y="1"/>
                    <a:pt x="1" y="3"/>
                  </a:cubicBezTo>
                  <a:cubicBezTo>
                    <a:pt x="0" y="4"/>
                    <a:pt x="0" y="5"/>
                    <a:pt x="1" y="6"/>
                  </a:cubicBezTo>
                  <a:cubicBezTo>
                    <a:pt x="2" y="7"/>
                    <a:pt x="10" y="5"/>
                    <a:pt x="11" y="4"/>
                  </a:cubicBezTo>
                  <a:cubicBezTo>
                    <a:pt x="11" y="4"/>
                    <a:pt x="10" y="3"/>
                    <a:pt x="9" y="3"/>
                  </a:cubicBezTo>
                  <a:cubicBezTo>
                    <a:pt x="10" y="3"/>
                    <a:pt x="12" y="3"/>
                    <a:pt x="12" y="3"/>
                  </a:cubicBezTo>
                  <a:cubicBezTo>
                    <a:pt x="13" y="2"/>
                    <a:pt x="11" y="0"/>
                    <a:pt x="10" y="1"/>
                  </a:cubicBezTo>
                  <a:cubicBezTo>
                    <a:pt x="9" y="1"/>
                    <a:pt x="11" y="0"/>
                    <a:pt x="10" y="1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9" name="Freeform 566">
              <a:extLst>
                <a:ext uri="{FF2B5EF4-FFF2-40B4-BE49-F238E27FC236}">
                  <a16:creationId xmlns:a16="http://schemas.microsoft.com/office/drawing/2014/main" id="{581552B5-8459-3E1F-8301-D64F134E9C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5086" y="2471871"/>
              <a:ext cx="42917" cy="39739"/>
            </a:xfrm>
            <a:custGeom>
              <a:avLst/>
              <a:gdLst>
                <a:gd name="T0" fmla="*/ 2 w 8"/>
                <a:gd name="T1" fmla="*/ 6 h 7"/>
                <a:gd name="T2" fmla="*/ 5 w 8"/>
                <a:gd name="T3" fmla="*/ 4 h 7"/>
                <a:gd name="T4" fmla="*/ 8 w 8"/>
                <a:gd name="T5" fmla="*/ 4 h 7"/>
                <a:gd name="T6" fmla="*/ 5 w 8"/>
                <a:gd name="T7" fmla="*/ 2 h 7"/>
                <a:gd name="T8" fmla="*/ 2 w 8"/>
                <a:gd name="T9" fmla="*/ 6 h 7"/>
                <a:gd name="T10" fmla="*/ 2 w 8"/>
                <a:gd name="T11" fmla="*/ 6 h 7"/>
                <a:gd name="T12" fmla="*/ 2 w 8"/>
                <a:gd name="T13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7">
                  <a:moveTo>
                    <a:pt x="2" y="6"/>
                  </a:moveTo>
                  <a:cubicBezTo>
                    <a:pt x="3" y="5"/>
                    <a:pt x="4" y="5"/>
                    <a:pt x="5" y="4"/>
                  </a:cubicBezTo>
                  <a:cubicBezTo>
                    <a:pt x="6" y="4"/>
                    <a:pt x="8" y="4"/>
                    <a:pt x="8" y="4"/>
                  </a:cubicBezTo>
                  <a:cubicBezTo>
                    <a:pt x="8" y="4"/>
                    <a:pt x="7" y="0"/>
                    <a:pt x="5" y="2"/>
                  </a:cubicBezTo>
                  <a:cubicBezTo>
                    <a:pt x="5" y="2"/>
                    <a:pt x="1" y="5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4" y="5"/>
                    <a:pt x="0" y="7"/>
                    <a:pt x="2" y="6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0" name="Freeform 567">
              <a:extLst>
                <a:ext uri="{FF2B5EF4-FFF2-40B4-BE49-F238E27FC236}">
                  <a16:creationId xmlns:a16="http://schemas.microsoft.com/office/drawing/2014/main" id="{053CC7F9-5E2E-A335-4387-196774D1E1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6447" y="2623259"/>
              <a:ext cx="51859" cy="20817"/>
            </a:xfrm>
            <a:custGeom>
              <a:avLst/>
              <a:gdLst>
                <a:gd name="T0" fmla="*/ 9 w 10"/>
                <a:gd name="T1" fmla="*/ 2 h 4"/>
                <a:gd name="T2" fmla="*/ 9 w 10"/>
                <a:gd name="T3" fmla="*/ 1 h 4"/>
                <a:gd name="T4" fmla="*/ 6 w 10"/>
                <a:gd name="T5" fmla="*/ 0 h 4"/>
                <a:gd name="T6" fmla="*/ 2 w 10"/>
                <a:gd name="T7" fmla="*/ 2 h 4"/>
                <a:gd name="T8" fmla="*/ 3 w 10"/>
                <a:gd name="T9" fmla="*/ 4 h 4"/>
                <a:gd name="T10" fmla="*/ 9 w 10"/>
                <a:gd name="T11" fmla="*/ 2 h 4"/>
                <a:gd name="T12" fmla="*/ 9 w 10"/>
                <a:gd name="T1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4">
                  <a:moveTo>
                    <a:pt x="9" y="2"/>
                  </a:moveTo>
                  <a:cubicBezTo>
                    <a:pt x="10" y="2"/>
                    <a:pt x="8" y="1"/>
                    <a:pt x="9" y="1"/>
                  </a:cubicBezTo>
                  <a:cubicBezTo>
                    <a:pt x="8" y="0"/>
                    <a:pt x="7" y="0"/>
                    <a:pt x="6" y="0"/>
                  </a:cubicBezTo>
                  <a:cubicBezTo>
                    <a:pt x="5" y="1"/>
                    <a:pt x="3" y="1"/>
                    <a:pt x="2" y="2"/>
                  </a:cubicBezTo>
                  <a:cubicBezTo>
                    <a:pt x="0" y="3"/>
                    <a:pt x="2" y="4"/>
                    <a:pt x="3" y="4"/>
                  </a:cubicBezTo>
                  <a:cubicBezTo>
                    <a:pt x="5" y="4"/>
                    <a:pt x="7" y="1"/>
                    <a:pt x="9" y="2"/>
                  </a:cubicBezTo>
                  <a:cubicBezTo>
                    <a:pt x="10" y="2"/>
                    <a:pt x="7" y="1"/>
                    <a:pt x="9" y="2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1" name="Freeform 568">
              <a:extLst>
                <a:ext uri="{FF2B5EF4-FFF2-40B4-BE49-F238E27FC236}">
                  <a16:creationId xmlns:a16="http://schemas.microsoft.com/office/drawing/2014/main" id="{15403511-6D76-0F96-F5FE-4E0BC4AFF31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3858" y="2655430"/>
              <a:ext cx="30400" cy="28387"/>
            </a:xfrm>
            <a:custGeom>
              <a:avLst/>
              <a:gdLst>
                <a:gd name="T0" fmla="*/ 6 w 6"/>
                <a:gd name="T1" fmla="*/ 2 h 5"/>
                <a:gd name="T2" fmla="*/ 3 w 6"/>
                <a:gd name="T3" fmla="*/ 2 h 5"/>
                <a:gd name="T4" fmla="*/ 3 w 6"/>
                <a:gd name="T5" fmla="*/ 4 h 5"/>
                <a:gd name="T6" fmla="*/ 0 w 6"/>
                <a:gd name="T7" fmla="*/ 5 h 5"/>
                <a:gd name="T8" fmla="*/ 6 w 6"/>
                <a:gd name="T9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5">
                  <a:moveTo>
                    <a:pt x="6" y="2"/>
                  </a:moveTo>
                  <a:cubicBezTo>
                    <a:pt x="6" y="0"/>
                    <a:pt x="4" y="1"/>
                    <a:pt x="3" y="2"/>
                  </a:cubicBezTo>
                  <a:cubicBezTo>
                    <a:pt x="3" y="2"/>
                    <a:pt x="3" y="3"/>
                    <a:pt x="3" y="4"/>
                  </a:cubicBezTo>
                  <a:cubicBezTo>
                    <a:pt x="2" y="4"/>
                    <a:pt x="0" y="5"/>
                    <a:pt x="0" y="5"/>
                  </a:cubicBezTo>
                  <a:cubicBezTo>
                    <a:pt x="0" y="5"/>
                    <a:pt x="6" y="5"/>
                    <a:pt x="6" y="2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9" name="Freeform 576">
              <a:extLst>
                <a:ext uri="{FF2B5EF4-FFF2-40B4-BE49-F238E27FC236}">
                  <a16:creationId xmlns:a16="http://schemas.microsoft.com/office/drawing/2014/main" id="{75047048-664B-B2C5-8263-F197B5BC4ADA}"/>
                </a:ext>
              </a:extLst>
            </p:cNvPr>
            <p:cNvSpPr>
              <a:spLocks/>
            </p:cNvSpPr>
            <p:nvPr/>
          </p:nvSpPr>
          <p:spPr bwMode="auto">
            <a:xfrm>
              <a:off x="2534694" y="1728172"/>
              <a:ext cx="282545" cy="183559"/>
            </a:xfrm>
            <a:custGeom>
              <a:avLst/>
              <a:gdLst>
                <a:gd name="T0" fmla="*/ 52 w 54"/>
                <a:gd name="T1" fmla="*/ 10 h 33"/>
                <a:gd name="T2" fmla="*/ 45 w 54"/>
                <a:gd name="T3" fmla="*/ 4 h 33"/>
                <a:gd name="T4" fmla="*/ 41 w 54"/>
                <a:gd name="T5" fmla="*/ 3 h 33"/>
                <a:gd name="T6" fmla="*/ 35 w 54"/>
                <a:gd name="T7" fmla="*/ 4 h 33"/>
                <a:gd name="T8" fmla="*/ 32 w 54"/>
                <a:gd name="T9" fmla="*/ 3 h 33"/>
                <a:gd name="T10" fmla="*/ 27 w 54"/>
                <a:gd name="T11" fmla="*/ 1 h 33"/>
                <a:gd name="T12" fmla="*/ 20 w 54"/>
                <a:gd name="T13" fmla="*/ 0 h 33"/>
                <a:gd name="T14" fmla="*/ 11 w 54"/>
                <a:gd name="T15" fmla="*/ 1 h 33"/>
                <a:gd name="T16" fmla="*/ 8 w 54"/>
                <a:gd name="T17" fmla="*/ 3 h 33"/>
                <a:gd name="T18" fmla="*/ 7 w 54"/>
                <a:gd name="T19" fmla="*/ 11 h 33"/>
                <a:gd name="T20" fmla="*/ 7 w 54"/>
                <a:gd name="T21" fmla="*/ 15 h 33"/>
                <a:gd name="T22" fmla="*/ 4 w 54"/>
                <a:gd name="T23" fmla="*/ 18 h 33"/>
                <a:gd name="T24" fmla="*/ 0 w 54"/>
                <a:gd name="T25" fmla="*/ 24 h 33"/>
                <a:gd name="T26" fmla="*/ 7 w 54"/>
                <a:gd name="T27" fmla="*/ 26 h 33"/>
                <a:gd name="T28" fmla="*/ 15 w 54"/>
                <a:gd name="T29" fmla="*/ 32 h 33"/>
                <a:gd name="T30" fmla="*/ 19 w 54"/>
                <a:gd name="T31" fmla="*/ 30 h 33"/>
                <a:gd name="T32" fmla="*/ 25 w 54"/>
                <a:gd name="T33" fmla="*/ 29 h 33"/>
                <a:gd name="T34" fmla="*/ 28 w 54"/>
                <a:gd name="T35" fmla="*/ 26 h 33"/>
                <a:gd name="T36" fmla="*/ 31 w 54"/>
                <a:gd name="T37" fmla="*/ 21 h 33"/>
                <a:gd name="T38" fmla="*/ 37 w 54"/>
                <a:gd name="T39" fmla="*/ 17 h 33"/>
                <a:gd name="T40" fmla="*/ 46 w 54"/>
                <a:gd name="T41" fmla="*/ 13 h 33"/>
                <a:gd name="T42" fmla="*/ 52 w 54"/>
                <a:gd name="T43" fmla="*/ 10 h 33"/>
                <a:gd name="T44" fmla="*/ 52 w 54"/>
                <a:gd name="T45" fmla="*/ 1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4" h="33">
                  <a:moveTo>
                    <a:pt x="52" y="10"/>
                  </a:moveTo>
                  <a:cubicBezTo>
                    <a:pt x="50" y="8"/>
                    <a:pt x="48" y="6"/>
                    <a:pt x="45" y="4"/>
                  </a:cubicBezTo>
                  <a:cubicBezTo>
                    <a:pt x="44" y="4"/>
                    <a:pt x="42" y="3"/>
                    <a:pt x="41" y="3"/>
                  </a:cubicBezTo>
                  <a:cubicBezTo>
                    <a:pt x="38" y="2"/>
                    <a:pt x="37" y="3"/>
                    <a:pt x="35" y="4"/>
                  </a:cubicBezTo>
                  <a:cubicBezTo>
                    <a:pt x="34" y="4"/>
                    <a:pt x="33" y="3"/>
                    <a:pt x="32" y="3"/>
                  </a:cubicBezTo>
                  <a:cubicBezTo>
                    <a:pt x="31" y="2"/>
                    <a:pt x="29" y="2"/>
                    <a:pt x="27" y="1"/>
                  </a:cubicBezTo>
                  <a:cubicBezTo>
                    <a:pt x="25" y="1"/>
                    <a:pt x="22" y="0"/>
                    <a:pt x="20" y="0"/>
                  </a:cubicBezTo>
                  <a:cubicBezTo>
                    <a:pt x="17" y="0"/>
                    <a:pt x="14" y="1"/>
                    <a:pt x="11" y="1"/>
                  </a:cubicBezTo>
                  <a:cubicBezTo>
                    <a:pt x="9" y="2"/>
                    <a:pt x="6" y="1"/>
                    <a:pt x="8" y="3"/>
                  </a:cubicBezTo>
                  <a:cubicBezTo>
                    <a:pt x="10" y="7"/>
                    <a:pt x="10" y="8"/>
                    <a:pt x="7" y="11"/>
                  </a:cubicBezTo>
                  <a:cubicBezTo>
                    <a:pt x="5" y="13"/>
                    <a:pt x="7" y="14"/>
                    <a:pt x="7" y="15"/>
                  </a:cubicBezTo>
                  <a:cubicBezTo>
                    <a:pt x="6" y="16"/>
                    <a:pt x="4" y="16"/>
                    <a:pt x="4" y="18"/>
                  </a:cubicBezTo>
                  <a:cubicBezTo>
                    <a:pt x="3" y="20"/>
                    <a:pt x="1" y="22"/>
                    <a:pt x="0" y="24"/>
                  </a:cubicBezTo>
                  <a:cubicBezTo>
                    <a:pt x="0" y="25"/>
                    <a:pt x="6" y="26"/>
                    <a:pt x="7" y="26"/>
                  </a:cubicBezTo>
                  <a:cubicBezTo>
                    <a:pt x="10" y="28"/>
                    <a:pt x="12" y="32"/>
                    <a:pt x="15" y="32"/>
                  </a:cubicBezTo>
                  <a:cubicBezTo>
                    <a:pt x="16" y="33"/>
                    <a:pt x="18" y="31"/>
                    <a:pt x="19" y="30"/>
                  </a:cubicBezTo>
                  <a:cubicBezTo>
                    <a:pt x="21" y="29"/>
                    <a:pt x="23" y="30"/>
                    <a:pt x="25" y="29"/>
                  </a:cubicBezTo>
                  <a:cubicBezTo>
                    <a:pt x="27" y="29"/>
                    <a:pt x="27" y="28"/>
                    <a:pt x="28" y="26"/>
                  </a:cubicBezTo>
                  <a:cubicBezTo>
                    <a:pt x="28" y="24"/>
                    <a:pt x="28" y="23"/>
                    <a:pt x="31" y="21"/>
                  </a:cubicBezTo>
                  <a:cubicBezTo>
                    <a:pt x="33" y="20"/>
                    <a:pt x="34" y="18"/>
                    <a:pt x="37" y="17"/>
                  </a:cubicBezTo>
                  <a:cubicBezTo>
                    <a:pt x="40" y="15"/>
                    <a:pt x="43" y="14"/>
                    <a:pt x="46" y="13"/>
                  </a:cubicBezTo>
                  <a:cubicBezTo>
                    <a:pt x="46" y="13"/>
                    <a:pt x="53" y="10"/>
                    <a:pt x="52" y="10"/>
                  </a:cubicBezTo>
                  <a:cubicBezTo>
                    <a:pt x="51" y="9"/>
                    <a:pt x="54" y="11"/>
                    <a:pt x="52" y="10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3" name="Freeform 580">
              <a:extLst>
                <a:ext uri="{FF2B5EF4-FFF2-40B4-BE49-F238E27FC236}">
                  <a16:creationId xmlns:a16="http://schemas.microsoft.com/office/drawing/2014/main" id="{3846A255-3690-5B4C-6C7C-C9E0E7744A64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3377" y="1555968"/>
              <a:ext cx="193132" cy="94619"/>
            </a:xfrm>
            <a:custGeom>
              <a:avLst/>
              <a:gdLst>
                <a:gd name="T0" fmla="*/ 30 w 37"/>
                <a:gd name="T1" fmla="*/ 12 h 17"/>
                <a:gd name="T2" fmla="*/ 27 w 37"/>
                <a:gd name="T3" fmla="*/ 13 h 17"/>
                <a:gd name="T4" fmla="*/ 26 w 37"/>
                <a:gd name="T5" fmla="*/ 10 h 17"/>
                <a:gd name="T6" fmla="*/ 23 w 37"/>
                <a:gd name="T7" fmla="*/ 8 h 17"/>
                <a:gd name="T8" fmla="*/ 22 w 37"/>
                <a:gd name="T9" fmla="*/ 10 h 17"/>
                <a:gd name="T10" fmla="*/ 21 w 37"/>
                <a:gd name="T11" fmla="*/ 9 h 17"/>
                <a:gd name="T12" fmla="*/ 20 w 37"/>
                <a:gd name="T13" fmla="*/ 13 h 17"/>
                <a:gd name="T14" fmla="*/ 17 w 37"/>
                <a:gd name="T15" fmla="*/ 14 h 17"/>
                <a:gd name="T16" fmla="*/ 16 w 37"/>
                <a:gd name="T17" fmla="*/ 16 h 17"/>
                <a:gd name="T18" fmla="*/ 12 w 37"/>
                <a:gd name="T19" fmla="*/ 17 h 17"/>
                <a:gd name="T20" fmla="*/ 10 w 37"/>
                <a:gd name="T21" fmla="*/ 15 h 17"/>
                <a:gd name="T22" fmla="*/ 5 w 37"/>
                <a:gd name="T23" fmla="*/ 16 h 17"/>
                <a:gd name="T24" fmla="*/ 1 w 37"/>
                <a:gd name="T25" fmla="*/ 17 h 17"/>
                <a:gd name="T26" fmla="*/ 2 w 37"/>
                <a:gd name="T27" fmla="*/ 13 h 17"/>
                <a:gd name="T28" fmla="*/ 0 w 37"/>
                <a:gd name="T29" fmla="*/ 14 h 17"/>
                <a:gd name="T30" fmla="*/ 6 w 37"/>
                <a:gd name="T31" fmla="*/ 12 h 17"/>
                <a:gd name="T32" fmla="*/ 9 w 37"/>
                <a:gd name="T33" fmla="*/ 10 h 17"/>
                <a:gd name="T34" fmla="*/ 13 w 37"/>
                <a:gd name="T35" fmla="*/ 7 h 17"/>
                <a:gd name="T36" fmla="*/ 18 w 37"/>
                <a:gd name="T37" fmla="*/ 3 h 17"/>
                <a:gd name="T38" fmla="*/ 24 w 37"/>
                <a:gd name="T39" fmla="*/ 3 h 17"/>
                <a:gd name="T40" fmla="*/ 30 w 37"/>
                <a:gd name="T41" fmla="*/ 3 h 17"/>
                <a:gd name="T42" fmla="*/ 32 w 37"/>
                <a:gd name="T43" fmla="*/ 0 h 17"/>
                <a:gd name="T44" fmla="*/ 36 w 37"/>
                <a:gd name="T45" fmla="*/ 2 h 17"/>
                <a:gd name="T46" fmla="*/ 34 w 37"/>
                <a:gd name="T47" fmla="*/ 4 h 17"/>
                <a:gd name="T48" fmla="*/ 34 w 37"/>
                <a:gd name="T49" fmla="*/ 7 h 17"/>
                <a:gd name="T50" fmla="*/ 35 w 37"/>
                <a:gd name="T51" fmla="*/ 9 h 17"/>
                <a:gd name="T52" fmla="*/ 31 w 37"/>
                <a:gd name="T53" fmla="*/ 10 h 17"/>
                <a:gd name="T54" fmla="*/ 30 w 37"/>
                <a:gd name="T55" fmla="*/ 12 h 17"/>
                <a:gd name="T56" fmla="*/ 30 w 37"/>
                <a:gd name="T57" fmla="*/ 1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7" h="17">
                  <a:moveTo>
                    <a:pt x="30" y="12"/>
                  </a:moveTo>
                  <a:cubicBezTo>
                    <a:pt x="29" y="13"/>
                    <a:pt x="27" y="13"/>
                    <a:pt x="27" y="13"/>
                  </a:cubicBezTo>
                  <a:cubicBezTo>
                    <a:pt x="24" y="13"/>
                    <a:pt x="25" y="11"/>
                    <a:pt x="26" y="10"/>
                  </a:cubicBezTo>
                  <a:cubicBezTo>
                    <a:pt x="27" y="8"/>
                    <a:pt x="24" y="7"/>
                    <a:pt x="23" y="8"/>
                  </a:cubicBezTo>
                  <a:cubicBezTo>
                    <a:pt x="23" y="9"/>
                    <a:pt x="23" y="10"/>
                    <a:pt x="22" y="10"/>
                  </a:cubicBezTo>
                  <a:cubicBezTo>
                    <a:pt x="22" y="10"/>
                    <a:pt x="21" y="10"/>
                    <a:pt x="21" y="9"/>
                  </a:cubicBezTo>
                  <a:cubicBezTo>
                    <a:pt x="20" y="10"/>
                    <a:pt x="21" y="12"/>
                    <a:pt x="20" y="13"/>
                  </a:cubicBezTo>
                  <a:cubicBezTo>
                    <a:pt x="19" y="15"/>
                    <a:pt x="18" y="13"/>
                    <a:pt x="17" y="14"/>
                  </a:cubicBezTo>
                  <a:cubicBezTo>
                    <a:pt x="16" y="14"/>
                    <a:pt x="17" y="16"/>
                    <a:pt x="16" y="16"/>
                  </a:cubicBezTo>
                  <a:cubicBezTo>
                    <a:pt x="16" y="17"/>
                    <a:pt x="13" y="17"/>
                    <a:pt x="12" y="17"/>
                  </a:cubicBezTo>
                  <a:cubicBezTo>
                    <a:pt x="11" y="16"/>
                    <a:pt x="11" y="14"/>
                    <a:pt x="10" y="15"/>
                  </a:cubicBezTo>
                  <a:cubicBezTo>
                    <a:pt x="8" y="16"/>
                    <a:pt x="7" y="16"/>
                    <a:pt x="5" y="16"/>
                  </a:cubicBezTo>
                  <a:cubicBezTo>
                    <a:pt x="4" y="16"/>
                    <a:pt x="2" y="17"/>
                    <a:pt x="1" y="17"/>
                  </a:cubicBezTo>
                  <a:cubicBezTo>
                    <a:pt x="0" y="17"/>
                    <a:pt x="3" y="14"/>
                    <a:pt x="2" y="13"/>
                  </a:cubicBezTo>
                  <a:cubicBezTo>
                    <a:pt x="2" y="13"/>
                    <a:pt x="1" y="14"/>
                    <a:pt x="0" y="14"/>
                  </a:cubicBezTo>
                  <a:cubicBezTo>
                    <a:pt x="0" y="13"/>
                    <a:pt x="5" y="12"/>
                    <a:pt x="6" y="12"/>
                  </a:cubicBezTo>
                  <a:cubicBezTo>
                    <a:pt x="8" y="12"/>
                    <a:pt x="8" y="11"/>
                    <a:pt x="9" y="10"/>
                  </a:cubicBezTo>
                  <a:cubicBezTo>
                    <a:pt x="11" y="8"/>
                    <a:pt x="12" y="8"/>
                    <a:pt x="13" y="7"/>
                  </a:cubicBezTo>
                  <a:cubicBezTo>
                    <a:pt x="15" y="5"/>
                    <a:pt x="16" y="3"/>
                    <a:pt x="18" y="3"/>
                  </a:cubicBezTo>
                  <a:cubicBezTo>
                    <a:pt x="20" y="2"/>
                    <a:pt x="22" y="2"/>
                    <a:pt x="24" y="3"/>
                  </a:cubicBezTo>
                  <a:cubicBezTo>
                    <a:pt x="26" y="3"/>
                    <a:pt x="29" y="4"/>
                    <a:pt x="30" y="3"/>
                  </a:cubicBezTo>
                  <a:cubicBezTo>
                    <a:pt x="31" y="2"/>
                    <a:pt x="30" y="0"/>
                    <a:pt x="32" y="0"/>
                  </a:cubicBezTo>
                  <a:cubicBezTo>
                    <a:pt x="32" y="0"/>
                    <a:pt x="36" y="1"/>
                    <a:pt x="36" y="2"/>
                  </a:cubicBezTo>
                  <a:cubicBezTo>
                    <a:pt x="37" y="2"/>
                    <a:pt x="34" y="3"/>
                    <a:pt x="34" y="4"/>
                  </a:cubicBezTo>
                  <a:cubicBezTo>
                    <a:pt x="34" y="5"/>
                    <a:pt x="37" y="6"/>
                    <a:pt x="34" y="7"/>
                  </a:cubicBezTo>
                  <a:cubicBezTo>
                    <a:pt x="33" y="8"/>
                    <a:pt x="36" y="9"/>
                    <a:pt x="35" y="9"/>
                  </a:cubicBezTo>
                  <a:cubicBezTo>
                    <a:pt x="33" y="10"/>
                    <a:pt x="32" y="10"/>
                    <a:pt x="31" y="10"/>
                  </a:cubicBezTo>
                  <a:cubicBezTo>
                    <a:pt x="31" y="11"/>
                    <a:pt x="31" y="11"/>
                    <a:pt x="30" y="12"/>
                  </a:cubicBezTo>
                  <a:cubicBezTo>
                    <a:pt x="29" y="13"/>
                    <a:pt x="31" y="11"/>
                    <a:pt x="30" y="12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67" name="Freeform 607">
              <a:extLst>
                <a:ext uri="{FF2B5EF4-FFF2-40B4-BE49-F238E27FC236}">
                  <a16:creationId xmlns:a16="http://schemas.microsoft.com/office/drawing/2014/main" id="{A3BB7605-704E-B506-4000-22852919D926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7087" y="2405638"/>
              <a:ext cx="26823" cy="22709"/>
            </a:xfrm>
            <a:custGeom>
              <a:avLst/>
              <a:gdLst>
                <a:gd name="T0" fmla="*/ 4 w 5"/>
                <a:gd name="T1" fmla="*/ 1 h 4"/>
                <a:gd name="T2" fmla="*/ 1 w 5"/>
                <a:gd name="T3" fmla="*/ 4 h 4"/>
                <a:gd name="T4" fmla="*/ 4 w 5"/>
                <a:gd name="T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4">
                  <a:moveTo>
                    <a:pt x="4" y="1"/>
                  </a:moveTo>
                  <a:cubicBezTo>
                    <a:pt x="3" y="0"/>
                    <a:pt x="0" y="4"/>
                    <a:pt x="1" y="4"/>
                  </a:cubicBezTo>
                  <a:cubicBezTo>
                    <a:pt x="1" y="4"/>
                    <a:pt x="5" y="1"/>
                    <a:pt x="4" y="1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68" name="Freeform 608">
              <a:extLst>
                <a:ext uri="{FF2B5EF4-FFF2-40B4-BE49-F238E27FC236}">
                  <a16:creationId xmlns:a16="http://schemas.microsoft.com/office/drawing/2014/main" id="{A3E33243-A8F2-DC18-54E1-C67D8CB7EA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994642" y="2399960"/>
              <a:ext cx="5366" cy="5678"/>
            </a:xfrm>
            <a:custGeom>
              <a:avLst/>
              <a:gdLst>
                <a:gd name="T0" fmla="*/ 0 w 1"/>
                <a:gd name="T1" fmla="*/ 0 h 1"/>
                <a:gd name="T2" fmla="*/ 1 w 1"/>
                <a:gd name="T3" fmla="*/ 1 h 1"/>
                <a:gd name="T4" fmla="*/ 0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1"/>
                    <a:pt x="1" y="1"/>
                    <a:pt x="1" y="1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69" name="Freeform 609">
              <a:extLst>
                <a:ext uri="{FF2B5EF4-FFF2-40B4-BE49-F238E27FC236}">
                  <a16:creationId xmlns:a16="http://schemas.microsoft.com/office/drawing/2014/main" id="{8991F6A3-9B95-9A4D-64C0-2C44139A1C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9952" y="2405638"/>
              <a:ext cx="35765" cy="34061"/>
            </a:xfrm>
            <a:custGeom>
              <a:avLst/>
              <a:gdLst>
                <a:gd name="T0" fmla="*/ 5 w 7"/>
                <a:gd name="T1" fmla="*/ 2 h 6"/>
                <a:gd name="T2" fmla="*/ 1 w 7"/>
                <a:gd name="T3" fmla="*/ 2 h 6"/>
                <a:gd name="T4" fmla="*/ 5 w 7"/>
                <a:gd name="T5" fmla="*/ 2 h 6"/>
                <a:gd name="T6" fmla="*/ 5 w 7"/>
                <a:gd name="T7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6">
                  <a:moveTo>
                    <a:pt x="5" y="2"/>
                  </a:moveTo>
                  <a:cubicBezTo>
                    <a:pt x="7" y="0"/>
                    <a:pt x="2" y="0"/>
                    <a:pt x="1" y="2"/>
                  </a:cubicBezTo>
                  <a:cubicBezTo>
                    <a:pt x="0" y="3"/>
                    <a:pt x="4" y="5"/>
                    <a:pt x="5" y="2"/>
                  </a:cubicBezTo>
                  <a:cubicBezTo>
                    <a:pt x="6" y="1"/>
                    <a:pt x="3" y="6"/>
                    <a:pt x="5" y="2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70" name="Freeform 615">
              <a:extLst>
                <a:ext uri="{FF2B5EF4-FFF2-40B4-BE49-F238E27FC236}">
                  <a16:creationId xmlns:a16="http://schemas.microsoft.com/office/drawing/2014/main" id="{B05FC27C-1BB2-F890-10E0-695CB15E8E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0564" y="2950639"/>
              <a:ext cx="37553" cy="17033"/>
            </a:xfrm>
            <a:custGeom>
              <a:avLst/>
              <a:gdLst>
                <a:gd name="T0" fmla="*/ 7 w 7"/>
                <a:gd name="T1" fmla="*/ 1 h 3"/>
                <a:gd name="T2" fmla="*/ 1 w 7"/>
                <a:gd name="T3" fmla="*/ 0 h 3"/>
                <a:gd name="T4" fmla="*/ 7 w 7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3">
                  <a:moveTo>
                    <a:pt x="7" y="1"/>
                  </a:moveTo>
                  <a:cubicBezTo>
                    <a:pt x="7" y="0"/>
                    <a:pt x="0" y="0"/>
                    <a:pt x="1" y="0"/>
                  </a:cubicBezTo>
                  <a:cubicBezTo>
                    <a:pt x="2" y="0"/>
                    <a:pt x="6" y="3"/>
                    <a:pt x="7" y="1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71" name="Freeform 640">
              <a:extLst>
                <a:ext uri="{FF2B5EF4-FFF2-40B4-BE49-F238E27FC236}">
                  <a16:creationId xmlns:a16="http://schemas.microsoft.com/office/drawing/2014/main" id="{B4D3C9B7-D0F9-9604-97B4-7BD529FCCB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7035" y="1900376"/>
              <a:ext cx="1017518" cy="722883"/>
            </a:xfrm>
            <a:custGeom>
              <a:avLst/>
              <a:gdLst>
                <a:gd name="T0" fmla="*/ 184 w 194"/>
                <a:gd name="T1" fmla="*/ 118 h 130"/>
                <a:gd name="T2" fmla="*/ 161 w 194"/>
                <a:gd name="T3" fmla="*/ 97 h 130"/>
                <a:gd name="T4" fmla="*/ 143 w 194"/>
                <a:gd name="T5" fmla="*/ 92 h 130"/>
                <a:gd name="T6" fmla="*/ 138 w 194"/>
                <a:gd name="T7" fmla="*/ 76 h 130"/>
                <a:gd name="T8" fmla="*/ 135 w 194"/>
                <a:gd name="T9" fmla="*/ 14 h 130"/>
                <a:gd name="T10" fmla="*/ 84 w 194"/>
                <a:gd name="T11" fmla="*/ 8 h 130"/>
                <a:gd name="T12" fmla="*/ 71 w 194"/>
                <a:gd name="T13" fmla="*/ 5 h 130"/>
                <a:gd name="T14" fmla="*/ 62 w 194"/>
                <a:gd name="T15" fmla="*/ 1 h 130"/>
                <a:gd name="T16" fmla="*/ 43 w 194"/>
                <a:gd name="T17" fmla="*/ 8 h 130"/>
                <a:gd name="T18" fmla="*/ 32 w 194"/>
                <a:gd name="T19" fmla="*/ 11 h 130"/>
                <a:gd name="T20" fmla="*/ 12 w 194"/>
                <a:gd name="T21" fmla="*/ 23 h 130"/>
                <a:gd name="T22" fmla="*/ 26 w 194"/>
                <a:gd name="T23" fmla="*/ 38 h 130"/>
                <a:gd name="T24" fmla="*/ 33 w 194"/>
                <a:gd name="T25" fmla="*/ 42 h 130"/>
                <a:gd name="T26" fmla="*/ 38 w 194"/>
                <a:gd name="T27" fmla="*/ 45 h 130"/>
                <a:gd name="T28" fmla="*/ 24 w 194"/>
                <a:gd name="T29" fmla="*/ 42 h 130"/>
                <a:gd name="T30" fmla="*/ 9 w 194"/>
                <a:gd name="T31" fmla="*/ 46 h 130"/>
                <a:gd name="T32" fmla="*/ 12 w 194"/>
                <a:gd name="T33" fmla="*/ 58 h 130"/>
                <a:gd name="T34" fmla="*/ 32 w 194"/>
                <a:gd name="T35" fmla="*/ 58 h 130"/>
                <a:gd name="T36" fmla="*/ 38 w 194"/>
                <a:gd name="T37" fmla="*/ 61 h 130"/>
                <a:gd name="T38" fmla="*/ 21 w 194"/>
                <a:gd name="T39" fmla="*/ 71 h 130"/>
                <a:gd name="T40" fmla="*/ 15 w 194"/>
                <a:gd name="T41" fmla="*/ 78 h 130"/>
                <a:gd name="T42" fmla="*/ 17 w 194"/>
                <a:gd name="T43" fmla="*/ 84 h 130"/>
                <a:gd name="T44" fmla="*/ 26 w 194"/>
                <a:gd name="T45" fmla="*/ 89 h 130"/>
                <a:gd name="T46" fmla="*/ 22 w 194"/>
                <a:gd name="T47" fmla="*/ 94 h 130"/>
                <a:gd name="T48" fmla="*/ 31 w 194"/>
                <a:gd name="T49" fmla="*/ 93 h 130"/>
                <a:gd name="T50" fmla="*/ 38 w 194"/>
                <a:gd name="T51" fmla="*/ 102 h 130"/>
                <a:gd name="T52" fmla="*/ 48 w 194"/>
                <a:gd name="T53" fmla="*/ 105 h 130"/>
                <a:gd name="T54" fmla="*/ 54 w 194"/>
                <a:gd name="T55" fmla="*/ 103 h 130"/>
                <a:gd name="T56" fmla="*/ 55 w 194"/>
                <a:gd name="T57" fmla="*/ 106 h 130"/>
                <a:gd name="T58" fmla="*/ 51 w 194"/>
                <a:gd name="T59" fmla="*/ 114 h 130"/>
                <a:gd name="T60" fmla="*/ 41 w 194"/>
                <a:gd name="T61" fmla="*/ 124 h 130"/>
                <a:gd name="T62" fmla="*/ 36 w 194"/>
                <a:gd name="T63" fmla="*/ 126 h 130"/>
                <a:gd name="T64" fmla="*/ 43 w 194"/>
                <a:gd name="T65" fmla="*/ 125 h 130"/>
                <a:gd name="T66" fmla="*/ 54 w 194"/>
                <a:gd name="T67" fmla="*/ 118 h 130"/>
                <a:gd name="T68" fmla="*/ 72 w 194"/>
                <a:gd name="T69" fmla="*/ 107 h 130"/>
                <a:gd name="T70" fmla="*/ 77 w 194"/>
                <a:gd name="T71" fmla="*/ 91 h 130"/>
                <a:gd name="T72" fmla="*/ 94 w 194"/>
                <a:gd name="T73" fmla="*/ 86 h 130"/>
                <a:gd name="T74" fmla="*/ 87 w 194"/>
                <a:gd name="T75" fmla="*/ 97 h 130"/>
                <a:gd name="T76" fmla="*/ 101 w 194"/>
                <a:gd name="T77" fmla="*/ 88 h 130"/>
                <a:gd name="T78" fmla="*/ 119 w 194"/>
                <a:gd name="T79" fmla="*/ 92 h 130"/>
                <a:gd name="T80" fmla="*/ 136 w 194"/>
                <a:gd name="T81" fmla="*/ 95 h 130"/>
                <a:gd name="T82" fmla="*/ 145 w 194"/>
                <a:gd name="T83" fmla="*/ 98 h 130"/>
                <a:gd name="T84" fmla="*/ 160 w 194"/>
                <a:gd name="T85" fmla="*/ 102 h 130"/>
                <a:gd name="T86" fmla="*/ 169 w 194"/>
                <a:gd name="T87" fmla="*/ 104 h 130"/>
                <a:gd name="T88" fmla="*/ 176 w 194"/>
                <a:gd name="T89" fmla="*/ 111 h 130"/>
                <a:gd name="T90" fmla="*/ 184 w 194"/>
                <a:gd name="T91" fmla="*/ 121 h 130"/>
                <a:gd name="T92" fmla="*/ 186 w 194"/>
                <a:gd name="T93" fmla="*/ 125 h 130"/>
                <a:gd name="T94" fmla="*/ 194 w 194"/>
                <a:gd name="T95" fmla="*/ 126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94" h="130">
                  <a:moveTo>
                    <a:pt x="194" y="126"/>
                  </a:moveTo>
                  <a:cubicBezTo>
                    <a:pt x="193" y="125"/>
                    <a:pt x="191" y="125"/>
                    <a:pt x="193" y="123"/>
                  </a:cubicBezTo>
                  <a:cubicBezTo>
                    <a:pt x="193" y="122"/>
                    <a:pt x="192" y="122"/>
                    <a:pt x="191" y="122"/>
                  </a:cubicBezTo>
                  <a:cubicBezTo>
                    <a:pt x="189" y="120"/>
                    <a:pt x="185" y="119"/>
                    <a:pt x="184" y="118"/>
                  </a:cubicBezTo>
                  <a:cubicBezTo>
                    <a:pt x="180" y="113"/>
                    <a:pt x="178" y="107"/>
                    <a:pt x="174" y="103"/>
                  </a:cubicBezTo>
                  <a:cubicBezTo>
                    <a:pt x="172" y="102"/>
                    <a:pt x="170" y="100"/>
                    <a:pt x="169" y="99"/>
                  </a:cubicBezTo>
                  <a:cubicBezTo>
                    <a:pt x="167" y="98"/>
                    <a:pt x="167" y="95"/>
                    <a:pt x="165" y="95"/>
                  </a:cubicBezTo>
                  <a:cubicBezTo>
                    <a:pt x="164" y="95"/>
                    <a:pt x="161" y="97"/>
                    <a:pt x="161" y="97"/>
                  </a:cubicBezTo>
                  <a:cubicBezTo>
                    <a:pt x="162" y="99"/>
                    <a:pt x="159" y="100"/>
                    <a:pt x="158" y="100"/>
                  </a:cubicBezTo>
                  <a:cubicBezTo>
                    <a:pt x="155" y="101"/>
                    <a:pt x="152" y="97"/>
                    <a:pt x="150" y="95"/>
                  </a:cubicBezTo>
                  <a:cubicBezTo>
                    <a:pt x="149" y="94"/>
                    <a:pt x="148" y="94"/>
                    <a:pt x="147" y="92"/>
                  </a:cubicBezTo>
                  <a:cubicBezTo>
                    <a:pt x="146" y="90"/>
                    <a:pt x="144" y="91"/>
                    <a:pt x="143" y="92"/>
                  </a:cubicBezTo>
                  <a:cubicBezTo>
                    <a:pt x="141" y="92"/>
                    <a:pt x="141" y="91"/>
                    <a:pt x="139" y="92"/>
                  </a:cubicBezTo>
                  <a:cubicBezTo>
                    <a:pt x="139" y="92"/>
                    <a:pt x="138" y="92"/>
                    <a:pt x="138" y="91"/>
                  </a:cubicBezTo>
                  <a:cubicBezTo>
                    <a:pt x="138" y="90"/>
                    <a:pt x="138" y="90"/>
                    <a:pt x="138" y="89"/>
                  </a:cubicBezTo>
                  <a:cubicBezTo>
                    <a:pt x="138" y="85"/>
                    <a:pt x="138" y="80"/>
                    <a:pt x="138" y="76"/>
                  </a:cubicBezTo>
                  <a:cubicBezTo>
                    <a:pt x="138" y="64"/>
                    <a:pt x="138" y="51"/>
                    <a:pt x="138" y="38"/>
                  </a:cubicBezTo>
                  <a:cubicBezTo>
                    <a:pt x="138" y="33"/>
                    <a:pt x="138" y="27"/>
                    <a:pt x="138" y="21"/>
                  </a:cubicBezTo>
                  <a:cubicBezTo>
                    <a:pt x="138" y="20"/>
                    <a:pt x="138" y="18"/>
                    <a:pt x="138" y="16"/>
                  </a:cubicBezTo>
                  <a:cubicBezTo>
                    <a:pt x="138" y="15"/>
                    <a:pt x="137" y="15"/>
                    <a:pt x="135" y="14"/>
                  </a:cubicBezTo>
                  <a:cubicBezTo>
                    <a:pt x="130" y="12"/>
                    <a:pt x="127" y="12"/>
                    <a:pt x="122" y="12"/>
                  </a:cubicBezTo>
                  <a:cubicBezTo>
                    <a:pt x="117" y="12"/>
                    <a:pt x="113" y="11"/>
                    <a:pt x="108" y="10"/>
                  </a:cubicBezTo>
                  <a:cubicBezTo>
                    <a:pt x="102" y="10"/>
                    <a:pt x="97" y="8"/>
                    <a:pt x="92" y="8"/>
                  </a:cubicBezTo>
                  <a:cubicBezTo>
                    <a:pt x="89" y="8"/>
                    <a:pt x="87" y="9"/>
                    <a:pt x="84" y="8"/>
                  </a:cubicBezTo>
                  <a:cubicBezTo>
                    <a:pt x="84" y="8"/>
                    <a:pt x="80" y="7"/>
                    <a:pt x="80" y="7"/>
                  </a:cubicBezTo>
                  <a:cubicBezTo>
                    <a:pt x="80" y="7"/>
                    <a:pt x="81" y="5"/>
                    <a:pt x="81" y="4"/>
                  </a:cubicBezTo>
                  <a:cubicBezTo>
                    <a:pt x="81" y="4"/>
                    <a:pt x="78" y="4"/>
                    <a:pt x="78" y="4"/>
                  </a:cubicBezTo>
                  <a:cubicBezTo>
                    <a:pt x="76" y="4"/>
                    <a:pt x="73" y="5"/>
                    <a:pt x="71" y="5"/>
                  </a:cubicBezTo>
                  <a:cubicBezTo>
                    <a:pt x="69" y="5"/>
                    <a:pt x="70" y="1"/>
                    <a:pt x="67" y="3"/>
                  </a:cubicBezTo>
                  <a:cubicBezTo>
                    <a:pt x="66" y="3"/>
                    <a:pt x="65" y="5"/>
                    <a:pt x="64" y="4"/>
                  </a:cubicBezTo>
                  <a:cubicBezTo>
                    <a:pt x="62" y="4"/>
                    <a:pt x="62" y="3"/>
                    <a:pt x="64" y="2"/>
                  </a:cubicBezTo>
                  <a:cubicBezTo>
                    <a:pt x="66" y="2"/>
                    <a:pt x="63" y="1"/>
                    <a:pt x="62" y="1"/>
                  </a:cubicBezTo>
                  <a:cubicBezTo>
                    <a:pt x="58" y="0"/>
                    <a:pt x="58" y="1"/>
                    <a:pt x="56" y="3"/>
                  </a:cubicBezTo>
                  <a:cubicBezTo>
                    <a:pt x="53" y="6"/>
                    <a:pt x="49" y="4"/>
                    <a:pt x="45" y="5"/>
                  </a:cubicBezTo>
                  <a:cubicBezTo>
                    <a:pt x="41" y="6"/>
                    <a:pt x="45" y="8"/>
                    <a:pt x="45" y="8"/>
                  </a:cubicBezTo>
                  <a:cubicBezTo>
                    <a:pt x="44" y="8"/>
                    <a:pt x="43" y="8"/>
                    <a:pt x="43" y="8"/>
                  </a:cubicBezTo>
                  <a:cubicBezTo>
                    <a:pt x="43" y="8"/>
                    <a:pt x="44" y="10"/>
                    <a:pt x="43" y="10"/>
                  </a:cubicBezTo>
                  <a:cubicBezTo>
                    <a:pt x="42" y="10"/>
                    <a:pt x="42" y="8"/>
                    <a:pt x="42" y="7"/>
                  </a:cubicBezTo>
                  <a:cubicBezTo>
                    <a:pt x="41" y="7"/>
                    <a:pt x="38" y="10"/>
                    <a:pt x="38" y="10"/>
                  </a:cubicBezTo>
                  <a:cubicBezTo>
                    <a:pt x="36" y="11"/>
                    <a:pt x="34" y="9"/>
                    <a:pt x="32" y="11"/>
                  </a:cubicBezTo>
                  <a:cubicBezTo>
                    <a:pt x="30" y="12"/>
                    <a:pt x="28" y="13"/>
                    <a:pt x="27" y="15"/>
                  </a:cubicBezTo>
                  <a:cubicBezTo>
                    <a:pt x="27" y="17"/>
                    <a:pt x="27" y="19"/>
                    <a:pt x="25" y="20"/>
                  </a:cubicBezTo>
                  <a:cubicBezTo>
                    <a:pt x="23" y="21"/>
                    <a:pt x="22" y="22"/>
                    <a:pt x="20" y="22"/>
                  </a:cubicBezTo>
                  <a:cubicBezTo>
                    <a:pt x="19" y="22"/>
                    <a:pt x="13" y="22"/>
                    <a:pt x="12" y="23"/>
                  </a:cubicBezTo>
                  <a:cubicBezTo>
                    <a:pt x="12" y="24"/>
                    <a:pt x="10" y="27"/>
                    <a:pt x="10" y="27"/>
                  </a:cubicBezTo>
                  <a:cubicBezTo>
                    <a:pt x="11" y="28"/>
                    <a:pt x="14" y="28"/>
                    <a:pt x="15" y="29"/>
                  </a:cubicBezTo>
                  <a:cubicBezTo>
                    <a:pt x="18" y="30"/>
                    <a:pt x="21" y="32"/>
                    <a:pt x="23" y="34"/>
                  </a:cubicBezTo>
                  <a:cubicBezTo>
                    <a:pt x="24" y="35"/>
                    <a:pt x="24" y="37"/>
                    <a:pt x="26" y="38"/>
                  </a:cubicBezTo>
                  <a:cubicBezTo>
                    <a:pt x="28" y="38"/>
                    <a:pt x="29" y="38"/>
                    <a:pt x="31" y="37"/>
                  </a:cubicBezTo>
                  <a:cubicBezTo>
                    <a:pt x="31" y="37"/>
                    <a:pt x="34" y="38"/>
                    <a:pt x="34" y="38"/>
                  </a:cubicBezTo>
                  <a:cubicBezTo>
                    <a:pt x="36" y="41"/>
                    <a:pt x="31" y="39"/>
                    <a:pt x="31" y="39"/>
                  </a:cubicBezTo>
                  <a:cubicBezTo>
                    <a:pt x="29" y="39"/>
                    <a:pt x="32" y="41"/>
                    <a:pt x="33" y="42"/>
                  </a:cubicBezTo>
                  <a:cubicBezTo>
                    <a:pt x="34" y="44"/>
                    <a:pt x="35" y="43"/>
                    <a:pt x="37" y="42"/>
                  </a:cubicBezTo>
                  <a:cubicBezTo>
                    <a:pt x="38" y="41"/>
                    <a:pt x="41" y="41"/>
                    <a:pt x="42" y="42"/>
                  </a:cubicBezTo>
                  <a:cubicBezTo>
                    <a:pt x="43" y="43"/>
                    <a:pt x="38" y="44"/>
                    <a:pt x="38" y="44"/>
                  </a:cubicBezTo>
                  <a:cubicBezTo>
                    <a:pt x="37" y="44"/>
                    <a:pt x="38" y="44"/>
                    <a:pt x="38" y="45"/>
                  </a:cubicBezTo>
                  <a:cubicBezTo>
                    <a:pt x="38" y="46"/>
                    <a:pt x="36" y="45"/>
                    <a:pt x="36" y="45"/>
                  </a:cubicBezTo>
                  <a:cubicBezTo>
                    <a:pt x="35" y="45"/>
                    <a:pt x="34" y="46"/>
                    <a:pt x="32" y="46"/>
                  </a:cubicBezTo>
                  <a:cubicBezTo>
                    <a:pt x="30" y="46"/>
                    <a:pt x="26" y="47"/>
                    <a:pt x="24" y="46"/>
                  </a:cubicBezTo>
                  <a:cubicBezTo>
                    <a:pt x="22" y="45"/>
                    <a:pt x="25" y="43"/>
                    <a:pt x="24" y="42"/>
                  </a:cubicBezTo>
                  <a:cubicBezTo>
                    <a:pt x="23" y="42"/>
                    <a:pt x="21" y="42"/>
                    <a:pt x="20" y="43"/>
                  </a:cubicBezTo>
                  <a:cubicBezTo>
                    <a:pt x="19" y="43"/>
                    <a:pt x="17" y="43"/>
                    <a:pt x="16" y="43"/>
                  </a:cubicBezTo>
                  <a:cubicBezTo>
                    <a:pt x="14" y="44"/>
                    <a:pt x="15" y="46"/>
                    <a:pt x="15" y="46"/>
                  </a:cubicBezTo>
                  <a:cubicBezTo>
                    <a:pt x="13" y="46"/>
                    <a:pt x="11" y="45"/>
                    <a:pt x="9" y="46"/>
                  </a:cubicBezTo>
                  <a:cubicBezTo>
                    <a:pt x="8" y="47"/>
                    <a:pt x="6" y="48"/>
                    <a:pt x="5" y="49"/>
                  </a:cubicBezTo>
                  <a:cubicBezTo>
                    <a:pt x="0" y="52"/>
                    <a:pt x="12" y="52"/>
                    <a:pt x="12" y="53"/>
                  </a:cubicBezTo>
                  <a:cubicBezTo>
                    <a:pt x="11" y="54"/>
                    <a:pt x="8" y="54"/>
                    <a:pt x="10" y="55"/>
                  </a:cubicBezTo>
                  <a:cubicBezTo>
                    <a:pt x="11" y="56"/>
                    <a:pt x="11" y="58"/>
                    <a:pt x="12" y="58"/>
                  </a:cubicBezTo>
                  <a:cubicBezTo>
                    <a:pt x="16" y="59"/>
                    <a:pt x="19" y="58"/>
                    <a:pt x="23" y="58"/>
                  </a:cubicBezTo>
                  <a:cubicBezTo>
                    <a:pt x="24" y="59"/>
                    <a:pt x="25" y="59"/>
                    <a:pt x="26" y="59"/>
                  </a:cubicBezTo>
                  <a:cubicBezTo>
                    <a:pt x="28" y="59"/>
                    <a:pt x="27" y="59"/>
                    <a:pt x="29" y="60"/>
                  </a:cubicBezTo>
                  <a:cubicBezTo>
                    <a:pt x="29" y="60"/>
                    <a:pt x="31" y="58"/>
                    <a:pt x="32" y="58"/>
                  </a:cubicBezTo>
                  <a:cubicBezTo>
                    <a:pt x="33" y="57"/>
                    <a:pt x="34" y="57"/>
                    <a:pt x="35" y="57"/>
                  </a:cubicBezTo>
                  <a:cubicBezTo>
                    <a:pt x="36" y="56"/>
                    <a:pt x="37" y="55"/>
                    <a:pt x="37" y="55"/>
                  </a:cubicBezTo>
                  <a:cubicBezTo>
                    <a:pt x="38" y="56"/>
                    <a:pt x="39" y="57"/>
                    <a:pt x="38" y="58"/>
                  </a:cubicBezTo>
                  <a:cubicBezTo>
                    <a:pt x="37" y="59"/>
                    <a:pt x="36" y="59"/>
                    <a:pt x="38" y="61"/>
                  </a:cubicBezTo>
                  <a:cubicBezTo>
                    <a:pt x="40" y="65"/>
                    <a:pt x="38" y="68"/>
                    <a:pt x="33" y="67"/>
                  </a:cubicBezTo>
                  <a:cubicBezTo>
                    <a:pt x="33" y="67"/>
                    <a:pt x="32" y="66"/>
                    <a:pt x="31" y="67"/>
                  </a:cubicBezTo>
                  <a:cubicBezTo>
                    <a:pt x="30" y="68"/>
                    <a:pt x="29" y="70"/>
                    <a:pt x="28" y="70"/>
                  </a:cubicBezTo>
                  <a:cubicBezTo>
                    <a:pt x="26" y="71"/>
                    <a:pt x="20" y="68"/>
                    <a:pt x="21" y="71"/>
                  </a:cubicBezTo>
                  <a:cubicBezTo>
                    <a:pt x="21" y="71"/>
                    <a:pt x="18" y="73"/>
                    <a:pt x="19" y="73"/>
                  </a:cubicBezTo>
                  <a:cubicBezTo>
                    <a:pt x="19" y="73"/>
                    <a:pt x="20" y="73"/>
                    <a:pt x="20" y="73"/>
                  </a:cubicBezTo>
                  <a:cubicBezTo>
                    <a:pt x="21" y="74"/>
                    <a:pt x="18" y="75"/>
                    <a:pt x="17" y="76"/>
                  </a:cubicBezTo>
                  <a:cubicBezTo>
                    <a:pt x="16" y="76"/>
                    <a:pt x="15" y="77"/>
                    <a:pt x="15" y="78"/>
                  </a:cubicBezTo>
                  <a:cubicBezTo>
                    <a:pt x="14" y="80"/>
                    <a:pt x="16" y="80"/>
                    <a:pt x="14" y="81"/>
                  </a:cubicBezTo>
                  <a:cubicBezTo>
                    <a:pt x="12" y="82"/>
                    <a:pt x="14" y="84"/>
                    <a:pt x="15" y="85"/>
                  </a:cubicBezTo>
                  <a:cubicBezTo>
                    <a:pt x="15" y="86"/>
                    <a:pt x="18" y="81"/>
                    <a:pt x="19" y="81"/>
                  </a:cubicBezTo>
                  <a:cubicBezTo>
                    <a:pt x="19" y="81"/>
                    <a:pt x="17" y="84"/>
                    <a:pt x="17" y="84"/>
                  </a:cubicBezTo>
                  <a:cubicBezTo>
                    <a:pt x="16" y="85"/>
                    <a:pt x="19" y="87"/>
                    <a:pt x="20" y="87"/>
                  </a:cubicBezTo>
                  <a:cubicBezTo>
                    <a:pt x="21" y="88"/>
                    <a:pt x="21" y="89"/>
                    <a:pt x="22" y="88"/>
                  </a:cubicBezTo>
                  <a:cubicBezTo>
                    <a:pt x="23" y="87"/>
                    <a:pt x="24" y="86"/>
                    <a:pt x="24" y="86"/>
                  </a:cubicBezTo>
                  <a:cubicBezTo>
                    <a:pt x="24" y="87"/>
                    <a:pt x="25" y="89"/>
                    <a:pt x="26" y="89"/>
                  </a:cubicBezTo>
                  <a:cubicBezTo>
                    <a:pt x="24" y="90"/>
                    <a:pt x="23" y="89"/>
                    <a:pt x="22" y="89"/>
                  </a:cubicBezTo>
                  <a:cubicBezTo>
                    <a:pt x="21" y="90"/>
                    <a:pt x="20" y="87"/>
                    <a:pt x="19" y="87"/>
                  </a:cubicBezTo>
                  <a:cubicBezTo>
                    <a:pt x="18" y="87"/>
                    <a:pt x="16" y="90"/>
                    <a:pt x="18" y="91"/>
                  </a:cubicBezTo>
                  <a:cubicBezTo>
                    <a:pt x="20" y="92"/>
                    <a:pt x="20" y="93"/>
                    <a:pt x="22" y="94"/>
                  </a:cubicBezTo>
                  <a:cubicBezTo>
                    <a:pt x="23" y="96"/>
                    <a:pt x="25" y="95"/>
                    <a:pt x="27" y="95"/>
                  </a:cubicBezTo>
                  <a:cubicBezTo>
                    <a:pt x="28" y="94"/>
                    <a:pt x="30" y="95"/>
                    <a:pt x="30" y="93"/>
                  </a:cubicBezTo>
                  <a:cubicBezTo>
                    <a:pt x="30" y="91"/>
                    <a:pt x="31" y="88"/>
                    <a:pt x="33" y="89"/>
                  </a:cubicBezTo>
                  <a:cubicBezTo>
                    <a:pt x="33" y="88"/>
                    <a:pt x="31" y="92"/>
                    <a:pt x="31" y="93"/>
                  </a:cubicBezTo>
                  <a:cubicBezTo>
                    <a:pt x="31" y="94"/>
                    <a:pt x="35" y="97"/>
                    <a:pt x="34" y="98"/>
                  </a:cubicBezTo>
                  <a:cubicBezTo>
                    <a:pt x="32" y="100"/>
                    <a:pt x="35" y="101"/>
                    <a:pt x="35" y="101"/>
                  </a:cubicBezTo>
                  <a:cubicBezTo>
                    <a:pt x="34" y="101"/>
                    <a:pt x="32" y="104"/>
                    <a:pt x="32" y="104"/>
                  </a:cubicBezTo>
                  <a:cubicBezTo>
                    <a:pt x="33" y="105"/>
                    <a:pt x="38" y="102"/>
                    <a:pt x="38" y="102"/>
                  </a:cubicBezTo>
                  <a:cubicBezTo>
                    <a:pt x="38" y="103"/>
                    <a:pt x="37" y="103"/>
                    <a:pt x="37" y="104"/>
                  </a:cubicBezTo>
                  <a:cubicBezTo>
                    <a:pt x="37" y="104"/>
                    <a:pt x="39" y="102"/>
                    <a:pt x="40" y="101"/>
                  </a:cubicBezTo>
                  <a:cubicBezTo>
                    <a:pt x="41" y="101"/>
                    <a:pt x="45" y="102"/>
                    <a:pt x="45" y="103"/>
                  </a:cubicBezTo>
                  <a:cubicBezTo>
                    <a:pt x="46" y="104"/>
                    <a:pt x="48" y="107"/>
                    <a:pt x="48" y="105"/>
                  </a:cubicBezTo>
                  <a:cubicBezTo>
                    <a:pt x="48" y="104"/>
                    <a:pt x="50" y="100"/>
                    <a:pt x="50" y="100"/>
                  </a:cubicBezTo>
                  <a:cubicBezTo>
                    <a:pt x="50" y="99"/>
                    <a:pt x="53" y="102"/>
                    <a:pt x="53" y="101"/>
                  </a:cubicBezTo>
                  <a:cubicBezTo>
                    <a:pt x="53" y="101"/>
                    <a:pt x="50" y="101"/>
                    <a:pt x="50" y="102"/>
                  </a:cubicBezTo>
                  <a:cubicBezTo>
                    <a:pt x="50" y="104"/>
                    <a:pt x="53" y="104"/>
                    <a:pt x="54" y="103"/>
                  </a:cubicBezTo>
                  <a:cubicBezTo>
                    <a:pt x="55" y="102"/>
                    <a:pt x="56" y="103"/>
                    <a:pt x="57" y="102"/>
                  </a:cubicBezTo>
                  <a:cubicBezTo>
                    <a:pt x="57" y="102"/>
                    <a:pt x="59" y="100"/>
                    <a:pt x="59" y="100"/>
                  </a:cubicBezTo>
                  <a:cubicBezTo>
                    <a:pt x="59" y="100"/>
                    <a:pt x="57" y="103"/>
                    <a:pt x="56" y="104"/>
                  </a:cubicBezTo>
                  <a:cubicBezTo>
                    <a:pt x="56" y="105"/>
                    <a:pt x="56" y="105"/>
                    <a:pt x="55" y="106"/>
                  </a:cubicBezTo>
                  <a:cubicBezTo>
                    <a:pt x="55" y="107"/>
                    <a:pt x="56" y="106"/>
                    <a:pt x="56" y="107"/>
                  </a:cubicBezTo>
                  <a:cubicBezTo>
                    <a:pt x="56" y="107"/>
                    <a:pt x="55" y="108"/>
                    <a:pt x="54" y="109"/>
                  </a:cubicBezTo>
                  <a:cubicBezTo>
                    <a:pt x="54" y="111"/>
                    <a:pt x="54" y="111"/>
                    <a:pt x="55" y="112"/>
                  </a:cubicBezTo>
                  <a:cubicBezTo>
                    <a:pt x="55" y="112"/>
                    <a:pt x="52" y="114"/>
                    <a:pt x="51" y="114"/>
                  </a:cubicBezTo>
                  <a:cubicBezTo>
                    <a:pt x="50" y="116"/>
                    <a:pt x="49" y="117"/>
                    <a:pt x="47" y="118"/>
                  </a:cubicBezTo>
                  <a:cubicBezTo>
                    <a:pt x="45" y="118"/>
                    <a:pt x="43" y="120"/>
                    <a:pt x="42" y="121"/>
                  </a:cubicBezTo>
                  <a:cubicBezTo>
                    <a:pt x="41" y="121"/>
                    <a:pt x="41" y="122"/>
                    <a:pt x="40" y="122"/>
                  </a:cubicBezTo>
                  <a:cubicBezTo>
                    <a:pt x="40" y="123"/>
                    <a:pt x="41" y="124"/>
                    <a:pt x="41" y="124"/>
                  </a:cubicBezTo>
                  <a:cubicBezTo>
                    <a:pt x="40" y="125"/>
                    <a:pt x="37" y="124"/>
                    <a:pt x="36" y="124"/>
                  </a:cubicBezTo>
                  <a:cubicBezTo>
                    <a:pt x="33" y="124"/>
                    <a:pt x="32" y="125"/>
                    <a:pt x="30" y="127"/>
                  </a:cubicBezTo>
                  <a:cubicBezTo>
                    <a:pt x="29" y="128"/>
                    <a:pt x="30" y="130"/>
                    <a:pt x="31" y="129"/>
                  </a:cubicBezTo>
                  <a:cubicBezTo>
                    <a:pt x="33" y="128"/>
                    <a:pt x="35" y="125"/>
                    <a:pt x="36" y="126"/>
                  </a:cubicBezTo>
                  <a:cubicBezTo>
                    <a:pt x="36" y="125"/>
                    <a:pt x="35" y="129"/>
                    <a:pt x="38" y="126"/>
                  </a:cubicBezTo>
                  <a:cubicBezTo>
                    <a:pt x="38" y="126"/>
                    <a:pt x="40" y="129"/>
                    <a:pt x="41" y="127"/>
                  </a:cubicBezTo>
                  <a:cubicBezTo>
                    <a:pt x="41" y="126"/>
                    <a:pt x="40" y="126"/>
                    <a:pt x="41" y="126"/>
                  </a:cubicBezTo>
                  <a:cubicBezTo>
                    <a:pt x="42" y="125"/>
                    <a:pt x="42" y="125"/>
                    <a:pt x="43" y="125"/>
                  </a:cubicBezTo>
                  <a:cubicBezTo>
                    <a:pt x="44" y="125"/>
                    <a:pt x="44" y="125"/>
                    <a:pt x="45" y="124"/>
                  </a:cubicBezTo>
                  <a:cubicBezTo>
                    <a:pt x="46" y="123"/>
                    <a:pt x="48" y="123"/>
                    <a:pt x="50" y="122"/>
                  </a:cubicBezTo>
                  <a:cubicBezTo>
                    <a:pt x="53" y="121"/>
                    <a:pt x="49" y="121"/>
                    <a:pt x="51" y="120"/>
                  </a:cubicBezTo>
                  <a:cubicBezTo>
                    <a:pt x="52" y="119"/>
                    <a:pt x="53" y="118"/>
                    <a:pt x="54" y="118"/>
                  </a:cubicBezTo>
                  <a:cubicBezTo>
                    <a:pt x="56" y="117"/>
                    <a:pt x="58" y="116"/>
                    <a:pt x="59" y="116"/>
                  </a:cubicBezTo>
                  <a:cubicBezTo>
                    <a:pt x="62" y="114"/>
                    <a:pt x="60" y="115"/>
                    <a:pt x="60" y="113"/>
                  </a:cubicBezTo>
                  <a:cubicBezTo>
                    <a:pt x="60" y="113"/>
                    <a:pt x="68" y="109"/>
                    <a:pt x="69" y="108"/>
                  </a:cubicBezTo>
                  <a:cubicBezTo>
                    <a:pt x="70" y="108"/>
                    <a:pt x="72" y="108"/>
                    <a:pt x="72" y="107"/>
                  </a:cubicBezTo>
                  <a:cubicBezTo>
                    <a:pt x="72" y="104"/>
                    <a:pt x="73" y="105"/>
                    <a:pt x="75" y="104"/>
                  </a:cubicBezTo>
                  <a:cubicBezTo>
                    <a:pt x="78" y="102"/>
                    <a:pt x="69" y="101"/>
                    <a:pt x="73" y="97"/>
                  </a:cubicBezTo>
                  <a:cubicBezTo>
                    <a:pt x="75" y="96"/>
                    <a:pt x="77" y="96"/>
                    <a:pt x="78" y="95"/>
                  </a:cubicBezTo>
                  <a:cubicBezTo>
                    <a:pt x="79" y="94"/>
                    <a:pt x="79" y="91"/>
                    <a:pt x="77" y="91"/>
                  </a:cubicBezTo>
                  <a:cubicBezTo>
                    <a:pt x="79" y="91"/>
                    <a:pt x="79" y="92"/>
                    <a:pt x="81" y="91"/>
                  </a:cubicBezTo>
                  <a:cubicBezTo>
                    <a:pt x="82" y="90"/>
                    <a:pt x="83" y="88"/>
                    <a:pt x="85" y="87"/>
                  </a:cubicBezTo>
                  <a:cubicBezTo>
                    <a:pt x="86" y="86"/>
                    <a:pt x="88" y="84"/>
                    <a:pt x="89" y="84"/>
                  </a:cubicBezTo>
                  <a:cubicBezTo>
                    <a:pt x="90" y="84"/>
                    <a:pt x="95" y="84"/>
                    <a:pt x="94" y="86"/>
                  </a:cubicBezTo>
                  <a:cubicBezTo>
                    <a:pt x="93" y="87"/>
                    <a:pt x="91" y="85"/>
                    <a:pt x="89" y="86"/>
                  </a:cubicBezTo>
                  <a:cubicBezTo>
                    <a:pt x="87" y="87"/>
                    <a:pt x="87" y="88"/>
                    <a:pt x="86" y="90"/>
                  </a:cubicBezTo>
                  <a:cubicBezTo>
                    <a:pt x="86" y="92"/>
                    <a:pt x="84" y="94"/>
                    <a:pt x="84" y="96"/>
                  </a:cubicBezTo>
                  <a:cubicBezTo>
                    <a:pt x="83" y="97"/>
                    <a:pt x="87" y="96"/>
                    <a:pt x="87" y="97"/>
                  </a:cubicBezTo>
                  <a:cubicBezTo>
                    <a:pt x="86" y="97"/>
                    <a:pt x="81" y="99"/>
                    <a:pt x="85" y="99"/>
                  </a:cubicBezTo>
                  <a:cubicBezTo>
                    <a:pt x="88" y="99"/>
                    <a:pt x="90" y="97"/>
                    <a:pt x="93" y="96"/>
                  </a:cubicBezTo>
                  <a:cubicBezTo>
                    <a:pt x="95" y="94"/>
                    <a:pt x="97" y="94"/>
                    <a:pt x="99" y="93"/>
                  </a:cubicBezTo>
                  <a:cubicBezTo>
                    <a:pt x="103" y="92"/>
                    <a:pt x="101" y="90"/>
                    <a:pt x="101" y="88"/>
                  </a:cubicBezTo>
                  <a:cubicBezTo>
                    <a:pt x="100" y="84"/>
                    <a:pt x="109" y="87"/>
                    <a:pt x="111" y="88"/>
                  </a:cubicBezTo>
                  <a:cubicBezTo>
                    <a:pt x="113" y="88"/>
                    <a:pt x="114" y="90"/>
                    <a:pt x="116" y="91"/>
                  </a:cubicBezTo>
                  <a:cubicBezTo>
                    <a:pt x="116" y="91"/>
                    <a:pt x="118" y="88"/>
                    <a:pt x="119" y="89"/>
                  </a:cubicBezTo>
                  <a:cubicBezTo>
                    <a:pt x="119" y="89"/>
                    <a:pt x="119" y="91"/>
                    <a:pt x="119" y="92"/>
                  </a:cubicBezTo>
                  <a:cubicBezTo>
                    <a:pt x="121" y="93"/>
                    <a:pt x="122" y="93"/>
                    <a:pt x="123" y="93"/>
                  </a:cubicBezTo>
                  <a:cubicBezTo>
                    <a:pt x="126" y="93"/>
                    <a:pt x="129" y="92"/>
                    <a:pt x="131" y="93"/>
                  </a:cubicBezTo>
                  <a:cubicBezTo>
                    <a:pt x="132" y="93"/>
                    <a:pt x="133" y="94"/>
                    <a:pt x="134" y="93"/>
                  </a:cubicBezTo>
                  <a:cubicBezTo>
                    <a:pt x="135" y="93"/>
                    <a:pt x="135" y="94"/>
                    <a:pt x="136" y="95"/>
                  </a:cubicBezTo>
                  <a:cubicBezTo>
                    <a:pt x="137" y="95"/>
                    <a:pt x="139" y="96"/>
                    <a:pt x="140" y="96"/>
                  </a:cubicBezTo>
                  <a:cubicBezTo>
                    <a:pt x="142" y="96"/>
                    <a:pt x="143" y="94"/>
                    <a:pt x="144" y="94"/>
                  </a:cubicBezTo>
                  <a:cubicBezTo>
                    <a:pt x="146" y="93"/>
                    <a:pt x="145" y="96"/>
                    <a:pt x="145" y="96"/>
                  </a:cubicBezTo>
                  <a:cubicBezTo>
                    <a:pt x="144" y="97"/>
                    <a:pt x="144" y="97"/>
                    <a:pt x="145" y="98"/>
                  </a:cubicBezTo>
                  <a:cubicBezTo>
                    <a:pt x="148" y="99"/>
                    <a:pt x="150" y="100"/>
                    <a:pt x="152" y="101"/>
                  </a:cubicBezTo>
                  <a:cubicBezTo>
                    <a:pt x="154" y="103"/>
                    <a:pt x="156" y="105"/>
                    <a:pt x="158" y="106"/>
                  </a:cubicBezTo>
                  <a:cubicBezTo>
                    <a:pt x="159" y="106"/>
                    <a:pt x="160" y="105"/>
                    <a:pt x="161" y="105"/>
                  </a:cubicBezTo>
                  <a:cubicBezTo>
                    <a:pt x="162" y="104"/>
                    <a:pt x="160" y="103"/>
                    <a:pt x="160" y="102"/>
                  </a:cubicBezTo>
                  <a:cubicBezTo>
                    <a:pt x="160" y="101"/>
                    <a:pt x="163" y="103"/>
                    <a:pt x="163" y="103"/>
                  </a:cubicBezTo>
                  <a:cubicBezTo>
                    <a:pt x="163" y="104"/>
                    <a:pt x="166" y="106"/>
                    <a:pt x="167" y="105"/>
                  </a:cubicBezTo>
                  <a:cubicBezTo>
                    <a:pt x="167" y="105"/>
                    <a:pt x="165" y="99"/>
                    <a:pt x="165" y="99"/>
                  </a:cubicBezTo>
                  <a:cubicBezTo>
                    <a:pt x="166" y="99"/>
                    <a:pt x="168" y="104"/>
                    <a:pt x="169" y="104"/>
                  </a:cubicBezTo>
                  <a:cubicBezTo>
                    <a:pt x="169" y="105"/>
                    <a:pt x="170" y="107"/>
                    <a:pt x="171" y="107"/>
                  </a:cubicBezTo>
                  <a:cubicBezTo>
                    <a:pt x="172" y="107"/>
                    <a:pt x="173" y="105"/>
                    <a:pt x="173" y="105"/>
                  </a:cubicBezTo>
                  <a:cubicBezTo>
                    <a:pt x="171" y="106"/>
                    <a:pt x="177" y="110"/>
                    <a:pt x="177" y="111"/>
                  </a:cubicBezTo>
                  <a:cubicBezTo>
                    <a:pt x="176" y="111"/>
                    <a:pt x="176" y="111"/>
                    <a:pt x="176" y="111"/>
                  </a:cubicBezTo>
                  <a:cubicBezTo>
                    <a:pt x="175" y="112"/>
                    <a:pt x="177" y="112"/>
                    <a:pt x="177" y="113"/>
                  </a:cubicBezTo>
                  <a:cubicBezTo>
                    <a:pt x="177" y="113"/>
                    <a:pt x="175" y="114"/>
                    <a:pt x="176" y="114"/>
                  </a:cubicBezTo>
                  <a:cubicBezTo>
                    <a:pt x="177" y="115"/>
                    <a:pt x="178" y="116"/>
                    <a:pt x="179" y="117"/>
                  </a:cubicBezTo>
                  <a:cubicBezTo>
                    <a:pt x="181" y="119"/>
                    <a:pt x="182" y="120"/>
                    <a:pt x="184" y="121"/>
                  </a:cubicBezTo>
                  <a:cubicBezTo>
                    <a:pt x="184" y="121"/>
                    <a:pt x="182" y="125"/>
                    <a:pt x="183" y="125"/>
                  </a:cubicBezTo>
                  <a:cubicBezTo>
                    <a:pt x="184" y="126"/>
                    <a:pt x="184" y="124"/>
                    <a:pt x="184" y="124"/>
                  </a:cubicBezTo>
                  <a:cubicBezTo>
                    <a:pt x="185" y="123"/>
                    <a:pt x="185" y="126"/>
                    <a:pt x="186" y="127"/>
                  </a:cubicBezTo>
                  <a:cubicBezTo>
                    <a:pt x="186" y="127"/>
                    <a:pt x="186" y="126"/>
                    <a:pt x="186" y="125"/>
                  </a:cubicBezTo>
                  <a:cubicBezTo>
                    <a:pt x="186" y="127"/>
                    <a:pt x="192" y="130"/>
                    <a:pt x="193" y="127"/>
                  </a:cubicBezTo>
                  <a:cubicBezTo>
                    <a:pt x="193" y="127"/>
                    <a:pt x="193" y="128"/>
                    <a:pt x="193" y="128"/>
                  </a:cubicBezTo>
                  <a:cubicBezTo>
                    <a:pt x="193" y="128"/>
                    <a:pt x="194" y="127"/>
                    <a:pt x="194" y="126"/>
                  </a:cubicBezTo>
                  <a:cubicBezTo>
                    <a:pt x="193" y="126"/>
                    <a:pt x="194" y="127"/>
                    <a:pt x="194" y="126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72" name="Freeform 641">
              <a:extLst>
                <a:ext uri="{FF2B5EF4-FFF2-40B4-BE49-F238E27FC236}">
                  <a16:creationId xmlns:a16="http://schemas.microsoft.com/office/drawing/2014/main" id="{C16F1330-B769-88E7-6214-7304478DE0A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65093" y="2821957"/>
              <a:ext cx="1514651" cy="794793"/>
            </a:xfrm>
            <a:custGeom>
              <a:avLst/>
              <a:gdLst>
                <a:gd name="T0" fmla="*/ 84 w 289"/>
                <a:gd name="T1" fmla="*/ 106 h 143"/>
                <a:gd name="T2" fmla="*/ 105 w 289"/>
                <a:gd name="T3" fmla="*/ 119 h 143"/>
                <a:gd name="T4" fmla="*/ 125 w 289"/>
                <a:gd name="T5" fmla="*/ 127 h 143"/>
                <a:gd name="T6" fmla="*/ 137 w 289"/>
                <a:gd name="T7" fmla="*/ 127 h 143"/>
                <a:gd name="T8" fmla="*/ 149 w 289"/>
                <a:gd name="T9" fmla="*/ 119 h 143"/>
                <a:gd name="T10" fmla="*/ 162 w 289"/>
                <a:gd name="T11" fmla="*/ 118 h 143"/>
                <a:gd name="T12" fmla="*/ 177 w 289"/>
                <a:gd name="T13" fmla="*/ 119 h 143"/>
                <a:gd name="T14" fmla="*/ 171 w 289"/>
                <a:gd name="T15" fmla="*/ 113 h 143"/>
                <a:gd name="T16" fmla="*/ 186 w 289"/>
                <a:gd name="T17" fmla="*/ 113 h 143"/>
                <a:gd name="T18" fmla="*/ 209 w 289"/>
                <a:gd name="T19" fmla="*/ 122 h 143"/>
                <a:gd name="T20" fmla="*/ 213 w 289"/>
                <a:gd name="T21" fmla="*/ 133 h 143"/>
                <a:gd name="T22" fmla="*/ 220 w 289"/>
                <a:gd name="T23" fmla="*/ 143 h 143"/>
                <a:gd name="T24" fmla="*/ 215 w 289"/>
                <a:gd name="T25" fmla="*/ 108 h 143"/>
                <a:gd name="T26" fmla="*/ 234 w 289"/>
                <a:gd name="T27" fmla="*/ 92 h 143"/>
                <a:gd name="T28" fmla="*/ 239 w 289"/>
                <a:gd name="T29" fmla="*/ 86 h 143"/>
                <a:gd name="T30" fmla="*/ 244 w 289"/>
                <a:gd name="T31" fmla="*/ 82 h 143"/>
                <a:gd name="T32" fmla="*/ 242 w 289"/>
                <a:gd name="T33" fmla="*/ 78 h 143"/>
                <a:gd name="T34" fmla="*/ 238 w 289"/>
                <a:gd name="T35" fmla="*/ 71 h 143"/>
                <a:gd name="T36" fmla="*/ 239 w 289"/>
                <a:gd name="T37" fmla="*/ 69 h 143"/>
                <a:gd name="T38" fmla="*/ 242 w 289"/>
                <a:gd name="T39" fmla="*/ 75 h 143"/>
                <a:gd name="T40" fmla="*/ 246 w 289"/>
                <a:gd name="T41" fmla="*/ 62 h 143"/>
                <a:gd name="T42" fmla="*/ 253 w 289"/>
                <a:gd name="T43" fmla="*/ 52 h 143"/>
                <a:gd name="T44" fmla="*/ 265 w 289"/>
                <a:gd name="T45" fmla="*/ 48 h 143"/>
                <a:gd name="T46" fmla="*/ 271 w 289"/>
                <a:gd name="T47" fmla="*/ 48 h 143"/>
                <a:gd name="T48" fmla="*/ 274 w 289"/>
                <a:gd name="T49" fmla="*/ 35 h 143"/>
                <a:gd name="T50" fmla="*/ 288 w 289"/>
                <a:gd name="T51" fmla="*/ 28 h 143"/>
                <a:gd name="T52" fmla="*/ 276 w 289"/>
                <a:gd name="T53" fmla="*/ 13 h 143"/>
                <a:gd name="T54" fmla="*/ 264 w 289"/>
                <a:gd name="T55" fmla="*/ 28 h 143"/>
                <a:gd name="T56" fmla="*/ 237 w 289"/>
                <a:gd name="T57" fmla="*/ 39 h 143"/>
                <a:gd name="T58" fmla="*/ 224 w 289"/>
                <a:gd name="T59" fmla="*/ 45 h 143"/>
                <a:gd name="T60" fmla="*/ 208 w 289"/>
                <a:gd name="T61" fmla="*/ 44 h 143"/>
                <a:gd name="T62" fmla="*/ 203 w 289"/>
                <a:gd name="T63" fmla="*/ 36 h 143"/>
                <a:gd name="T64" fmla="*/ 196 w 289"/>
                <a:gd name="T65" fmla="*/ 28 h 143"/>
                <a:gd name="T66" fmla="*/ 185 w 289"/>
                <a:gd name="T67" fmla="*/ 48 h 143"/>
                <a:gd name="T68" fmla="*/ 187 w 289"/>
                <a:gd name="T69" fmla="*/ 25 h 143"/>
                <a:gd name="T70" fmla="*/ 196 w 289"/>
                <a:gd name="T71" fmla="*/ 17 h 143"/>
                <a:gd name="T72" fmla="*/ 184 w 289"/>
                <a:gd name="T73" fmla="*/ 13 h 143"/>
                <a:gd name="T74" fmla="*/ 165 w 289"/>
                <a:gd name="T75" fmla="*/ 15 h 143"/>
                <a:gd name="T76" fmla="*/ 158 w 289"/>
                <a:gd name="T77" fmla="*/ 5 h 143"/>
                <a:gd name="T78" fmla="*/ 147 w 289"/>
                <a:gd name="T79" fmla="*/ 4 h 143"/>
                <a:gd name="T80" fmla="*/ 30 w 289"/>
                <a:gd name="T81" fmla="*/ 4 h 143"/>
                <a:gd name="T82" fmla="*/ 7 w 289"/>
                <a:gd name="T83" fmla="*/ 9 h 143"/>
                <a:gd name="T84" fmla="*/ 8 w 289"/>
                <a:gd name="T85" fmla="*/ 21 h 143"/>
                <a:gd name="T86" fmla="*/ 2 w 289"/>
                <a:gd name="T87" fmla="*/ 40 h 143"/>
                <a:gd name="T88" fmla="*/ 5 w 289"/>
                <a:gd name="T89" fmla="*/ 63 h 143"/>
                <a:gd name="T90" fmla="*/ 12 w 289"/>
                <a:gd name="T91" fmla="*/ 73 h 143"/>
                <a:gd name="T92" fmla="*/ 21 w 289"/>
                <a:gd name="T93" fmla="*/ 88 h 143"/>
                <a:gd name="T94" fmla="*/ 39 w 289"/>
                <a:gd name="T95" fmla="*/ 102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89" h="143">
                  <a:moveTo>
                    <a:pt x="68" y="108"/>
                  </a:moveTo>
                  <a:cubicBezTo>
                    <a:pt x="71" y="108"/>
                    <a:pt x="74" y="108"/>
                    <a:pt x="78" y="108"/>
                  </a:cubicBezTo>
                  <a:cubicBezTo>
                    <a:pt x="79" y="108"/>
                    <a:pt x="81" y="108"/>
                    <a:pt x="82" y="108"/>
                  </a:cubicBezTo>
                  <a:cubicBezTo>
                    <a:pt x="83" y="108"/>
                    <a:pt x="83" y="106"/>
                    <a:pt x="84" y="106"/>
                  </a:cubicBezTo>
                  <a:cubicBezTo>
                    <a:pt x="85" y="105"/>
                    <a:pt x="91" y="105"/>
                    <a:pt x="91" y="106"/>
                  </a:cubicBezTo>
                  <a:cubicBezTo>
                    <a:pt x="94" y="108"/>
                    <a:pt x="97" y="110"/>
                    <a:pt x="100" y="112"/>
                  </a:cubicBezTo>
                  <a:cubicBezTo>
                    <a:pt x="100" y="112"/>
                    <a:pt x="101" y="115"/>
                    <a:pt x="101" y="116"/>
                  </a:cubicBezTo>
                  <a:cubicBezTo>
                    <a:pt x="102" y="118"/>
                    <a:pt x="102" y="118"/>
                    <a:pt x="105" y="119"/>
                  </a:cubicBezTo>
                  <a:cubicBezTo>
                    <a:pt x="107" y="120"/>
                    <a:pt x="108" y="121"/>
                    <a:pt x="109" y="119"/>
                  </a:cubicBezTo>
                  <a:cubicBezTo>
                    <a:pt x="110" y="116"/>
                    <a:pt x="111" y="116"/>
                    <a:pt x="114" y="117"/>
                  </a:cubicBezTo>
                  <a:cubicBezTo>
                    <a:pt x="116" y="117"/>
                    <a:pt x="119" y="118"/>
                    <a:pt x="119" y="120"/>
                  </a:cubicBezTo>
                  <a:cubicBezTo>
                    <a:pt x="121" y="123"/>
                    <a:pt x="123" y="124"/>
                    <a:pt x="125" y="127"/>
                  </a:cubicBezTo>
                  <a:cubicBezTo>
                    <a:pt x="127" y="129"/>
                    <a:pt x="126" y="133"/>
                    <a:pt x="129" y="134"/>
                  </a:cubicBezTo>
                  <a:cubicBezTo>
                    <a:pt x="131" y="136"/>
                    <a:pt x="135" y="136"/>
                    <a:pt x="137" y="137"/>
                  </a:cubicBezTo>
                  <a:cubicBezTo>
                    <a:pt x="137" y="136"/>
                    <a:pt x="135" y="129"/>
                    <a:pt x="135" y="129"/>
                  </a:cubicBezTo>
                  <a:cubicBezTo>
                    <a:pt x="137" y="130"/>
                    <a:pt x="136" y="127"/>
                    <a:pt x="137" y="127"/>
                  </a:cubicBezTo>
                  <a:cubicBezTo>
                    <a:pt x="137" y="126"/>
                    <a:pt x="139" y="126"/>
                    <a:pt x="140" y="125"/>
                  </a:cubicBezTo>
                  <a:cubicBezTo>
                    <a:pt x="141" y="125"/>
                    <a:pt x="142" y="122"/>
                    <a:pt x="142" y="122"/>
                  </a:cubicBezTo>
                  <a:cubicBezTo>
                    <a:pt x="143" y="123"/>
                    <a:pt x="144" y="123"/>
                    <a:pt x="145" y="122"/>
                  </a:cubicBezTo>
                  <a:cubicBezTo>
                    <a:pt x="147" y="121"/>
                    <a:pt x="148" y="121"/>
                    <a:pt x="149" y="119"/>
                  </a:cubicBezTo>
                  <a:cubicBezTo>
                    <a:pt x="151" y="118"/>
                    <a:pt x="148" y="118"/>
                    <a:pt x="148" y="117"/>
                  </a:cubicBezTo>
                  <a:cubicBezTo>
                    <a:pt x="148" y="117"/>
                    <a:pt x="151" y="118"/>
                    <a:pt x="152" y="117"/>
                  </a:cubicBezTo>
                  <a:cubicBezTo>
                    <a:pt x="154" y="116"/>
                    <a:pt x="155" y="116"/>
                    <a:pt x="157" y="116"/>
                  </a:cubicBezTo>
                  <a:cubicBezTo>
                    <a:pt x="159" y="116"/>
                    <a:pt x="160" y="119"/>
                    <a:pt x="162" y="118"/>
                  </a:cubicBezTo>
                  <a:cubicBezTo>
                    <a:pt x="165" y="116"/>
                    <a:pt x="166" y="118"/>
                    <a:pt x="168" y="119"/>
                  </a:cubicBezTo>
                  <a:cubicBezTo>
                    <a:pt x="170" y="120"/>
                    <a:pt x="171" y="118"/>
                    <a:pt x="172" y="118"/>
                  </a:cubicBezTo>
                  <a:cubicBezTo>
                    <a:pt x="173" y="117"/>
                    <a:pt x="176" y="119"/>
                    <a:pt x="176" y="120"/>
                  </a:cubicBezTo>
                  <a:cubicBezTo>
                    <a:pt x="177" y="121"/>
                    <a:pt x="178" y="120"/>
                    <a:pt x="177" y="119"/>
                  </a:cubicBezTo>
                  <a:cubicBezTo>
                    <a:pt x="177" y="119"/>
                    <a:pt x="176" y="118"/>
                    <a:pt x="175" y="118"/>
                  </a:cubicBezTo>
                  <a:cubicBezTo>
                    <a:pt x="174" y="117"/>
                    <a:pt x="176" y="117"/>
                    <a:pt x="176" y="117"/>
                  </a:cubicBezTo>
                  <a:cubicBezTo>
                    <a:pt x="175" y="115"/>
                    <a:pt x="175" y="114"/>
                    <a:pt x="173" y="115"/>
                  </a:cubicBezTo>
                  <a:cubicBezTo>
                    <a:pt x="173" y="115"/>
                    <a:pt x="169" y="115"/>
                    <a:pt x="171" y="113"/>
                  </a:cubicBezTo>
                  <a:cubicBezTo>
                    <a:pt x="173" y="113"/>
                    <a:pt x="174" y="114"/>
                    <a:pt x="175" y="114"/>
                  </a:cubicBezTo>
                  <a:cubicBezTo>
                    <a:pt x="178" y="113"/>
                    <a:pt x="180" y="113"/>
                    <a:pt x="183" y="113"/>
                  </a:cubicBezTo>
                  <a:cubicBezTo>
                    <a:pt x="184" y="113"/>
                    <a:pt x="183" y="113"/>
                    <a:pt x="184" y="114"/>
                  </a:cubicBezTo>
                  <a:cubicBezTo>
                    <a:pt x="184" y="114"/>
                    <a:pt x="185" y="114"/>
                    <a:pt x="186" y="113"/>
                  </a:cubicBezTo>
                  <a:cubicBezTo>
                    <a:pt x="188" y="113"/>
                    <a:pt x="190" y="113"/>
                    <a:pt x="192" y="113"/>
                  </a:cubicBezTo>
                  <a:cubicBezTo>
                    <a:pt x="194" y="113"/>
                    <a:pt x="194" y="115"/>
                    <a:pt x="196" y="116"/>
                  </a:cubicBezTo>
                  <a:cubicBezTo>
                    <a:pt x="198" y="118"/>
                    <a:pt x="200" y="116"/>
                    <a:pt x="202" y="115"/>
                  </a:cubicBezTo>
                  <a:cubicBezTo>
                    <a:pt x="203" y="115"/>
                    <a:pt x="209" y="121"/>
                    <a:pt x="209" y="122"/>
                  </a:cubicBezTo>
                  <a:cubicBezTo>
                    <a:pt x="210" y="123"/>
                    <a:pt x="208" y="125"/>
                    <a:pt x="209" y="126"/>
                  </a:cubicBezTo>
                  <a:cubicBezTo>
                    <a:pt x="210" y="128"/>
                    <a:pt x="209" y="128"/>
                    <a:pt x="210" y="130"/>
                  </a:cubicBezTo>
                  <a:cubicBezTo>
                    <a:pt x="210" y="131"/>
                    <a:pt x="211" y="132"/>
                    <a:pt x="211" y="132"/>
                  </a:cubicBezTo>
                  <a:cubicBezTo>
                    <a:pt x="212" y="132"/>
                    <a:pt x="212" y="133"/>
                    <a:pt x="213" y="133"/>
                  </a:cubicBezTo>
                  <a:cubicBezTo>
                    <a:pt x="214" y="134"/>
                    <a:pt x="213" y="136"/>
                    <a:pt x="214" y="137"/>
                  </a:cubicBezTo>
                  <a:cubicBezTo>
                    <a:pt x="215" y="138"/>
                    <a:pt x="216" y="138"/>
                    <a:pt x="217" y="140"/>
                  </a:cubicBezTo>
                  <a:cubicBezTo>
                    <a:pt x="219" y="143"/>
                    <a:pt x="218" y="140"/>
                    <a:pt x="220" y="141"/>
                  </a:cubicBezTo>
                  <a:cubicBezTo>
                    <a:pt x="220" y="141"/>
                    <a:pt x="220" y="143"/>
                    <a:pt x="220" y="143"/>
                  </a:cubicBezTo>
                  <a:cubicBezTo>
                    <a:pt x="221" y="143"/>
                    <a:pt x="222" y="136"/>
                    <a:pt x="222" y="135"/>
                  </a:cubicBezTo>
                  <a:cubicBezTo>
                    <a:pt x="222" y="132"/>
                    <a:pt x="221" y="130"/>
                    <a:pt x="220" y="126"/>
                  </a:cubicBezTo>
                  <a:cubicBezTo>
                    <a:pt x="218" y="123"/>
                    <a:pt x="218" y="120"/>
                    <a:pt x="217" y="117"/>
                  </a:cubicBezTo>
                  <a:cubicBezTo>
                    <a:pt x="215" y="115"/>
                    <a:pt x="214" y="111"/>
                    <a:pt x="215" y="108"/>
                  </a:cubicBezTo>
                  <a:cubicBezTo>
                    <a:pt x="216" y="105"/>
                    <a:pt x="218" y="103"/>
                    <a:pt x="221" y="101"/>
                  </a:cubicBezTo>
                  <a:cubicBezTo>
                    <a:pt x="222" y="100"/>
                    <a:pt x="223" y="100"/>
                    <a:pt x="224" y="99"/>
                  </a:cubicBezTo>
                  <a:cubicBezTo>
                    <a:pt x="225" y="98"/>
                    <a:pt x="226" y="96"/>
                    <a:pt x="227" y="96"/>
                  </a:cubicBezTo>
                  <a:cubicBezTo>
                    <a:pt x="229" y="94"/>
                    <a:pt x="232" y="94"/>
                    <a:pt x="234" y="92"/>
                  </a:cubicBezTo>
                  <a:cubicBezTo>
                    <a:pt x="235" y="91"/>
                    <a:pt x="236" y="89"/>
                    <a:pt x="238" y="89"/>
                  </a:cubicBezTo>
                  <a:cubicBezTo>
                    <a:pt x="238" y="89"/>
                    <a:pt x="242" y="89"/>
                    <a:pt x="241" y="87"/>
                  </a:cubicBezTo>
                  <a:cubicBezTo>
                    <a:pt x="241" y="87"/>
                    <a:pt x="238" y="88"/>
                    <a:pt x="238" y="88"/>
                  </a:cubicBezTo>
                  <a:cubicBezTo>
                    <a:pt x="238" y="87"/>
                    <a:pt x="240" y="88"/>
                    <a:pt x="239" y="86"/>
                  </a:cubicBezTo>
                  <a:cubicBezTo>
                    <a:pt x="239" y="86"/>
                    <a:pt x="238" y="85"/>
                    <a:pt x="239" y="85"/>
                  </a:cubicBezTo>
                  <a:cubicBezTo>
                    <a:pt x="239" y="84"/>
                    <a:pt x="239" y="85"/>
                    <a:pt x="240" y="84"/>
                  </a:cubicBezTo>
                  <a:cubicBezTo>
                    <a:pt x="239" y="85"/>
                    <a:pt x="241" y="86"/>
                    <a:pt x="241" y="85"/>
                  </a:cubicBezTo>
                  <a:cubicBezTo>
                    <a:pt x="242" y="85"/>
                    <a:pt x="245" y="83"/>
                    <a:pt x="244" y="82"/>
                  </a:cubicBezTo>
                  <a:cubicBezTo>
                    <a:pt x="244" y="83"/>
                    <a:pt x="238" y="82"/>
                    <a:pt x="239" y="81"/>
                  </a:cubicBezTo>
                  <a:cubicBezTo>
                    <a:pt x="239" y="80"/>
                    <a:pt x="240" y="82"/>
                    <a:pt x="241" y="81"/>
                  </a:cubicBezTo>
                  <a:cubicBezTo>
                    <a:pt x="241" y="81"/>
                    <a:pt x="243" y="80"/>
                    <a:pt x="243" y="80"/>
                  </a:cubicBezTo>
                  <a:cubicBezTo>
                    <a:pt x="243" y="80"/>
                    <a:pt x="242" y="79"/>
                    <a:pt x="242" y="78"/>
                  </a:cubicBezTo>
                  <a:cubicBezTo>
                    <a:pt x="243" y="77"/>
                    <a:pt x="243" y="76"/>
                    <a:pt x="241" y="76"/>
                  </a:cubicBezTo>
                  <a:cubicBezTo>
                    <a:pt x="241" y="76"/>
                    <a:pt x="237" y="74"/>
                    <a:pt x="237" y="74"/>
                  </a:cubicBezTo>
                  <a:cubicBezTo>
                    <a:pt x="238" y="73"/>
                    <a:pt x="239" y="74"/>
                    <a:pt x="240" y="74"/>
                  </a:cubicBezTo>
                  <a:cubicBezTo>
                    <a:pt x="241" y="73"/>
                    <a:pt x="239" y="71"/>
                    <a:pt x="238" y="71"/>
                  </a:cubicBezTo>
                  <a:cubicBezTo>
                    <a:pt x="237" y="70"/>
                    <a:pt x="236" y="69"/>
                    <a:pt x="236" y="68"/>
                  </a:cubicBezTo>
                  <a:cubicBezTo>
                    <a:pt x="235" y="67"/>
                    <a:pt x="238" y="65"/>
                    <a:pt x="237" y="64"/>
                  </a:cubicBezTo>
                  <a:cubicBezTo>
                    <a:pt x="238" y="65"/>
                    <a:pt x="237" y="66"/>
                    <a:pt x="237" y="67"/>
                  </a:cubicBezTo>
                  <a:cubicBezTo>
                    <a:pt x="237" y="67"/>
                    <a:pt x="239" y="69"/>
                    <a:pt x="239" y="69"/>
                  </a:cubicBezTo>
                  <a:cubicBezTo>
                    <a:pt x="241" y="67"/>
                    <a:pt x="239" y="62"/>
                    <a:pt x="242" y="61"/>
                  </a:cubicBezTo>
                  <a:cubicBezTo>
                    <a:pt x="241" y="61"/>
                    <a:pt x="241" y="66"/>
                    <a:pt x="242" y="67"/>
                  </a:cubicBezTo>
                  <a:cubicBezTo>
                    <a:pt x="242" y="69"/>
                    <a:pt x="244" y="69"/>
                    <a:pt x="244" y="71"/>
                  </a:cubicBezTo>
                  <a:cubicBezTo>
                    <a:pt x="244" y="72"/>
                    <a:pt x="241" y="74"/>
                    <a:pt x="242" y="75"/>
                  </a:cubicBezTo>
                  <a:cubicBezTo>
                    <a:pt x="242" y="75"/>
                    <a:pt x="248" y="69"/>
                    <a:pt x="247" y="67"/>
                  </a:cubicBezTo>
                  <a:cubicBezTo>
                    <a:pt x="247" y="65"/>
                    <a:pt x="245" y="64"/>
                    <a:pt x="245" y="62"/>
                  </a:cubicBezTo>
                  <a:cubicBezTo>
                    <a:pt x="244" y="61"/>
                    <a:pt x="245" y="58"/>
                    <a:pt x="247" y="59"/>
                  </a:cubicBezTo>
                  <a:cubicBezTo>
                    <a:pt x="246" y="58"/>
                    <a:pt x="245" y="61"/>
                    <a:pt x="246" y="62"/>
                  </a:cubicBezTo>
                  <a:cubicBezTo>
                    <a:pt x="248" y="64"/>
                    <a:pt x="248" y="65"/>
                    <a:pt x="250" y="62"/>
                  </a:cubicBezTo>
                  <a:cubicBezTo>
                    <a:pt x="251" y="61"/>
                    <a:pt x="253" y="58"/>
                    <a:pt x="252" y="56"/>
                  </a:cubicBezTo>
                  <a:cubicBezTo>
                    <a:pt x="252" y="56"/>
                    <a:pt x="251" y="55"/>
                    <a:pt x="252" y="54"/>
                  </a:cubicBezTo>
                  <a:cubicBezTo>
                    <a:pt x="252" y="54"/>
                    <a:pt x="253" y="52"/>
                    <a:pt x="253" y="52"/>
                  </a:cubicBezTo>
                  <a:cubicBezTo>
                    <a:pt x="253" y="52"/>
                    <a:pt x="253" y="54"/>
                    <a:pt x="253" y="54"/>
                  </a:cubicBezTo>
                  <a:cubicBezTo>
                    <a:pt x="253" y="54"/>
                    <a:pt x="258" y="51"/>
                    <a:pt x="260" y="51"/>
                  </a:cubicBezTo>
                  <a:cubicBezTo>
                    <a:pt x="261" y="50"/>
                    <a:pt x="263" y="51"/>
                    <a:pt x="264" y="51"/>
                  </a:cubicBezTo>
                  <a:cubicBezTo>
                    <a:pt x="266" y="50"/>
                    <a:pt x="265" y="49"/>
                    <a:pt x="265" y="48"/>
                  </a:cubicBezTo>
                  <a:cubicBezTo>
                    <a:pt x="266" y="48"/>
                    <a:pt x="266" y="50"/>
                    <a:pt x="267" y="50"/>
                  </a:cubicBezTo>
                  <a:cubicBezTo>
                    <a:pt x="267" y="50"/>
                    <a:pt x="269" y="49"/>
                    <a:pt x="269" y="49"/>
                  </a:cubicBezTo>
                  <a:cubicBezTo>
                    <a:pt x="271" y="51"/>
                    <a:pt x="275" y="46"/>
                    <a:pt x="272" y="46"/>
                  </a:cubicBezTo>
                  <a:cubicBezTo>
                    <a:pt x="272" y="46"/>
                    <a:pt x="272" y="48"/>
                    <a:pt x="271" y="48"/>
                  </a:cubicBezTo>
                  <a:cubicBezTo>
                    <a:pt x="270" y="48"/>
                    <a:pt x="268" y="44"/>
                    <a:pt x="268" y="44"/>
                  </a:cubicBezTo>
                  <a:cubicBezTo>
                    <a:pt x="269" y="43"/>
                    <a:pt x="268" y="42"/>
                    <a:pt x="269" y="41"/>
                  </a:cubicBezTo>
                  <a:cubicBezTo>
                    <a:pt x="270" y="39"/>
                    <a:pt x="271" y="37"/>
                    <a:pt x="272" y="36"/>
                  </a:cubicBezTo>
                  <a:cubicBezTo>
                    <a:pt x="273" y="36"/>
                    <a:pt x="274" y="35"/>
                    <a:pt x="274" y="35"/>
                  </a:cubicBezTo>
                  <a:cubicBezTo>
                    <a:pt x="276" y="36"/>
                    <a:pt x="277" y="33"/>
                    <a:pt x="278" y="32"/>
                  </a:cubicBezTo>
                  <a:cubicBezTo>
                    <a:pt x="278" y="32"/>
                    <a:pt x="280" y="33"/>
                    <a:pt x="281" y="32"/>
                  </a:cubicBezTo>
                  <a:cubicBezTo>
                    <a:pt x="283" y="31"/>
                    <a:pt x="285" y="31"/>
                    <a:pt x="286" y="30"/>
                  </a:cubicBezTo>
                  <a:cubicBezTo>
                    <a:pt x="287" y="30"/>
                    <a:pt x="289" y="29"/>
                    <a:pt x="288" y="28"/>
                  </a:cubicBezTo>
                  <a:cubicBezTo>
                    <a:pt x="286" y="26"/>
                    <a:pt x="286" y="25"/>
                    <a:pt x="285" y="24"/>
                  </a:cubicBezTo>
                  <a:cubicBezTo>
                    <a:pt x="281" y="23"/>
                    <a:pt x="287" y="14"/>
                    <a:pt x="281" y="14"/>
                  </a:cubicBezTo>
                  <a:cubicBezTo>
                    <a:pt x="280" y="13"/>
                    <a:pt x="279" y="15"/>
                    <a:pt x="278" y="14"/>
                  </a:cubicBezTo>
                  <a:cubicBezTo>
                    <a:pt x="277" y="13"/>
                    <a:pt x="277" y="12"/>
                    <a:pt x="276" y="13"/>
                  </a:cubicBezTo>
                  <a:cubicBezTo>
                    <a:pt x="275" y="14"/>
                    <a:pt x="274" y="16"/>
                    <a:pt x="273" y="17"/>
                  </a:cubicBezTo>
                  <a:cubicBezTo>
                    <a:pt x="272" y="18"/>
                    <a:pt x="272" y="20"/>
                    <a:pt x="271" y="21"/>
                  </a:cubicBezTo>
                  <a:cubicBezTo>
                    <a:pt x="271" y="23"/>
                    <a:pt x="270" y="26"/>
                    <a:pt x="268" y="26"/>
                  </a:cubicBezTo>
                  <a:cubicBezTo>
                    <a:pt x="266" y="26"/>
                    <a:pt x="266" y="28"/>
                    <a:pt x="264" y="28"/>
                  </a:cubicBezTo>
                  <a:cubicBezTo>
                    <a:pt x="259" y="28"/>
                    <a:pt x="254" y="28"/>
                    <a:pt x="249" y="28"/>
                  </a:cubicBezTo>
                  <a:cubicBezTo>
                    <a:pt x="247" y="28"/>
                    <a:pt x="247" y="28"/>
                    <a:pt x="246" y="29"/>
                  </a:cubicBezTo>
                  <a:cubicBezTo>
                    <a:pt x="245" y="31"/>
                    <a:pt x="241" y="33"/>
                    <a:pt x="241" y="34"/>
                  </a:cubicBezTo>
                  <a:cubicBezTo>
                    <a:pt x="242" y="37"/>
                    <a:pt x="239" y="39"/>
                    <a:pt x="237" y="39"/>
                  </a:cubicBezTo>
                  <a:cubicBezTo>
                    <a:pt x="235" y="39"/>
                    <a:pt x="234" y="38"/>
                    <a:pt x="232" y="38"/>
                  </a:cubicBezTo>
                  <a:cubicBezTo>
                    <a:pt x="230" y="38"/>
                    <a:pt x="228" y="39"/>
                    <a:pt x="227" y="39"/>
                  </a:cubicBezTo>
                  <a:cubicBezTo>
                    <a:pt x="227" y="39"/>
                    <a:pt x="227" y="42"/>
                    <a:pt x="228" y="42"/>
                  </a:cubicBezTo>
                  <a:cubicBezTo>
                    <a:pt x="227" y="43"/>
                    <a:pt x="226" y="44"/>
                    <a:pt x="224" y="45"/>
                  </a:cubicBezTo>
                  <a:cubicBezTo>
                    <a:pt x="222" y="46"/>
                    <a:pt x="219" y="48"/>
                    <a:pt x="216" y="49"/>
                  </a:cubicBezTo>
                  <a:cubicBezTo>
                    <a:pt x="213" y="50"/>
                    <a:pt x="210" y="50"/>
                    <a:pt x="207" y="49"/>
                  </a:cubicBezTo>
                  <a:cubicBezTo>
                    <a:pt x="206" y="48"/>
                    <a:pt x="205" y="47"/>
                    <a:pt x="206" y="46"/>
                  </a:cubicBezTo>
                  <a:cubicBezTo>
                    <a:pt x="206" y="46"/>
                    <a:pt x="207" y="44"/>
                    <a:pt x="208" y="44"/>
                  </a:cubicBezTo>
                  <a:cubicBezTo>
                    <a:pt x="208" y="44"/>
                    <a:pt x="208" y="45"/>
                    <a:pt x="208" y="46"/>
                  </a:cubicBezTo>
                  <a:cubicBezTo>
                    <a:pt x="210" y="42"/>
                    <a:pt x="211" y="39"/>
                    <a:pt x="209" y="35"/>
                  </a:cubicBezTo>
                  <a:cubicBezTo>
                    <a:pt x="208" y="34"/>
                    <a:pt x="206" y="36"/>
                    <a:pt x="205" y="36"/>
                  </a:cubicBezTo>
                  <a:cubicBezTo>
                    <a:pt x="204" y="37"/>
                    <a:pt x="204" y="36"/>
                    <a:pt x="203" y="36"/>
                  </a:cubicBezTo>
                  <a:cubicBezTo>
                    <a:pt x="202" y="35"/>
                    <a:pt x="204" y="34"/>
                    <a:pt x="204" y="34"/>
                  </a:cubicBezTo>
                  <a:cubicBezTo>
                    <a:pt x="208" y="30"/>
                    <a:pt x="205" y="26"/>
                    <a:pt x="201" y="25"/>
                  </a:cubicBezTo>
                  <a:cubicBezTo>
                    <a:pt x="198" y="24"/>
                    <a:pt x="198" y="25"/>
                    <a:pt x="196" y="26"/>
                  </a:cubicBezTo>
                  <a:cubicBezTo>
                    <a:pt x="196" y="27"/>
                    <a:pt x="196" y="27"/>
                    <a:pt x="196" y="28"/>
                  </a:cubicBezTo>
                  <a:cubicBezTo>
                    <a:pt x="196" y="29"/>
                    <a:pt x="194" y="28"/>
                    <a:pt x="193" y="28"/>
                  </a:cubicBezTo>
                  <a:cubicBezTo>
                    <a:pt x="192" y="28"/>
                    <a:pt x="190" y="36"/>
                    <a:pt x="190" y="37"/>
                  </a:cubicBezTo>
                  <a:cubicBezTo>
                    <a:pt x="191" y="42"/>
                    <a:pt x="192" y="45"/>
                    <a:pt x="188" y="47"/>
                  </a:cubicBezTo>
                  <a:cubicBezTo>
                    <a:pt x="188" y="48"/>
                    <a:pt x="185" y="49"/>
                    <a:pt x="185" y="48"/>
                  </a:cubicBezTo>
                  <a:cubicBezTo>
                    <a:pt x="185" y="46"/>
                    <a:pt x="184" y="44"/>
                    <a:pt x="184" y="42"/>
                  </a:cubicBezTo>
                  <a:cubicBezTo>
                    <a:pt x="184" y="41"/>
                    <a:pt x="186" y="30"/>
                    <a:pt x="186" y="30"/>
                  </a:cubicBezTo>
                  <a:cubicBezTo>
                    <a:pt x="185" y="30"/>
                    <a:pt x="183" y="32"/>
                    <a:pt x="183" y="31"/>
                  </a:cubicBezTo>
                  <a:cubicBezTo>
                    <a:pt x="183" y="30"/>
                    <a:pt x="186" y="26"/>
                    <a:pt x="187" y="25"/>
                  </a:cubicBezTo>
                  <a:cubicBezTo>
                    <a:pt x="188" y="23"/>
                    <a:pt x="191" y="23"/>
                    <a:pt x="193" y="22"/>
                  </a:cubicBezTo>
                  <a:cubicBezTo>
                    <a:pt x="196" y="22"/>
                    <a:pt x="199" y="23"/>
                    <a:pt x="202" y="23"/>
                  </a:cubicBezTo>
                  <a:cubicBezTo>
                    <a:pt x="205" y="23"/>
                    <a:pt x="201" y="20"/>
                    <a:pt x="199" y="20"/>
                  </a:cubicBezTo>
                  <a:cubicBezTo>
                    <a:pt x="197" y="20"/>
                    <a:pt x="199" y="17"/>
                    <a:pt x="196" y="17"/>
                  </a:cubicBezTo>
                  <a:cubicBezTo>
                    <a:pt x="194" y="18"/>
                    <a:pt x="192" y="19"/>
                    <a:pt x="189" y="19"/>
                  </a:cubicBezTo>
                  <a:cubicBezTo>
                    <a:pt x="187" y="19"/>
                    <a:pt x="185" y="17"/>
                    <a:pt x="183" y="16"/>
                  </a:cubicBezTo>
                  <a:cubicBezTo>
                    <a:pt x="183" y="16"/>
                    <a:pt x="180" y="16"/>
                    <a:pt x="181" y="15"/>
                  </a:cubicBezTo>
                  <a:cubicBezTo>
                    <a:pt x="182" y="15"/>
                    <a:pt x="184" y="14"/>
                    <a:pt x="184" y="13"/>
                  </a:cubicBezTo>
                  <a:cubicBezTo>
                    <a:pt x="184" y="13"/>
                    <a:pt x="176" y="16"/>
                    <a:pt x="175" y="16"/>
                  </a:cubicBezTo>
                  <a:cubicBezTo>
                    <a:pt x="174" y="17"/>
                    <a:pt x="173" y="18"/>
                    <a:pt x="172" y="18"/>
                  </a:cubicBezTo>
                  <a:cubicBezTo>
                    <a:pt x="170" y="18"/>
                    <a:pt x="170" y="16"/>
                    <a:pt x="168" y="16"/>
                  </a:cubicBezTo>
                  <a:cubicBezTo>
                    <a:pt x="167" y="16"/>
                    <a:pt x="162" y="18"/>
                    <a:pt x="165" y="15"/>
                  </a:cubicBezTo>
                  <a:cubicBezTo>
                    <a:pt x="168" y="13"/>
                    <a:pt x="171" y="11"/>
                    <a:pt x="174" y="9"/>
                  </a:cubicBezTo>
                  <a:cubicBezTo>
                    <a:pt x="172" y="9"/>
                    <a:pt x="170" y="7"/>
                    <a:pt x="168" y="9"/>
                  </a:cubicBezTo>
                  <a:cubicBezTo>
                    <a:pt x="165" y="10"/>
                    <a:pt x="164" y="8"/>
                    <a:pt x="161" y="7"/>
                  </a:cubicBezTo>
                  <a:cubicBezTo>
                    <a:pt x="160" y="7"/>
                    <a:pt x="159" y="6"/>
                    <a:pt x="158" y="5"/>
                  </a:cubicBezTo>
                  <a:cubicBezTo>
                    <a:pt x="156" y="5"/>
                    <a:pt x="155" y="6"/>
                    <a:pt x="153" y="6"/>
                  </a:cubicBezTo>
                  <a:cubicBezTo>
                    <a:pt x="152" y="5"/>
                    <a:pt x="150" y="5"/>
                    <a:pt x="150" y="3"/>
                  </a:cubicBezTo>
                  <a:cubicBezTo>
                    <a:pt x="150" y="3"/>
                    <a:pt x="148" y="0"/>
                    <a:pt x="148" y="1"/>
                  </a:cubicBezTo>
                  <a:cubicBezTo>
                    <a:pt x="147" y="1"/>
                    <a:pt x="148" y="4"/>
                    <a:pt x="147" y="4"/>
                  </a:cubicBezTo>
                  <a:cubicBezTo>
                    <a:pt x="146" y="4"/>
                    <a:pt x="145" y="4"/>
                    <a:pt x="145" y="4"/>
                  </a:cubicBezTo>
                  <a:cubicBezTo>
                    <a:pt x="142" y="4"/>
                    <a:pt x="139" y="4"/>
                    <a:pt x="136" y="4"/>
                  </a:cubicBezTo>
                  <a:cubicBezTo>
                    <a:pt x="125" y="4"/>
                    <a:pt x="115" y="4"/>
                    <a:pt x="105" y="4"/>
                  </a:cubicBezTo>
                  <a:cubicBezTo>
                    <a:pt x="80" y="4"/>
                    <a:pt x="55" y="4"/>
                    <a:pt x="30" y="4"/>
                  </a:cubicBezTo>
                  <a:cubicBezTo>
                    <a:pt x="24" y="4"/>
                    <a:pt x="17" y="4"/>
                    <a:pt x="11" y="4"/>
                  </a:cubicBezTo>
                  <a:cubicBezTo>
                    <a:pt x="12" y="5"/>
                    <a:pt x="14" y="13"/>
                    <a:pt x="11" y="14"/>
                  </a:cubicBezTo>
                  <a:cubicBezTo>
                    <a:pt x="9" y="14"/>
                    <a:pt x="8" y="14"/>
                    <a:pt x="10" y="12"/>
                  </a:cubicBezTo>
                  <a:cubicBezTo>
                    <a:pt x="12" y="9"/>
                    <a:pt x="9" y="9"/>
                    <a:pt x="7" y="9"/>
                  </a:cubicBezTo>
                  <a:cubicBezTo>
                    <a:pt x="5" y="9"/>
                    <a:pt x="2" y="7"/>
                    <a:pt x="1" y="7"/>
                  </a:cubicBezTo>
                  <a:cubicBezTo>
                    <a:pt x="0" y="8"/>
                    <a:pt x="2" y="12"/>
                    <a:pt x="2" y="12"/>
                  </a:cubicBezTo>
                  <a:cubicBezTo>
                    <a:pt x="3" y="15"/>
                    <a:pt x="4" y="16"/>
                    <a:pt x="4" y="18"/>
                  </a:cubicBezTo>
                  <a:cubicBezTo>
                    <a:pt x="4" y="19"/>
                    <a:pt x="7" y="21"/>
                    <a:pt x="8" y="21"/>
                  </a:cubicBezTo>
                  <a:cubicBezTo>
                    <a:pt x="7" y="21"/>
                    <a:pt x="6" y="21"/>
                    <a:pt x="5" y="22"/>
                  </a:cubicBezTo>
                  <a:cubicBezTo>
                    <a:pt x="4" y="23"/>
                    <a:pt x="5" y="24"/>
                    <a:pt x="5" y="25"/>
                  </a:cubicBezTo>
                  <a:cubicBezTo>
                    <a:pt x="5" y="28"/>
                    <a:pt x="5" y="30"/>
                    <a:pt x="4" y="32"/>
                  </a:cubicBezTo>
                  <a:cubicBezTo>
                    <a:pt x="4" y="35"/>
                    <a:pt x="3" y="37"/>
                    <a:pt x="2" y="40"/>
                  </a:cubicBezTo>
                  <a:cubicBezTo>
                    <a:pt x="1" y="43"/>
                    <a:pt x="3" y="46"/>
                    <a:pt x="4" y="49"/>
                  </a:cubicBezTo>
                  <a:cubicBezTo>
                    <a:pt x="4" y="52"/>
                    <a:pt x="3" y="54"/>
                    <a:pt x="3" y="56"/>
                  </a:cubicBezTo>
                  <a:cubicBezTo>
                    <a:pt x="3" y="57"/>
                    <a:pt x="4" y="58"/>
                    <a:pt x="4" y="59"/>
                  </a:cubicBezTo>
                  <a:cubicBezTo>
                    <a:pt x="5" y="60"/>
                    <a:pt x="5" y="62"/>
                    <a:pt x="5" y="63"/>
                  </a:cubicBezTo>
                  <a:cubicBezTo>
                    <a:pt x="6" y="66"/>
                    <a:pt x="9" y="67"/>
                    <a:pt x="10" y="70"/>
                  </a:cubicBezTo>
                  <a:cubicBezTo>
                    <a:pt x="11" y="72"/>
                    <a:pt x="11" y="71"/>
                    <a:pt x="12" y="70"/>
                  </a:cubicBezTo>
                  <a:cubicBezTo>
                    <a:pt x="12" y="70"/>
                    <a:pt x="13" y="73"/>
                    <a:pt x="13" y="73"/>
                  </a:cubicBezTo>
                  <a:cubicBezTo>
                    <a:pt x="13" y="73"/>
                    <a:pt x="12" y="72"/>
                    <a:pt x="12" y="73"/>
                  </a:cubicBezTo>
                  <a:cubicBezTo>
                    <a:pt x="12" y="74"/>
                    <a:pt x="12" y="75"/>
                    <a:pt x="13" y="76"/>
                  </a:cubicBezTo>
                  <a:cubicBezTo>
                    <a:pt x="14" y="76"/>
                    <a:pt x="14" y="76"/>
                    <a:pt x="15" y="77"/>
                  </a:cubicBezTo>
                  <a:cubicBezTo>
                    <a:pt x="16" y="78"/>
                    <a:pt x="14" y="79"/>
                    <a:pt x="15" y="80"/>
                  </a:cubicBezTo>
                  <a:cubicBezTo>
                    <a:pt x="17" y="83"/>
                    <a:pt x="21" y="85"/>
                    <a:pt x="21" y="88"/>
                  </a:cubicBezTo>
                  <a:cubicBezTo>
                    <a:pt x="22" y="90"/>
                    <a:pt x="23" y="90"/>
                    <a:pt x="25" y="91"/>
                  </a:cubicBezTo>
                  <a:cubicBezTo>
                    <a:pt x="27" y="92"/>
                    <a:pt x="29" y="93"/>
                    <a:pt x="31" y="93"/>
                  </a:cubicBezTo>
                  <a:cubicBezTo>
                    <a:pt x="33" y="93"/>
                    <a:pt x="35" y="95"/>
                    <a:pt x="36" y="96"/>
                  </a:cubicBezTo>
                  <a:cubicBezTo>
                    <a:pt x="36" y="97"/>
                    <a:pt x="40" y="101"/>
                    <a:pt x="39" y="102"/>
                  </a:cubicBezTo>
                  <a:cubicBezTo>
                    <a:pt x="43" y="101"/>
                    <a:pt x="48" y="100"/>
                    <a:pt x="52" y="101"/>
                  </a:cubicBezTo>
                  <a:cubicBezTo>
                    <a:pt x="58" y="103"/>
                    <a:pt x="63" y="106"/>
                    <a:pt x="68" y="108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73" name="Freeform 642">
              <a:extLst>
                <a:ext uri="{FF2B5EF4-FFF2-40B4-BE49-F238E27FC236}">
                  <a16:creationId xmlns:a16="http://schemas.microsoft.com/office/drawing/2014/main" id="{5024A506-C153-7DC9-E5A6-24091A9CB42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41278" y="1866315"/>
              <a:ext cx="2237105" cy="1216791"/>
            </a:xfrm>
            <a:custGeom>
              <a:avLst/>
              <a:gdLst>
                <a:gd name="T0" fmla="*/ 255 w 427"/>
                <a:gd name="T1" fmla="*/ 181 h 219"/>
                <a:gd name="T2" fmla="*/ 299 w 427"/>
                <a:gd name="T3" fmla="*/ 195 h 219"/>
                <a:gd name="T4" fmla="*/ 296 w 427"/>
                <a:gd name="T5" fmla="*/ 215 h 219"/>
                <a:gd name="T6" fmla="*/ 332 w 427"/>
                <a:gd name="T7" fmla="*/ 200 h 219"/>
                <a:gd name="T8" fmla="*/ 366 w 427"/>
                <a:gd name="T9" fmla="*/ 196 h 219"/>
                <a:gd name="T10" fmla="*/ 383 w 427"/>
                <a:gd name="T11" fmla="*/ 200 h 219"/>
                <a:gd name="T12" fmla="*/ 391 w 427"/>
                <a:gd name="T13" fmla="*/ 201 h 219"/>
                <a:gd name="T14" fmla="*/ 380 w 427"/>
                <a:gd name="T15" fmla="*/ 188 h 219"/>
                <a:gd name="T16" fmla="*/ 382 w 427"/>
                <a:gd name="T17" fmla="*/ 176 h 219"/>
                <a:gd name="T18" fmla="*/ 354 w 427"/>
                <a:gd name="T19" fmla="*/ 180 h 219"/>
                <a:gd name="T20" fmla="*/ 414 w 427"/>
                <a:gd name="T21" fmla="*/ 160 h 219"/>
                <a:gd name="T22" fmla="*/ 417 w 427"/>
                <a:gd name="T23" fmla="*/ 144 h 219"/>
                <a:gd name="T24" fmla="*/ 415 w 427"/>
                <a:gd name="T25" fmla="*/ 139 h 219"/>
                <a:gd name="T26" fmla="*/ 394 w 427"/>
                <a:gd name="T27" fmla="*/ 126 h 219"/>
                <a:gd name="T28" fmla="*/ 390 w 427"/>
                <a:gd name="T29" fmla="*/ 110 h 219"/>
                <a:gd name="T30" fmla="*/ 378 w 427"/>
                <a:gd name="T31" fmla="*/ 104 h 219"/>
                <a:gd name="T32" fmla="*/ 364 w 427"/>
                <a:gd name="T33" fmla="*/ 112 h 219"/>
                <a:gd name="T34" fmla="*/ 356 w 427"/>
                <a:gd name="T35" fmla="*/ 107 h 219"/>
                <a:gd name="T36" fmla="*/ 342 w 427"/>
                <a:gd name="T37" fmla="*/ 85 h 219"/>
                <a:gd name="T38" fmla="*/ 314 w 427"/>
                <a:gd name="T39" fmla="*/ 91 h 219"/>
                <a:gd name="T40" fmla="*/ 320 w 427"/>
                <a:gd name="T41" fmla="*/ 116 h 219"/>
                <a:gd name="T42" fmla="*/ 306 w 427"/>
                <a:gd name="T43" fmla="*/ 159 h 219"/>
                <a:gd name="T44" fmla="*/ 292 w 427"/>
                <a:gd name="T45" fmla="*/ 135 h 219"/>
                <a:gd name="T46" fmla="*/ 250 w 427"/>
                <a:gd name="T47" fmla="*/ 119 h 219"/>
                <a:gd name="T48" fmla="*/ 237 w 427"/>
                <a:gd name="T49" fmla="*/ 86 h 219"/>
                <a:gd name="T50" fmla="*/ 246 w 427"/>
                <a:gd name="T51" fmla="*/ 77 h 219"/>
                <a:gd name="T52" fmla="*/ 246 w 427"/>
                <a:gd name="T53" fmla="*/ 70 h 219"/>
                <a:gd name="T54" fmla="*/ 263 w 427"/>
                <a:gd name="T55" fmla="*/ 58 h 219"/>
                <a:gd name="T56" fmla="*/ 276 w 427"/>
                <a:gd name="T57" fmla="*/ 48 h 219"/>
                <a:gd name="T58" fmla="*/ 293 w 427"/>
                <a:gd name="T59" fmla="*/ 36 h 219"/>
                <a:gd name="T60" fmla="*/ 276 w 427"/>
                <a:gd name="T61" fmla="*/ 23 h 219"/>
                <a:gd name="T62" fmla="*/ 262 w 427"/>
                <a:gd name="T63" fmla="*/ 35 h 219"/>
                <a:gd name="T64" fmla="*/ 252 w 427"/>
                <a:gd name="T65" fmla="*/ 23 h 219"/>
                <a:gd name="T66" fmla="*/ 241 w 427"/>
                <a:gd name="T67" fmla="*/ 10 h 219"/>
                <a:gd name="T68" fmla="*/ 223 w 427"/>
                <a:gd name="T69" fmla="*/ 6 h 219"/>
                <a:gd name="T70" fmla="*/ 232 w 427"/>
                <a:gd name="T71" fmla="*/ 27 h 219"/>
                <a:gd name="T72" fmla="*/ 226 w 427"/>
                <a:gd name="T73" fmla="*/ 40 h 219"/>
                <a:gd name="T74" fmla="*/ 218 w 427"/>
                <a:gd name="T75" fmla="*/ 37 h 219"/>
                <a:gd name="T76" fmla="*/ 164 w 427"/>
                <a:gd name="T77" fmla="*/ 29 h 219"/>
                <a:gd name="T78" fmla="*/ 166 w 427"/>
                <a:gd name="T79" fmla="*/ 41 h 219"/>
                <a:gd name="T80" fmla="*/ 160 w 427"/>
                <a:gd name="T81" fmla="*/ 40 h 219"/>
                <a:gd name="T82" fmla="*/ 133 w 427"/>
                <a:gd name="T83" fmla="*/ 30 h 219"/>
                <a:gd name="T84" fmla="*/ 83 w 427"/>
                <a:gd name="T85" fmla="*/ 23 h 219"/>
                <a:gd name="T86" fmla="*/ 71 w 427"/>
                <a:gd name="T87" fmla="*/ 18 h 219"/>
                <a:gd name="T88" fmla="*/ 50 w 427"/>
                <a:gd name="T89" fmla="*/ 24 h 219"/>
                <a:gd name="T90" fmla="*/ 49 w 427"/>
                <a:gd name="T91" fmla="*/ 22 h 219"/>
                <a:gd name="T92" fmla="*/ 29 w 427"/>
                <a:gd name="T93" fmla="*/ 23 h 219"/>
                <a:gd name="T94" fmla="*/ 21 w 427"/>
                <a:gd name="T95" fmla="*/ 28 h 219"/>
                <a:gd name="T96" fmla="*/ 3 w 427"/>
                <a:gd name="T97" fmla="*/ 97 h 219"/>
                <a:gd name="T98" fmla="*/ 40 w 427"/>
                <a:gd name="T99" fmla="*/ 116 h 219"/>
                <a:gd name="T100" fmla="*/ 53 w 427"/>
                <a:gd name="T101" fmla="*/ 141 h 219"/>
                <a:gd name="T102" fmla="*/ 62 w 427"/>
                <a:gd name="T103" fmla="*/ 150 h 219"/>
                <a:gd name="T104" fmla="*/ 67 w 427"/>
                <a:gd name="T105" fmla="*/ 160 h 219"/>
                <a:gd name="T106" fmla="*/ 80 w 427"/>
                <a:gd name="T107" fmla="*/ 166 h 219"/>
                <a:gd name="T108" fmla="*/ 133 w 427"/>
                <a:gd name="T109" fmla="*/ 176 h 219"/>
                <a:gd name="T110" fmla="*/ 97 w 427"/>
                <a:gd name="T111" fmla="*/ 57 h 219"/>
                <a:gd name="T112" fmla="*/ 87 w 427"/>
                <a:gd name="T113" fmla="*/ 51 h 219"/>
                <a:gd name="T114" fmla="*/ 113 w 427"/>
                <a:gd name="T115" fmla="*/ 49 h 219"/>
                <a:gd name="T116" fmla="*/ 142 w 427"/>
                <a:gd name="T117" fmla="*/ 85 h 219"/>
                <a:gd name="T118" fmla="*/ 131 w 427"/>
                <a:gd name="T119" fmla="*/ 85 h 219"/>
                <a:gd name="T120" fmla="*/ 160 w 427"/>
                <a:gd name="T121" fmla="*/ 78 h 219"/>
                <a:gd name="T122" fmla="*/ 210 w 427"/>
                <a:gd name="T123" fmla="*/ 150 h 219"/>
                <a:gd name="T124" fmla="*/ 222 w 427"/>
                <a:gd name="T125" fmla="*/ 165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27" h="219">
                  <a:moveTo>
                    <a:pt x="229" y="174"/>
                  </a:moveTo>
                  <a:cubicBezTo>
                    <a:pt x="229" y="174"/>
                    <a:pt x="229" y="173"/>
                    <a:pt x="229" y="173"/>
                  </a:cubicBezTo>
                  <a:cubicBezTo>
                    <a:pt x="229" y="173"/>
                    <a:pt x="232" y="177"/>
                    <a:pt x="232" y="177"/>
                  </a:cubicBezTo>
                  <a:cubicBezTo>
                    <a:pt x="234" y="177"/>
                    <a:pt x="235" y="178"/>
                    <a:pt x="236" y="178"/>
                  </a:cubicBezTo>
                  <a:cubicBezTo>
                    <a:pt x="238" y="178"/>
                    <a:pt x="238" y="177"/>
                    <a:pt x="239" y="178"/>
                  </a:cubicBezTo>
                  <a:cubicBezTo>
                    <a:pt x="242" y="179"/>
                    <a:pt x="244" y="180"/>
                    <a:pt x="246" y="181"/>
                  </a:cubicBezTo>
                  <a:cubicBezTo>
                    <a:pt x="247" y="182"/>
                    <a:pt x="248" y="181"/>
                    <a:pt x="249" y="181"/>
                  </a:cubicBezTo>
                  <a:cubicBezTo>
                    <a:pt x="250" y="180"/>
                    <a:pt x="251" y="180"/>
                    <a:pt x="252" y="180"/>
                  </a:cubicBezTo>
                  <a:cubicBezTo>
                    <a:pt x="253" y="180"/>
                    <a:pt x="254" y="181"/>
                    <a:pt x="255" y="181"/>
                  </a:cubicBezTo>
                  <a:cubicBezTo>
                    <a:pt x="257" y="181"/>
                    <a:pt x="258" y="180"/>
                    <a:pt x="259" y="179"/>
                  </a:cubicBezTo>
                  <a:cubicBezTo>
                    <a:pt x="260" y="178"/>
                    <a:pt x="263" y="175"/>
                    <a:pt x="264" y="175"/>
                  </a:cubicBezTo>
                  <a:cubicBezTo>
                    <a:pt x="264" y="175"/>
                    <a:pt x="265" y="176"/>
                    <a:pt x="265" y="176"/>
                  </a:cubicBezTo>
                  <a:cubicBezTo>
                    <a:pt x="267" y="176"/>
                    <a:pt x="268" y="176"/>
                    <a:pt x="269" y="176"/>
                  </a:cubicBezTo>
                  <a:cubicBezTo>
                    <a:pt x="273" y="176"/>
                    <a:pt x="272" y="179"/>
                    <a:pt x="274" y="181"/>
                  </a:cubicBezTo>
                  <a:cubicBezTo>
                    <a:pt x="275" y="182"/>
                    <a:pt x="279" y="181"/>
                    <a:pt x="279" y="183"/>
                  </a:cubicBezTo>
                  <a:cubicBezTo>
                    <a:pt x="279" y="185"/>
                    <a:pt x="280" y="187"/>
                    <a:pt x="281" y="189"/>
                  </a:cubicBezTo>
                  <a:cubicBezTo>
                    <a:pt x="281" y="194"/>
                    <a:pt x="290" y="193"/>
                    <a:pt x="293" y="194"/>
                  </a:cubicBezTo>
                  <a:cubicBezTo>
                    <a:pt x="295" y="194"/>
                    <a:pt x="298" y="194"/>
                    <a:pt x="299" y="195"/>
                  </a:cubicBezTo>
                  <a:cubicBezTo>
                    <a:pt x="300" y="196"/>
                    <a:pt x="305" y="201"/>
                    <a:pt x="304" y="201"/>
                  </a:cubicBezTo>
                  <a:cubicBezTo>
                    <a:pt x="302" y="203"/>
                    <a:pt x="302" y="203"/>
                    <a:pt x="300" y="202"/>
                  </a:cubicBezTo>
                  <a:cubicBezTo>
                    <a:pt x="299" y="201"/>
                    <a:pt x="295" y="199"/>
                    <a:pt x="295" y="199"/>
                  </a:cubicBezTo>
                  <a:cubicBezTo>
                    <a:pt x="295" y="200"/>
                    <a:pt x="298" y="201"/>
                    <a:pt x="297" y="203"/>
                  </a:cubicBezTo>
                  <a:cubicBezTo>
                    <a:pt x="296" y="204"/>
                    <a:pt x="295" y="206"/>
                    <a:pt x="295" y="207"/>
                  </a:cubicBezTo>
                  <a:cubicBezTo>
                    <a:pt x="295" y="209"/>
                    <a:pt x="295" y="210"/>
                    <a:pt x="294" y="211"/>
                  </a:cubicBezTo>
                  <a:cubicBezTo>
                    <a:pt x="294" y="212"/>
                    <a:pt x="291" y="213"/>
                    <a:pt x="291" y="213"/>
                  </a:cubicBezTo>
                  <a:cubicBezTo>
                    <a:pt x="290" y="214"/>
                    <a:pt x="287" y="219"/>
                    <a:pt x="291" y="219"/>
                  </a:cubicBezTo>
                  <a:cubicBezTo>
                    <a:pt x="292" y="219"/>
                    <a:pt x="294" y="217"/>
                    <a:pt x="296" y="215"/>
                  </a:cubicBezTo>
                  <a:cubicBezTo>
                    <a:pt x="298" y="214"/>
                    <a:pt x="299" y="216"/>
                    <a:pt x="301" y="215"/>
                  </a:cubicBezTo>
                  <a:cubicBezTo>
                    <a:pt x="304" y="215"/>
                    <a:pt x="305" y="213"/>
                    <a:pt x="308" y="213"/>
                  </a:cubicBezTo>
                  <a:cubicBezTo>
                    <a:pt x="308" y="211"/>
                    <a:pt x="308" y="212"/>
                    <a:pt x="306" y="211"/>
                  </a:cubicBezTo>
                  <a:cubicBezTo>
                    <a:pt x="305" y="211"/>
                    <a:pt x="305" y="210"/>
                    <a:pt x="306" y="210"/>
                  </a:cubicBezTo>
                  <a:cubicBezTo>
                    <a:pt x="307" y="208"/>
                    <a:pt x="308" y="207"/>
                    <a:pt x="311" y="207"/>
                  </a:cubicBezTo>
                  <a:cubicBezTo>
                    <a:pt x="312" y="207"/>
                    <a:pt x="315" y="205"/>
                    <a:pt x="317" y="206"/>
                  </a:cubicBezTo>
                  <a:cubicBezTo>
                    <a:pt x="319" y="207"/>
                    <a:pt x="320" y="203"/>
                    <a:pt x="322" y="206"/>
                  </a:cubicBezTo>
                  <a:cubicBezTo>
                    <a:pt x="324" y="204"/>
                    <a:pt x="325" y="203"/>
                    <a:pt x="327" y="201"/>
                  </a:cubicBezTo>
                  <a:cubicBezTo>
                    <a:pt x="329" y="200"/>
                    <a:pt x="330" y="200"/>
                    <a:pt x="332" y="200"/>
                  </a:cubicBezTo>
                  <a:cubicBezTo>
                    <a:pt x="335" y="200"/>
                    <a:pt x="339" y="200"/>
                    <a:pt x="342" y="200"/>
                  </a:cubicBezTo>
                  <a:cubicBezTo>
                    <a:pt x="345" y="200"/>
                    <a:pt x="346" y="201"/>
                    <a:pt x="347" y="199"/>
                  </a:cubicBezTo>
                  <a:cubicBezTo>
                    <a:pt x="348" y="198"/>
                    <a:pt x="349" y="199"/>
                    <a:pt x="350" y="198"/>
                  </a:cubicBezTo>
                  <a:cubicBezTo>
                    <a:pt x="351" y="196"/>
                    <a:pt x="352" y="195"/>
                    <a:pt x="352" y="193"/>
                  </a:cubicBezTo>
                  <a:cubicBezTo>
                    <a:pt x="353" y="191"/>
                    <a:pt x="353" y="190"/>
                    <a:pt x="354" y="188"/>
                  </a:cubicBezTo>
                  <a:cubicBezTo>
                    <a:pt x="355" y="187"/>
                    <a:pt x="356" y="186"/>
                    <a:pt x="357" y="185"/>
                  </a:cubicBezTo>
                  <a:cubicBezTo>
                    <a:pt x="358" y="184"/>
                    <a:pt x="359" y="187"/>
                    <a:pt x="361" y="186"/>
                  </a:cubicBezTo>
                  <a:cubicBezTo>
                    <a:pt x="363" y="184"/>
                    <a:pt x="365" y="187"/>
                    <a:pt x="365" y="189"/>
                  </a:cubicBezTo>
                  <a:cubicBezTo>
                    <a:pt x="365" y="190"/>
                    <a:pt x="364" y="196"/>
                    <a:pt x="366" y="196"/>
                  </a:cubicBezTo>
                  <a:cubicBezTo>
                    <a:pt x="367" y="197"/>
                    <a:pt x="368" y="199"/>
                    <a:pt x="369" y="201"/>
                  </a:cubicBezTo>
                  <a:cubicBezTo>
                    <a:pt x="370" y="199"/>
                    <a:pt x="381" y="196"/>
                    <a:pt x="381" y="196"/>
                  </a:cubicBezTo>
                  <a:cubicBezTo>
                    <a:pt x="381" y="195"/>
                    <a:pt x="380" y="195"/>
                    <a:pt x="380" y="194"/>
                  </a:cubicBezTo>
                  <a:cubicBezTo>
                    <a:pt x="380" y="194"/>
                    <a:pt x="382" y="196"/>
                    <a:pt x="382" y="196"/>
                  </a:cubicBezTo>
                  <a:cubicBezTo>
                    <a:pt x="382" y="197"/>
                    <a:pt x="380" y="197"/>
                    <a:pt x="380" y="197"/>
                  </a:cubicBezTo>
                  <a:cubicBezTo>
                    <a:pt x="380" y="197"/>
                    <a:pt x="386" y="198"/>
                    <a:pt x="386" y="198"/>
                  </a:cubicBezTo>
                  <a:cubicBezTo>
                    <a:pt x="386" y="198"/>
                    <a:pt x="386" y="198"/>
                    <a:pt x="386" y="198"/>
                  </a:cubicBezTo>
                  <a:cubicBezTo>
                    <a:pt x="386" y="198"/>
                    <a:pt x="386" y="199"/>
                    <a:pt x="386" y="199"/>
                  </a:cubicBezTo>
                  <a:cubicBezTo>
                    <a:pt x="385" y="199"/>
                    <a:pt x="384" y="199"/>
                    <a:pt x="383" y="200"/>
                  </a:cubicBezTo>
                  <a:cubicBezTo>
                    <a:pt x="383" y="201"/>
                    <a:pt x="382" y="198"/>
                    <a:pt x="382" y="198"/>
                  </a:cubicBezTo>
                  <a:cubicBezTo>
                    <a:pt x="381" y="198"/>
                    <a:pt x="381" y="199"/>
                    <a:pt x="381" y="199"/>
                  </a:cubicBezTo>
                  <a:cubicBezTo>
                    <a:pt x="381" y="199"/>
                    <a:pt x="381" y="198"/>
                    <a:pt x="380" y="199"/>
                  </a:cubicBezTo>
                  <a:cubicBezTo>
                    <a:pt x="379" y="200"/>
                    <a:pt x="378" y="200"/>
                    <a:pt x="377" y="201"/>
                  </a:cubicBezTo>
                  <a:cubicBezTo>
                    <a:pt x="375" y="202"/>
                    <a:pt x="371" y="205"/>
                    <a:pt x="373" y="208"/>
                  </a:cubicBezTo>
                  <a:cubicBezTo>
                    <a:pt x="376" y="210"/>
                    <a:pt x="378" y="208"/>
                    <a:pt x="379" y="207"/>
                  </a:cubicBezTo>
                  <a:cubicBezTo>
                    <a:pt x="380" y="206"/>
                    <a:pt x="384" y="203"/>
                    <a:pt x="384" y="202"/>
                  </a:cubicBezTo>
                  <a:cubicBezTo>
                    <a:pt x="384" y="203"/>
                    <a:pt x="386" y="204"/>
                    <a:pt x="387" y="203"/>
                  </a:cubicBezTo>
                  <a:cubicBezTo>
                    <a:pt x="387" y="202"/>
                    <a:pt x="390" y="201"/>
                    <a:pt x="391" y="201"/>
                  </a:cubicBezTo>
                  <a:cubicBezTo>
                    <a:pt x="393" y="200"/>
                    <a:pt x="395" y="199"/>
                    <a:pt x="397" y="199"/>
                  </a:cubicBezTo>
                  <a:cubicBezTo>
                    <a:pt x="398" y="199"/>
                    <a:pt x="398" y="199"/>
                    <a:pt x="398" y="198"/>
                  </a:cubicBezTo>
                  <a:cubicBezTo>
                    <a:pt x="397" y="197"/>
                    <a:pt x="398" y="197"/>
                    <a:pt x="398" y="197"/>
                  </a:cubicBezTo>
                  <a:cubicBezTo>
                    <a:pt x="398" y="196"/>
                    <a:pt x="396" y="197"/>
                    <a:pt x="395" y="196"/>
                  </a:cubicBezTo>
                  <a:cubicBezTo>
                    <a:pt x="394" y="196"/>
                    <a:pt x="395" y="194"/>
                    <a:pt x="393" y="196"/>
                  </a:cubicBezTo>
                  <a:cubicBezTo>
                    <a:pt x="391" y="197"/>
                    <a:pt x="387" y="196"/>
                    <a:pt x="385" y="195"/>
                  </a:cubicBezTo>
                  <a:cubicBezTo>
                    <a:pt x="384" y="195"/>
                    <a:pt x="385" y="193"/>
                    <a:pt x="384" y="193"/>
                  </a:cubicBezTo>
                  <a:cubicBezTo>
                    <a:pt x="384" y="193"/>
                    <a:pt x="382" y="193"/>
                    <a:pt x="381" y="192"/>
                  </a:cubicBezTo>
                  <a:cubicBezTo>
                    <a:pt x="380" y="192"/>
                    <a:pt x="380" y="189"/>
                    <a:pt x="380" y="188"/>
                  </a:cubicBezTo>
                  <a:cubicBezTo>
                    <a:pt x="380" y="187"/>
                    <a:pt x="378" y="188"/>
                    <a:pt x="377" y="187"/>
                  </a:cubicBezTo>
                  <a:cubicBezTo>
                    <a:pt x="377" y="187"/>
                    <a:pt x="379" y="185"/>
                    <a:pt x="379" y="185"/>
                  </a:cubicBezTo>
                  <a:cubicBezTo>
                    <a:pt x="380" y="184"/>
                    <a:pt x="380" y="181"/>
                    <a:pt x="378" y="181"/>
                  </a:cubicBezTo>
                  <a:cubicBezTo>
                    <a:pt x="378" y="181"/>
                    <a:pt x="376" y="185"/>
                    <a:pt x="375" y="183"/>
                  </a:cubicBezTo>
                  <a:cubicBezTo>
                    <a:pt x="375" y="181"/>
                    <a:pt x="374" y="182"/>
                    <a:pt x="373" y="181"/>
                  </a:cubicBezTo>
                  <a:cubicBezTo>
                    <a:pt x="373" y="180"/>
                    <a:pt x="376" y="181"/>
                    <a:pt x="376" y="181"/>
                  </a:cubicBezTo>
                  <a:cubicBezTo>
                    <a:pt x="378" y="181"/>
                    <a:pt x="379" y="180"/>
                    <a:pt x="380" y="180"/>
                  </a:cubicBezTo>
                  <a:cubicBezTo>
                    <a:pt x="381" y="179"/>
                    <a:pt x="382" y="179"/>
                    <a:pt x="383" y="179"/>
                  </a:cubicBezTo>
                  <a:cubicBezTo>
                    <a:pt x="384" y="178"/>
                    <a:pt x="382" y="176"/>
                    <a:pt x="382" y="176"/>
                  </a:cubicBezTo>
                  <a:cubicBezTo>
                    <a:pt x="382" y="176"/>
                    <a:pt x="383" y="176"/>
                    <a:pt x="383" y="176"/>
                  </a:cubicBezTo>
                  <a:cubicBezTo>
                    <a:pt x="383" y="176"/>
                    <a:pt x="379" y="174"/>
                    <a:pt x="379" y="174"/>
                  </a:cubicBezTo>
                  <a:cubicBezTo>
                    <a:pt x="377" y="173"/>
                    <a:pt x="375" y="173"/>
                    <a:pt x="373" y="174"/>
                  </a:cubicBezTo>
                  <a:cubicBezTo>
                    <a:pt x="369" y="175"/>
                    <a:pt x="366" y="176"/>
                    <a:pt x="363" y="178"/>
                  </a:cubicBezTo>
                  <a:cubicBezTo>
                    <a:pt x="360" y="179"/>
                    <a:pt x="358" y="181"/>
                    <a:pt x="355" y="183"/>
                  </a:cubicBezTo>
                  <a:cubicBezTo>
                    <a:pt x="354" y="184"/>
                    <a:pt x="353" y="185"/>
                    <a:pt x="352" y="187"/>
                  </a:cubicBezTo>
                  <a:cubicBezTo>
                    <a:pt x="352" y="187"/>
                    <a:pt x="348" y="189"/>
                    <a:pt x="348" y="189"/>
                  </a:cubicBezTo>
                  <a:cubicBezTo>
                    <a:pt x="348" y="188"/>
                    <a:pt x="353" y="184"/>
                    <a:pt x="354" y="183"/>
                  </a:cubicBezTo>
                  <a:cubicBezTo>
                    <a:pt x="354" y="182"/>
                    <a:pt x="355" y="181"/>
                    <a:pt x="354" y="180"/>
                  </a:cubicBezTo>
                  <a:cubicBezTo>
                    <a:pt x="353" y="180"/>
                    <a:pt x="351" y="179"/>
                    <a:pt x="350" y="179"/>
                  </a:cubicBezTo>
                  <a:cubicBezTo>
                    <a:pt x="351" y="179"/>
                    <a:pt x="353" y="180"/>
                    <a:pt x="354" y="180"/>
                  </a:cubicBezTo>
                  <a:cubicBezTo>
                    <a:pt x="356" y="181"/>
                    <a:pt x="358" y="178"/>
                    <a:pt x="359" y="177"/>
                  </a:cubicBezTo>
                  <a:cubicBezTo>
                    <a:pt x="360" y="176"/>
                    <a:pt x="361" y="174"/>
                    <a:pt x="363" y="173"/>
                  </a:cubicBezTo>
                  <a:cubicBezTo>
                    <a:pt x="365" y="173"/>
                    <a:pt x="367" y="174"/>
                    <a:pt x="368" y="172"/>
                  </a:cubicBezTo>
                  <a:cubicBezTo>
                    <a:pt x="369" y="168"/>
                    <a:pt x="371" y="167"/>
                    <a:pt x="375" y="167"/>
                  </a:cubicBezTo>
                  <a:cubicBezTo>
                    <a:pt x="379" y="167"/>
                    <a:pt x="383" y="167"/>
                    <a:pt x="387" y="167"/>
                  </a:cubicBezTo>
                  <a:cubicBezTo>
                    <a:pt x="394" y="167"/>
                    <a:pt x="404" y="169"/>
                    <a:pt x="409" y="163"/>
                  </a:cubicBezTo>
                  <a:cubicBezTo>
                    <a:pt x="411" y="161"/>
                    <a:pt x="412" y="160"/>
                    <a:pt x="414" y="160"/>
                  </a:cubicBezTo>
                  <a:cubicBezTo>
                    <a:pt x="416" y="160"/>
                    <a:pt x="418" y="160"/>
                    <a:pt x="421" y="158"/>
                  </a:cubicBezTo>
                  <a:cubicBezTo>
                    <a:pt x="422" y="158"/>
                    <a:pt x="425" y="156"/>
                    <a:pt x="425" y="155"/>
                  </a:cubicBezTo>
                  <a:cubicBezTo>
                    <a:pt x="427" y="152"/>
                    <a:pt x="422" y="153"/>
                    <a:pt x="422" y="152"/>
                  </a:cubicBezTo>
                  <a:cubicBezTo>
                    <a:pt x="422" y="151"/>
                    <a:pt x="424" y="151"/>
                    <a:pt x="424" y="151"/>
                  </a:cubicBezTo>
                  <a:cubicBezTo>
                    <a:pt x="425" y="150"/>
                    <a:pt x="424" y="149"/>
                    <a:pt x="424" y="148"/>
                  </a:cubicBezTo>
                  <a:cubicBezTo>
                    <a:pt x="424" y="148"/>
                    <a:pt x="425" y="147"/>
                    <a:pt x="425" y="147"/>
                  </a:cubicBezTo>
                  <a:cubicBezTo>
                    <a:pt x="425" y="146"/>
                    <a:pt x="423" y="145"/>
                    <a:pt x="423" y="145"/>
                  </a:cubicBezTo>
                  <a:cubicBezTo>
                    <a:pt x="422" y="144"/>
                    <a:pt x="421" y="144"/>
                    <a:pt x="421" y="143"/>
                  </a:cubicBezTo>
                  <a:cubicBezTo>
                    <a:pt x="420" y="143"/>
                    <a:pt x="418" y="146"/>
                    <a:pt x="417" y="144"/>
                  </a:cubicBezTo>
                  <a:cubicBezTo>
                    <a:pt x="417" y="144"/>
                    <a:pt x="419" y="143"/>
                    <a:pt x="418" y="143"/>
                  </a:cubicBezTo>
                  <a:cubicBezTo>
                    <a:pt x="418" y="142"/>
                    <a:pt x="417" y="141"/>
                    <a:pt x="416" y="141"/>
                  </a:cubicBezTo>
                  <a:cubicBezTo>
                    <a:pt x="415" y="140"/>
                    <a:pt x="411" y="141"/>
                    <a:pt x="410" y="142"/>
                  </a:cubicBezTo>
                  <a:cubicBezTo>
                    <a:pt x="409" y="144"/>
                    <a:pt x="406" y="145"/>
                    <a:pt x="404" y="146"/>
                  </a:cubicBezTo>
                  <a:cubicBezTo>
                    <a:pt x="403" y="146"/>
                    <a:pt x="400" y="144"/>
                    <a:pt x="400" y="143"/>
                  </a:cubicBezTo>
                  <a:cubicBezTo>
                    <a:pt x="400" y="142"/>
                    <a:pt x="403" y="145"/>
                    <a:pt x="403" y="145"/>
                  </a:cubicBezTo>
                  <a:cubicBezTo>
                    <a:pt x="404" y="145"/>
                    <a:pt x="408" y="142"/>
                    <a:pt x="408" y="142"/>
                  </a:cubicBezTo>
                  <a:cubicBezTo>
                    <a:pt x="408" y="142"/>
                    <a:pt x="406" y="141"/>
                    <a:pt x="406" y="141"/>
                  </a:cubicBezTo>
                  <a:cubicBezTo>
                    <a:pt x="409" y="140"/>
                    <a:pt x="412" y="140"/>
                    <a:pt x="415" y="139"/>
                  </a:cubicBezTo>
                  <a:cubicBezTo>
                    <a:pt x="415" y="139"/>
                    <a:pt x="417" y="138"/>
                    <a:pt x="416" y="137"/>
                  </a:cubicBezTo>
                  <a:cubicBezTo>
                    <a:pt x="416" y="137"/>
                    <a:pt x="414" y="135"/>
                    <a:pt x="414" y="135"/>
                  </a:cubicBezTo>
                  <a:cubicBezTo>
                    <a:pt x="412" y="136"/>
                    <a:pt x="410" y="136"/>
                    <a:pt x="409" y="134"/>
                  </a:cubicBezTo>
                  <a:cubicBezTo>
                    <a:pt x="408" y="134"/>
                    <a:pt x="404" y="137"/>
                    <a:pt x="404" y="136"/>
                  </a:cubicBezTo>
                  <a:cubicBezTo>
                    <a:pt x="404" y="136"/>
                    <a:pt x="407" y="133"/>
                    <a:pt x="404" y="134"/>
                  </a:cubicBezTo>
                  <a:cubicBezTo>
                    <a:pt x="404" y="134"/>
                    <a:pt x="400" y="135"/>
                    <a:pt x="400" y="135"/>
                  </a:cubicBezTo>
                  <a:cubicBezTo>
                    <a:pt x="401" y="133"/>
                    <a:pt x="404" y="133"/>
                    <a:pt x="402" y="130"/>
                  </a:cubicBezTo>
                  <a:cubicBezTo>
                    <a:pt x="402" y="130"/>
                    <a:pt x="398" y="128"/>
                    <a:pt x="398" y="128"/>
                  </a:cubicBezTo>
                  <a:cubicBezTo>
                    <a:pt x="396" y="128"/>
                    <a:pt x="396" y="126"/>
                    <a:pt x="394" y="126"/>
                  </a:cubicBezTo>
                  <a:cubicBezTo>
                    <a:pt x="395" y="126"/>
                    <a:pt x="392" y="122"/>
                    <a:pt x="392" y="122"/>
                  </a:cubicBezTo>
                  <a:cubicBezTo>
                    <a:pt x="392" y="122"/>
                    <a:pt x="393" y="123"/>
                    <a:pt x="394" y="123"/>
                  </a:cubicBezTo>
                  <a:cubicBezTo>
                    <a:pt x="395" y="124"/>
                    <a:pt x="395" y="122"/>
                    <a:pt x="396" y="122"/>
                  </a:cubicBezTo>
                  <a:cubicBezTo>
                    <a:pt x="400" y="121"/>
                    <a:pt x="393" y="118"/>
                    <a:pt x="392" y="117"/>
                  </a:cubicBezTo>
                  <a:cubicBezTo>
                    <a:pt x="392" y="118"/>
                    <a:pt x="394" y="116"/>
                    <a:pt x="394" y="116"/>
                  </a:cubicBezTo>
                  <a:cubicBezTo>
                    <a:pt x="395" y="115"/>
                    <a:pt x="393" y="115"/>
                    <a:pt x="392" y="114"/>
                  </a:cubicBezTo>
                  <a:cubicBezTo>
                    <a:pt x="392" y="114"/>
                    <a:pt x="391" y="113"/>
                    <a:pt x="390" y="113"/>
                  </a:cubicBezTo>
                  <a:cubicBezTo>
                    <a:pt x="390" y="113"/>
                    <a:pt x="388" y="113"/>
                    <a:pt x="388" y="113"/>
                  </a:cubicBezTo>
                  <a:cubicBezTo>
                    <a:pt x="389" y="112"/>
                    <a:pt x="391" y="113"/>
                    <a:pt x="390" y="110"/>
                  </a:cubicBezTo>
                  <a:cubicBezTo>
                    <a:pt x="389" y="110"/>
                    <a:pt x="386" y="111"/>
                    <a:pt x="386" y="111"/>
                  </a:cubicBezTo>
                  <a:cubicBezTo>
                    <a:pt x="386" y="110"/>
                    <a:pt x="389" y="110"/>
                    <a:pt x="388" y="108"/>
                  </a:cubicBezTo>
                  <a:cubicBezTo>
                    <a:pt x="388" y="107"/>
                    <a:pt x="388" y="106"/>
                    <a:pt x="387" y="105"/>
                  </a:cubicBezTo>
                  <a:cubicBezTo>
                    <a:pt x="387" y="105"/>
                    <a:pt x="386" y="106"/>
                    <a:pt x="386" y="105"/>
                  </a:cubicBezTo>
                  <a:cubicBezTo>
                    <a:pt x="386" y="106"/>
                    <a:pt x="384" y="102"/>
                    <a:pt x="384" y="102"/>
                  </a:cubicBezTo>
                  <a:cubicBezTo>
                    <a:pt x="383" y="100"/>
                    <a:pt x="382" y="99"/>
                    <a:pt x="382" y="98"/>
                  </a:cubicBezTo>
                  <a:cubicBezTo>
                    <a:pt x="381" y="96"/>
                    <a:pt x="381" y="94"/>
                    <a:pt x="379" y="97"/>
                  </a:cubicBezTo>
                  <a:cubicBezTo>
                    <a:pt x="379" y="97"/>
                    <a:pt x="378" y="101"/>
                    <a:pt x="379" y="100"/>
                  </a:cubicBezTo>
                  <a:cubicBezTo>
                    <a:pt x="375" y="101"/>
                    <a:pt x="377" y="101"/>
                    <a:pt x="378" y="104"/>
                  </a:cubicBezTo>
                  <a:cubicBezTo>
                    <a:pt x="378" y="103"/>
                    <a:pt x="377" y="103"/>
                    <a:pt x="377" y="104"/>
                  </a:cubicBezTo>
                  <a:cubicBezTo>
                    <a:pt x="376" y="104"/>
                    <a:pt x="376" y="104"/>
                    <a:pt x="375" y="105"/>
                  </a:cubicBezTo>
                  <a:cubicBezTo>
                    <a:pt x="375" y="105"/>
                    <a:pt x="377" y="106"/>
                    <a:pt x="377" y="106"/>
                  </a:cubicBezTo>
                  <a:cubicBezTo>
                    <a:pt x="376" y="107"/>
                    <a:pt x="374" y="106"/>
                    <a:pt x="374" y="107"/>
                  </a:cubicBezTo>
                  <a:cubicBezTo>
                    <a:pt x="373" y="108"/>
                    <a:pt x="375" y="110"/>
                    <a:pt x="373" y="111"/>
                  </a:cubicBezTo>
                  <a:cubicBezTo>
                    <a:pt x="374" y="111"/>
                    <a:pt x="372" y="107"/>
                    <a:pt x="370" y="109"/>
                  </a:cubicBezTo>
                  <a:cubicBezTo>
                    <a:pt x="370" y="110"/>
                    <a:pt x="366" y="113"/>
                    <a:pt x="366" y="113"/>
                  </a:cubicBezTo>
                  <a:cubicBezTo>
                    <a:pt x="365" y="113"/>
                    <a:pt x="365" y="112"/>
                    <a:pt x="365" y="111"/>
                  </a:cubicBezTo>
                  <a:cubicBezTo>
                    <a:pt x="364" y="111"/>
                    <a:pt x="364" y="112"/>
                    <a:pt x="364" y="112"/>
                  </a:cubicBezTo>
                  <a:cubicBezTo>
                    <a:pt x="363" y="111"/>
                    <a:pt x="364" y="111"/>
                    <a:pt x="364" y="110"/>
                  </a:cubicBezTo>
                  <a:cubicBezTo>
                    <a:pt x="364" y="111"/>
                    <a:pt x="357" y="116"/>
                    <a:pt x="357" y="115"/>
                  </a:cubicBezTo>
                  <a:cubicBezTo>
                    <a:pt x="356" y="114"/>
                    <a:pt x="360" y="113"/>
                    <a:pt x="361" y="113"/>
                  </a:cubicBezTo>
                  <a:cubicBezTo>
                    <a:pt x="363" y="111"/>
                    <a:pt x="363" y="110"/>
                    <a:pt x="362" y="108"/>
                  </a:cubicBezTo>
                  <a:cubicBezTo>
                    <a:pt x="361" y="107"/>
                    <a:pt x="358" y="107"/>
                    <a:pt x="357" y="107"/>
                  </a:cubicBezTo>
                  <a:cubicBezTo>
                    <a:pt x="356" y="107"/>
                    <a:pt x="356" y="108"/>
                    <a:pt x="356" y="108"/>
                  </a:cubicBezTo>
                  <a:cubicBezTo>
                    <a:pt x="355" y="110"/>
                    <a:pt x="353" y="108"/>
                    <a:pt x="352" y="108"/>
                  </a:cubicBezTo>
                  <a:cubicBezTo>
                    <a:pt x="353" y="108"/>
                    <a:pt x="355" y="106"/>
                    <a:pt x="355" y="106"/>
                  </a:cubicBezTo>
                  <a:cubicBezTo>
                    <a:pt x="355" y="106"/>
                    <a:pt x="356" y="107"/>
                    <a:pt x="356" y="107"/>
                  </a:cubicBezTo>
                  <a:cubicBezTo>
                    <a:pt x="355" y="107"/>
                    <a:pt x="357" y="105"/>
                    <a:pt x="357" y="105"/>
                  </a:cubicBezTo>
                  <a:cubicBezTo>
                    <a:pt x="358" y="103"/>
                    <a:pt x="356" y="104"/>
                    <a:pt x="355" y="103"/>
                  </a:cubicBezTo>
                  <a:cubicBezTo>
                    <a:pt x="355" y="103"/>
                    <a:pt x="356" y="98"/>
                    <a:pt x="354" y="99"/>
                  </a:cubicBezTo>
                  <a:cubicBezTo>
                    <a:pt x="355" y="98"/>
                    <a:pt x="356" y="98"/>
                    <a:pt x="355" y="96"/>
                  </a:cubicBezTo>
                  <a:cubicBezTo>
                    <a:pt x="353" y="95"/>
                    <a:pt x="357" y="94"/>
                    <a:pt x="356" y="92"/>
                  </a:cubicBezTo>
                  <a:cubicBezTo>
                    <a:pt x="356" y="91"/>
                    <a:pt x="354" y="93"/>
                    <a:pt x="353" y="92"/>
                  </a:cubicBezTo>
                  <a:cubicBezTo>
                    <a:pt x="352" y="91"/>
                    <a:pt x="350" y="91"/>
                    <a:pt x="349" y="91"/>
                  </a:cubicBezTo>
                  <a:cubicBezTo>
                    <a:pt x="347" y="90"/>
                    <a:pt x="346" y="90"/>
                    <a:pt x="345" y="88"/>
                  </a:cubicBezTo>
                  <a:cubicBezTo>
                    <a:pt x="345" y="86"/>
                    <a:pt x="342" y="87"/>
                    <a:pt x="342" y="85"/>
                  </a:cubicBezTo>
                  <a:cubicBezTo>
                    <a:pt x="342" y="84"/>
                    <a:pt x="340" y="85"/>
                    <a:pt x="340" y="85"/>
                  </a:cubicBezTo>
                  <a:cubicBezTo>
                    <a:pt x="341" y="83"/>
                    <a:pt x="339" y="83"/>
                    <a:pt x="338" y="82"/>
                  </a:cubicBezTo>
                  <a:cubicBezTo>
                    <a:pt x="336" y="81"/>
                    <a:pt x="336" y="80"/>
                    <a:pt x="334" y="81"/>
                  </a:cubicBezTo>
                  <a:cubicBezTo>
                    <a:pt x="332" y="82"/>
                    <a:pt x="331" y="83"/>
                    <a:pt x="329" y="82"/>
                  </a:cubicBezTo>
                  <a:cubicBezTo>
                    <a:pt x="327" y="81"/>
                    <a:pt x="326" y="83"/>
                    <a:pt x="324" y="82"/>
                  </a:cubicBezTo>
                  <a:cubicBezTo>
                    <a:pt x="322" y="80"/>
                    <a:pt x="320" y="80"/>
                    <a:pt x="318" y="80"/>
                  </a:cubicBezTo>
                  <a:cubicBezTo>
                    <a:pt x="316" y="80"/>
                    <a:pt x="314" y="80"/>
                    <a:pt x="313" y="82"/>
                  </a:cubicBezTo>
                  <a:cubicBezTo>
                    <a:pt x="312" y="84"/>
                    <a:pt x="315" y="85"/>
                    <a:pt x="315" y="86"/>
                  </a:cubicBezTo>
                  <a:cubicBezTo>
                    <a:pt x="316" y="87"/>
                    <a:pt x="315" y="90"/>
                    <a:pt x="314" y="91"/>
                  </a:cubicBezTo>
                  <a:cubicBezTo>
                    <a:pt x="314" y="92"/>
                    <a:pt x="314" y="91"/>
                    <a:pt x="313" y="92"/>
                  </a:cubicBezTo>
                  <a:cubicBezTo>
                    <a:pt x="313" y="92"/>
                    <a:pt x="315" y="94"/>
                    <a:pt x="315" y="94"/>
                  </a:cubicBezTo>
                  <a:cubicBezTo>
                    <a:pt x="315" y="96"/>
                    <a:pt x="316" y="98"/>
                    <a:pt x="316" y="99"/>
                  </a:cubicBezTo>
                  <a:cubicBezTo>
                    <a:pt x="316" y="100"/>
                    <a:pt x="316" y="100"/>
                    <a:pt x="316" y="101"/>
                  </a:cubicBezTo>
                  <a:cubicBezTo>
                    <a:pt x="316" y="102"/>
                    <a:pt x="315" y="101"/>
                    <a:pt x="315" y="101"/>
                  </a:cubicBezTo>
                  <a:cubicBezTo>
                    <a:pt x="314" y="102"/>
                    <a:pt x="314" y="104"/>
                    <a:pt x="314" y="104"/>
                  </a:cubicBezTo>
                  <a:cubicBezTo>
                    <a:pt x="313" y="105"/>
                    <a:pt x="312" y="106"/>
                    <a:pt x="312" y="107"/>
                  </a:cubicBezTo>
                  <a:cubicBezTo>
                    <a:pt x="311" y="109"/>
                    <a:pt x="311" y="109"/>
                    <a:pt x="312" y="110"/>
                  </a:cubicBezTo>
                  <a:cubicBezTo>
                    <a:pt x="315" y="112"/>
                    <a:pt x="318" y="114"/>
                    <a:pt x="320" y="116"/>
                  </a:cubicBezTo>
                  <a:cubicBezTo>
                    <a:pt x="321" y="119"/>
                    <a:pt x="322" y="124"/>
                    <a:pt x="321" y="127"/>
                  </a:cubicBezTo>
                  <a:cubicBezTo>
                    <a:pt x="319" y="131"/>
                    <a:pt x="313" y="133"/>
                    <a:pt x="310" y="135"/>
                  </a:cubicBezTo>
                  <a:cubicBezTo>
                    <a:pt x="309" y="136"/>
                    <a:pt x="308" y="136"/>
                    <a:pt x="307" y="137"/>
                  </a:cubicBezTo>
                  <a:cubicBezTo>
                    <a:pt x="304" y="138"/>
                    <a:pt x="308" y="141"/>
                    <a:pt x="308" y="143"/>
                  </a:cubicBezTo>
                  <a:cubicBezTo>
                    <a:pt x="308" y="143"/>
                    <a:pt x="309" y="145"/>
                    <a:pt x="309" y="146"/>
                  </a:cubicBezTo>
                  <a:cubicBezTo>
                    <a:pt x="309" y="148"/>
                    <a:pt x="309" y="149"/>
                    <a:pt x="310" y="151"/>
                  </a:cubicBezTo>
                  <a:cubicBezTo>
                    <a:pt x="311" y="153"/>
                    <a:pt x="311" y="154"/>
                    <a:pt x="309" y="156"/>
                  </a:cubicBezTo>
                  <a:cubicBezTo>
                    <a:pt x="309" y="156"/>
                    <a:pt x="310" y="160"/>
                    <a:pt x="309" y="161"/>
                  </a:cubicBezTo>
                  <a:cubicBezTo>
                    <a:pt x="308" y="161"/>
                    <a:pt x="307" y="157"/>
                    <a:pt x="306" y="159"/>
                  </a:cubicBezTo>
                  <a:cubicBezTo>
                    <a:pt x="305" y="161"/>
                    <a:pt x="307" y="164"/>
                    <a:pt x="307" y="164"/>
                  </a:cubicBezTo>
                  <a:cubicBezTo>
                    <a:pt x="307" y="163"/>
                    <a:pt x="301" y="158"/>
                    <a:pt x="298" y="161"/>
                  </a:cubicBezTo>
                  <a:cubicBezTo>
                    <a:pt x="299" y="160"/>
                    <a:pt x="302" y="159"/>
                    <a:pt x="300" y="157"/>
                  </a:cubicBezTo>
                  <a:cubicBezTo>
                    <a:pt x="299" y="156"/>
                    <a:pt x="298" y="155"/>
                    <a:pt x="297" y="155"/>
                  </a:cubicBezTo>
                  <a:cubicBezTo>
                    <a:pt x="297" y="154"/>
                    <a:pt x="295" y="154"/>
                    <a:pt x="294" y="154"/>
                  </a:cubicBezTo>
                  <a:cubicBezTo>
                    <a:pt x="294" y="153"/>
                    <a:pt x="295" y="153"/>
                    <a:pt x="294" y="151"/>
                  </a:cubicBezTo>
                  <a:cubicBezTo>
                    <a:pt x="293" y="150"/>
                    <a:pt x="292" y="148"/>
                    <a:pt x="293" y="146"/>
                  </a:cubicBezTo>
                  <a:cubicBezTo>
                    <a:pt x="294" y="143"/>
                    <a:pt x="291" y="142"/>
                    <a:pt x="291" y="140"/>
                  </a:cubicBezTo>
                  <a:cubicBezTo>
                    <a:pt x="291" y="138"/>
                    <a:pt x="293" y="137"/>
                    <a:pt x="292" y="135"/>
                  </a:cubicBezTo>
                  <a:cubicBezTo>
                    <a:pt x="290" y="133"/>
                    <a:pt x="286" y="133"/>
                    <a:pt x="283" y="133"/>
                  </a:cubicBezTo>
                  <a:cubicBezTo>
                    <a:pt x="282" y="133"/>
                    <a:pt x="281" y="133"/>
                    <a:pt x="279" y="133"/>
                  </a:cubicBezTo>
                  <a:cubicBezTo>
                    <a:pt x="279" y="133"/>
                    <a:pt x="277" y="135"/>
                    <a:pt x="277" y="135"/>
                  </a:cubicBezTo>
                  <a:cubicBezTo>
                    <a:pt x="277" y="134"/>
                    <a:pt x="278" y="134"/>
                    <a:pt x="277" y="133"/>
                  </a:cubicBezTo>
                  <a:cubicBezTo>
                    <a:pt x="277" y="132"/>
                    <a:pt x="276" y="131"/>
                    <a:pt x="275" y="131"/>
                  </a:cubicBezTo>
                  <a:cubicBezTo>
                    <a:pt x="273" y="130"/>
                    <a:pt x="271" y="130"/>
                    <a:pt x="269" y="129"/>
                  </a:cubicBezTo>
                  <a:cubicBezTo>
                    <a:pt x="266" y="128"/>
                    <a:pt x="264" y="125"/>
                    <a:pt x="261" y="123"/>
                  </a:cubicBezTo>
                  <a:cubicBezTo>
                    <a:pt x="259" y="122"/>
                    <a:pt x="257" y="121"/>
                    <a:pt x="256" y="121"/>
                  </a:cubicBezTo>
                  <a:cubicBezTo>
                    <a:pt x="254" y="121"/>
                    <a:pt x="252" y="119"/>
                    <a:pt x="250" y="119"/>
                  </a:cubicBezTo>
                  <a:cubicBezTo>
                    <a:pt x="249" y="119"/>
                    <a:pt x="240" y="121"/>
                    <a:pt x="240" y="121"/>
                  </a:cubicBezTo>
                  <a:cubicBezTo>
                    <a:pt x="240" y="120"/>
                    <a:pt x="241" y="120"/>
                    <a:pt x="242" y="119"/>
                  </a:cubicBezTo>
                  <a:cubicBezTo>
                    <a:pt x="242" y="118"/>
                    <a:pt x="241" y="117"/>
                    <a:pt x="241" y="117"/>
                  </a:cubicBezTo>
                  <a:cubicBezTo>
                    <a:pt x="240" y="114"/>
                    <a:pt x="239" y="112"/>
                    <a:pt x="238" y="110"/>
                  </a:cubicBezTo>
                  <a:cubicBezTo>
                    <a:pt x="237" y="108"/>
                    <a:pt x="236" y="108"/>
                    <a:pt x="234" y="108"/>
                  </a:cubicBezTo>
                  <a:cubicBezTo>
                    <a:pt x="231" y="108"/>
                    <a:pt x="230" y="108"/>
                    <a:pt x="230" y="105"/>
                  </a:cubicBezTo>
                  <a:cubicBezTo>
                    <a:pt x="231" y="103"/>
                    <a:pt x="230" y="100"/>
                    <a:pt x="230" y="98"/>
                  </a:cubicBezTo>
                  <a:cubicBezTo>
                    <a:pt x="231" y="95"/>
                    <a:pt x="233" y="93"/>
                    <a:pt x="234" y="90"/>
                  </a:cubicBezTo>
                  <a:cubicBezTo>
                    <a:pt x="235" y="88"/>
                    <a:pt x="235" y="87"/>
                    <a:pt x="237" y="86"/>
                  </a:cubicBezTo>
                  <a:cubicBezTo>
                    <a:pt x="238" y="86"/>
                    <a:pt x="237" y="85"/>
                    <a:pt x="237" y="84"/>
                  </a:cubicBezTo>
                  <a:cubicBezTo>
                    <a:pt x="238" y="84"/>
                    <a:pt x="240" y="82"/>
                    <a:pt x="240" y="82"/>
                  </a:cubicBezTo>
                  <a:cubicBezTo>
                    <a:pt x="240" y="82"/>
                    <a:pt x="240" y="82"/>
                    <a:pt x="239" y="81"/>
                  </a:cubicBezTo>
                  <a:cubicBezTo>
                    <a:pt x="239" y="81"/>
                    <a:pt x="240" y="81"/>
                    <a:pt x="240" y="81"/>
                  </a:cubicBezTo>
                  <a:cubicBezTo>
                    <a:pt x="240" y="79"/>
                    <a:pt x="242" y="80"/>
                    <a:pt x="243" y="80"/>
                  </a:cubicBezTo>
                  <a:cubicBezTo>
                    <a:pt x="244" y="80"/>
                    <a:pt x="244" y="79"/>
                    <a:pt x="244" y="79"/>
                  </a:cubicBezTo>
                  <a:cubicBezTo>
                    <a:pt x="245" y="77"/>
                    <a:pt x="243" y="78"/>
                    <a:pt x="242" y="77"/>
                  </a:cubicBezTo>
                  <a:cubicBezTo>
                    <a:pt x="242" y="77"/>
                    <a:pt x="244" y="77"/>
                    <a:pt x="244" y="77"/>
                  </a:cubicBezTo>
                  <a:cubicBezTo>
                    <a:pt x="245" y="76"/>
                    <a:pt x="246" y="77"/>
                    <a:pt x="246" y="77"/>
                  </a:cubicBezTo>
                  <a:cubicBezTo>
                    <a:pt x="248" y="79"/>
                    <a:pt x="248" y="77"/>
                    <a:pt x="250" y="76"/>
                  </a:cubicBezTo>
                  <a:cubicBezTo>
                    <a:pt x="252" y="74"/>
                    <a:pt x="248" y="72"/>
                    <a:pt x="246" y="71"/>
                  </a:cubicBezTo>
                  <a:cubicBezTo>
                    <a:pt x="245" y="71"/>
                    <a:pt x="241" y="72"/>
                    <a:pt x="241" y="72"/>
                  </a:cubicBezTo>
                  <a:cubicBezTo>
                    <a:pt x="240" y="70"/>
                    <a:pt x="243" y="70"/>
                    <a:pt x="240" y="69"/>
                  </a:cubicBezTo>
                  <a:cubicBezTo>
                    <a:pt x="239" y="69"/>
                    <a:pt x="234" y="69"/>
                    <a:pt x="234" y="68"/>
                  </a:cubicBezTo>
                  <a:cubicBezTo>
                    <a:pt x="234" y="67"/>
                    <a:pt x="236" y="67"/>
                    <a:pt x="236" y="67"/>
                  </a:cubicBezTo>
                  <a:cubicBezTo>
                    <a:pt x="237" y="66"/>
                    <a:pt x="237" y="67"/>
                    <a:pt x="238" y="67"/>
                  </a:cubicBezTo>
                  <a:cubicBezTo>
                    <a:pt x="237" y="68"/>
                    <a:pt x="240" y="68"/>
                    <a:pt x="240" y="68"/>
                  </a:cubicBezTo>
                  <a:cubicBezTo>
                    <a:pt x="242" y="68"/>
                    <a:pt x="245" y="70"/>
                    <a:pt x="246" y="70"/>
                  </a:cubicBezTo>
                  <a:cubicBezTo>
                    <a:pt x="247" y="70"/>
                    <a:pt x="248" y="71"/>
                    <a:pt x="249" y="71"/>
                  </a:cubicBezTo>
                  <a:cubicBezTo>
                    <a:pt x="251" y="72"/>
                    <a:pt x="250" y="71"/>
                    <a:pt x="251" y="71"/>
                  </a:cubicBezTo>
                  <a:cubicBezTo>
                    <a:pt x="252" y="71"/>
                    <a:pt x="255" y="71"/>
                    <a:pt x="254" y="70"/>
                  </a:cubicBezTo>
                  <a:cubicBezTo>
                    <a:pt x="253" y="69"/>
                    <a:pt x="254" y="67"/>
                    <a:pt x="255" y="66"/>
                  </a:cubicBezTo>
                  <a:cubicBezTo>
                    <a:pt x="255" y="67"/>
                    <a:pt x="258" y="68"/>
                    <a:pt x="258" y="68"/>
                  </a:cubicBezTo>
                  <a:cubicBezTo>
                    <a:pt x="260" y="68"/>
                    <a:pt x="261" y="68"/>
                    <a:pt x="263" y="67"/>
                  </a:cubicBezTo>
                  <a:cubicBezTo>
                    <a:pt x="264" y="66"/>
                    <a:pt x="265" y="64"/>
                    <a:pt x="266" y="63"/>
                  </a:cubicBezTo>
                  <a:cubicBezTo>
                    <a:pt x="267" y="62"/>
                    <a:pt x="269" y="61"/>
                    <a:pt x="268" y="59"/>
                  </a:cubicBezTo>
                  <a:cubicBezTo>
                    <a:pt x="267" y="57"/>
                    <a:pt x="264" y="58"/>
                    <a:pt x="263" y="58"/>
                  </a:cubicBezTo>
                  <a:cubicBezTo>
                    <a:pt x="260" y="58"/>
                    <a:pt x="258" y="57"/>
                    <a:pt x="256" y="56"/>
                  </a:cubicBezTo>
                  <a:cubicBezTo>
                    <a:pt x="255" y="55"/>
                    <a:pt x="254" y="54"/>
                    <a:pt x="252" y="53"/>
                  </a:cubicBezTo>
                  <a:cubicBezTo>
                    <a:pt x="252" y="53"/>
                    <a:pt x="247" y="53"/>
                    <a:pt x="247" y="53"/>
                  </a:cubicBezTo>
                  <a:cubicBezTo>
                    <a:pt x="247" y="52"/>
                    <a:pt x="252" y="53"/>
                    <a:pt x="253" y="53"/>
                  </a:cubicBezTo>
                  <a:cubicBezTo>
                    <a:pt x="255" y="53"/>
                    <a:pt x="255" y="52"/>
                    <a:pt x="257" y="53"/>
                  </a:cubicBezTo>
                  <a:cubicBezTo>
                    <a:pt x="261" y="55"/>
                    <a:pt x="265" y="59"/>
                    <a:pt x="269" y="56"/>
                  </a:cubicBezTo>
                  <a:cubicBezTo>
                    <a:pt x="271" y="54"/>
                    <a:pt x="272" y="53"/>
                    <a:pt x="273" y="51"/>
                  </a:cubicBezTo>
                  <a:cubicBezTo>
                    <a:pt x="274" y="50"/>
                    <a:pt x="268" y="49"/>
                    <a:pt x="271" y="47"/>
                  </a:cubicBezTo>
                  <a:cubicBezTo>
                    <a:pt x="272" y="47"/>
                    <a:pt x="275" y="47"/>
                    <a:pt x="276" y="48"/>
                  </a:cubicBezTo>
                  <a:cubicBezTo>
                    <a:pt x="279" y="48"/>
                    <a:pt x="279" y="50"/>
                    <a:pt x="282" y="48"/>
                  </a:cubicBezTo>
                  <a:cubicBezTo>
                    <a:pt x="282" y="48"/>
                    <a:pt x="285" y="49"/>
                    <a:pt x="284" y="47"/>
                  </a:cubicBezTo>
                  <a:cubicBezTo>
                    <a:pt x="283" y="46"/>
                    <a:pt x="279" y="44"/>
                    <a:pt x="278" y="44"/>
                  </a:cubicBezTo>
                  <a:cubicBezTo>
                    <a:pt x="280" y="43"/>
                    <a:pt x="282" y="45"/>
                    <a:pt x="284" y="45"/>
                  </a:cubicBezTo>
                  <a:cubicBezTo>
                    <a:pt x="285" y="45"/>
                    <a:pt x="287" y="50"/>
                    <a:pt x="289" y="49"/>
                  </a:cubicBezTo>
                  <a:cubicBezTo>
                    <a:pt x="289" y="49"/>
                    <a:pt x="288" y="48"/>
                    <a:pt x="288" y="48"/>
                  </a:cubicBezTo>
                  <a:cubicBezTo>
                    <a:pt x="289" y="47"/>
                    <a:pt x="290" y="47"/>
                    <a:pt x="292" y="46"/>
                  </a:cubicBezTo>
                  <a:cubicBezTo>
                    <a:pt x="293" y="45"/>
                    <a:pt x="296" y="42"/>
                    <a:pt x="297" y="41"/>
                  </a:cubicBezTo>
                  <a:cubicBezTo>
                    <a:pt x="297" y="38"/>
                    <a:pt x="295" y="38"/>
                    <a:pt x="293" y="36"/>
                  </a:cubicBezTo>
                  <a:cubicBezTo>
                    <a:pt x="293" y="36"/>
                    <a:pt x="290" y="30"/>
                    <a:pt x="290" y="31"/>
                  </a:cubicBezTo>
                  <a:cubicBezTo>
                    <a:pt x="291" y="30"/>
                    <a:pt x="295" y="30"/>
                    <a:pt x="296" y="30"/>
                  </a:cubicBezTo>
                  <a:cubicBezTo>
                    <a:pt x="299" y="29"/>
                    <a:pt x="294" y="28"/>
                    <a:pt x="294" y="27"/>
                  </a:cubicBezTo>
                  <a:cubicBezTo>
                    <a:pt x="293" y="26"/>
                    <a:pt x="297" y="26"/>
                    <a:pt x="297" y="25"/>
                  </a:cubicBezTo>
                  <a:cubicBezTo>
                    <a:pt x="297" y="25"/>
                    <a:pt x="287" y="21"/>
                    <a:pt x="287" y="21"/>
                  </a:cubicBezTo>
                  <a:cubicBezTo>
                    <a:pt x="288" y="21"/>
                    <a:pt x="290" y="20"/>
                    <a:pt x="291" y="20"/>
                  </a:cubicBezTo>
                  <a:cubicBezTo>
                    <a:pt x="288" y="20"/>
                    <a:pt x="285" y="19"/>
                    <a:pt x="282" y="19"/>
                  </a:cubicBezTo>
                  <a:cubicBezTo>
                    <a:pt x="280" y="19"/>
                    <a:pt x="277" y="20"/>
                    <a:pt x="276" y="19"/>
                  </a:cubicBezTo>
                  <a:cubicBezTo>
                    <a:pt x="278" y="20"/>
                    <a:pt x="275" y="21"/>
                    <a:pt x="276" y="23"/>
                  </a:cubicBezTo>
                  <a:cubicBezTo>
                    <a:pt x="277" y="24"/>
                    <a:pt x="280" y="25"/>
                    <a:pt x="280" y="26"/>
                  </a:cubicBezTo>
                  <a:cubicBezTo>
                    <a:pt x="280" y="26"/>
                    <a:pt x="278" y="27"/>
                    <a:pt x="278" y="27"/>
                  </a:cubicBezTo>
                  <a:cubicBezTo>
                    <a:pt x="278" y="27"/>
                    <a:pt x="280" y="28"/>
                    <a:pt x="279" y="28"/>
                  </a:cubicBezTo>
                  <a:cubicBezTo>
                    <a:pt x="277" y="29"/>
                    <a:pt x="276" y="27"/>
                    <a:pt x="275" y="31"/>
                  </a:cubicBezTo>
                  <a:cubicBezTo>
                    <a:pt x="274" y="33"/>
                    <a:pt x="274" y="35"/>
                    <a:pt x="273" y="37"/>
                  </a:cubicBezTo>
                  <a:cubicBezTo>
                    <a:pt x="272" y="37"/>
                    <a:pt x="271" y="38"/>
                    <a:pt x="271" y="39"/>
                  </a:cubicBezTo>
                  <a:cubicBezTo>
                    <a:pt x="271" y="40"/>
                    <a:pt x="270" y="40"/>
                    <a:pt x="270" y="41"/>
                  </a:cubicBezTo>
                  <a:cubicBezTo>
                    <a:pt x="267" y="42"/>
                    <a:pt x="268" y="43"/>
                    <a:pt x="266" y="40"/>
                  </a:cubicBezTo>
                  <a:cubicBezTo>
                    <a:pt x="265" y="39"/>
                    <a:pt x="262" y="37"/>
                    <a:pt x="262" y="35"/>
                  </a:cubicBezTo>
                  <a:cubicBezTo>
                    <a:pt x="262" y="35"/>
                    <a:pt x="262" y="32"/>
                    <a:pt x="263" y="32"/>
                  </a:cubicBezTo>
                  <a:cubicBezTo>
                    <a:pt x="263" y="32"/>
                    <a:pt x="265" y="33"/>
                    <a:pt x="265" y="31"/>
                  </a:cubicBezTo>
                  <a:cubicBezTo>
                    <a:pt x="264" y="29"/>
                    <a:pt x="264" y="28"/>
                    <a:pt x="262" y="26"/>
                  </a:cubicBezTo>
                  <a:cubicBezTo>
                    <a:pt x="260" y="25"/>
                    <a:pt x="258" y="23"/>
                    <a:pt x="256" y="25"/>
                  </a:cubicBezTo>
                  <a:cubicBezTo>
                    <a:pt x="255" y="26"/>
                    <a:pt x="255" y="28"/>
                    <a:pt x="255" y="30"/>
                  </a:cubicBezTo>
                  <a:cubicBezTo>
                    <a:pt x="255" y="31"/>
                    <a:pt x="251" y="31"/>
                    <a:pt x="251" y="30"/>
                  </a:cubicBezTo>
                  <a:cubicBezTo>
                    <a:pt x="251" y="29"/>
                    <a:pt x="251" y="26"/>
                    <a:pt x="250" y="25"/>
                  </a:cubicBezTo>
                  <a:cubicBezTo>
                    <a:pt x="246" y="22"/>
                    <a:pt x="251" y="25"/>
                    <a:pt x="251" y="24"/>
                  </a:cubicBezTo>
                  <a:cubicBezTo>
                    <a:pt x="252" y="24"/>
                    <a:pt x="253" y="23"/>
                    <a:pt x="252" y="23"/>
                  </a:cubicBezTo>
                  <a:cubicBezTo>
                    <a:pt x="252" y="22"/>
                    <a:pt x="251" y="21"/>
                    <a:pt x="250" y="22"/>
                  </a:cubicBezTo>
                  <a:cubicBezTo>
                    <a:pt x="249" y="23"/>
                    <a:pt x="249" y="21"/>
                    <a:pt x="248" y="21"/>
                  </a:cubicBezTo>
                  <a:cubicBezTo>
                    <a:pt x="247" y="20"/>
                    <a:pt x="246" y="22"/>
                    <a:pt x="245" y="21"/>
                  </a:cubicBezTo>
                  <a:cubicBezTo>
                    <a:pt x="243" y="20"/>
                    <a:pt x="242" y="21"/>
                    <a:pt x="243" y="18"/>
                  </a:cubicBezTo>
                  <a:cubicBezTo>
                    <a:pt x="243" y="18"/>
                    <a:pt x="243" y="18"/>
                    <a:pt x="244" y="18"/>
                  </a:cubicBezTo>
                  <a:cubicBezTo>
                    <a:pt x="244" y="17"/>
                    <a:pt x="244" y="17"/>
                    <a:pt x="244" y="16"/>
                  </a:cubicBezTo>
                  <a:cubicBezTo>
                    <a:pt x="245" y="16"/>
                    <a:pt x="245" y="16"/>
                    <a:pt x="246" y="16"/>
                  </a:cubicBezTo>
                  <a:cubicBezTo>
                    <a:pt x="245" y="16"/>
                    <a:pt x="244" y="13"/>
                    <a:pt x="244" y="13"/>
                  </a:cubicBezTo>
                  <a:cubicBezTo>
                    <a:pt x="243" y="11"/>
                    <a:pt x="241" y="11"/>
                    <a:pt x="241" y="10"/>
                  </a:cubicBezTo>
                  <a:cubicBezTo>
                    <a:pt x="239" y="9"/>
                    <a:pt x="240" y="9"/>
                    <a:pt x="239" y="7"/>
                  </a:cubicBezTo>
                  <a:cubicBezTo>
                    <a:pt x="239" y="5"/>
                    <a:pt x="237" y="4"/>
                    <a:pt x="237" y="3"/>
                  </a:cubicBezTo>
                  <a:cubicBezTo>
                    <a:pt x="236" y="1"/>
                    <a:pt x="234" y="1"/>
                    <a:pt x="232" y="1"/>
                  </a:cubicBezTo>
                  <a:cubicBezTo>
                    <a:pt x="231" y="1"/>
                    <a:pt x="232" y="0"/>
                    <a:pt x="230" y="0"/>
                  </a:cubicBezTo>
                  <a:cubicBezTo>
                    <a:pt x="229" y="0"/>
                    <a:pt x="228" y="0"/>
                    <a:pt x="228" y="2"/>
                  </a:cubicBezTo>
                  <a:cubicBezTo>
                    <a:pt x="228" y="2"/>
                    <a:pt x="225" y="3"/>
                    <a:pt x="225" y="3"/>
                  </a:cubicBezTo>
                  <a:cubicBezTo>
                    <a:pt x="226" y="3"/>
                    <a:pt x="228" y="3"/>
                    <a:pt x="228" y="4"/>
                  </a:cubicBezTo>
                  <a:cubicBezTo>
                    <a:pt x="228" y="4"/>
                    <a:pt x="226" y="5"/>
                    <a:pt x="226" y="5"/>
                  </a:cubicBezTo>
                  <a:cubicBezTo>
                    <a:pt x="225" y="6"/>
                    <a:pt x="224" y="4"/>
                    <a:pt x="223" y="6"/>
                  </a:cubicBezTo>
                  <a:cubicBezTo>
                    <a:pt x="222" y="6"/>
                    <a:pt x="221" y="9"/>
                    <a:pt x="221" y="10"/>
                  </a:cubicBezTo>
                  <a:cubicBezTo>
                    <a:pt x="222" y="10"/>
                    <a:pt x="224" y="10"/>
                    <a:pt x="225" y="11"/>
                  </a:cubicBezTo>
                  <a:cubicBezTo>
                    <a:pt x="224" y="10"/>
                    <a:pt x="222" y="14"/>
                    <a:pt x="222" y="15"/>
                  </a:cubicBezTo>
                  <a:cubicBezTo>
                    <a:pt x="222" y="16"/>
                    <a:pt x="224" y="18"/>
                    <a:pt x="225" y="19"/>
                  </a:cubicBezTo>
                  <a:cubicBezTo>
                    <a:pt x="226" y="19"/>
                    <a:pt x="228" y="21"/>
                    <a:pt x="229" y="21"/>
                  </a:cubicBezTo>
                  <a:cubicBezTo>
                    <a:pt x="231" y="20"/>
                    <a:pt x="231" y="20"/>
                    <a:pt x="232" y="21"/>
                  </a:cubicBezTo>
                  <a:cubicBezTo>
                    <a:pt x="233" y="21"/>
                    <a:pt x="235" y="23"/>
                    <a:pt x="235" y="23"/>
                  </a:cubicBezTo>
                  <a:cubicBezTo>
                    <a:pt x="234" y="24"/>
                    <a:pt x="233" y="22"/>
                    <a:pt x="233" y="24"/>
                  </a:cubicBezTo>
                  <a:cubicBezTo>
                    <a:pt x="233" y="26"/>
                    <a:pt x="232" y="26"/>
                    <a:pt x="232" y="27"/>
                  </a:cubicBezTo>
                  <a:cubicBezTo>
                    <a:pt x="231" y="29"/>
                    <a:pt x="233" y="29"/>
                    <a:pt x="234" y="28"/>
                  </a:cubicBezTo>
                  <a:cubicBezTo>
                    <a:pt x="234" y="28"/>
                    <a:pt x="236" y="25"/>
                    <a:pt x="236" y="26"/>
                  </a:cubicBezTo>
                  <a:cubicBezTo>
                    <a:pt x="237" y="27"/>
                    <a:pt x="236" y="29"/>
                    <a:pt x="236" y="30"/>
                  </a:cubicBezTo>
                  <a:cubicBezTo>
                    <a:pt x="235" y="31"/>
                    <a:pt x="234" y="31"/>
                    <a:pt x="233" y="31"/>
                  </a:cubicBezTo>
                  <a:cubicBezTo>
                    <a:pt x="233" y="32"/>
                    <a:pt x="233" y="33"/>
                    <a:pt x="232" y="34"/>
                  </a:cubicBezTo>
                  <a:cubicBezTo>
                    <a:pt x="231" y="34"/>
                    <a:pt x="229" y="34"/>
                    <a:pt x="228" y="35"/>
                  </a:cubicBezTo>
                  <a:cubicBezTo>
                    <a:pt x="227" y="35"/>
                    <a:pt x="226" y="37"/>
                    <a:pt x="226" y="37"/>
                  </a:cubicBezTo>
                  <a:cubicBezTo>
                    <a:pt x="227" y="38"/>
                    <a:pt x="228" y="39"/>
                    <a:pt x="228" y="41"/>
                  </a:cubicBezTo>
                  <a:cubicBezTo>
                    <a:pt x="228" y="42"/>
                    <a:pt x="227" y="41"/>
                    <a:pt x="226" y="40"/>
                  </a:cubicBezTo>
                  <a:cubicBezTo>
                    <a:pt x="226" y="40"/>
                    <a:pt x="225" y="40"/>
                    <a:pt x="225" y="41"/>
                  </a:cubicBezTo>
                  <a:cubicBezTo>
                    <a:pt x="224" y="41"/>
                    <a:pt x="222" y="40"/>
                    <a:pt x="222" y="39"/>
                  </a:cubicBezTo>
                  <a:cubicBezTo>
                    <a:pt x="222" y="38"/>
                    <a:pt x="224" y="35"/>
                    <a:pt x="224" y="34"/>
                  </a:cubicBezTo>
                  <a:cubicBezTo>
                    <a:pt x="225" y="32"/>
                    <a:pt x="222" y="34"/>
                    <a:pt x="222" y="34"/>
                  </a:cubicBezTo>
                  <a:cubicBezTo>
                    <a:pt x="221" y="34"/>
                    <a:pt x="218" y="32"/>
                    <a:pt x="217" y="31"/>
                  </a:cubicBezTo>
                  <a:cubicBezTo>
                    <a:pt x="215" y="30"/>
                    <a:pt x="216" y="32"/>
                    <a:pt x="214" y="32"/>
                  </a:cubicBezTo>
                  <a:cubicBezTo>
                    <a:pt x="213" y="32"/>
                    <a:pt x="210" y="31"/>
                    <a:pt x="212" y="33"/>
                  </a:cubicBezTo>
                  <a:cubicBezTo>
                    <a:pt x="213" y="34"/>
                    <a:pt x="213" y="35"/>
                    <a:pt x="215" y="35"/>
                  </a:cubicBezTo>
                  <a:cubicBezTo>
                    <a:pt x="216" y="35"/>
                    <a:pt x="218" y="35"/>
                    <a:pt x="218" y="37"/>
                  </a:cubicBezTo>
                  <a:cubicBezTo>
                    <a:pt x="220" y="41"/>
                    <a:pt x="214" y="36"/>
                    <a:pt x="213" y="35"/>
                  </a:cubicBezTo>
                  <a:cubicBezTo>
                    <a:pt x="211" y="35"/>
                    <a:pt x="211" y="37"/>
                    <a:pt x="209" y="37"/>
                  </a:cubicBezTo>
                  <a:cubicBezTo>
                    <a:pt x="207" y="37"/>
                    <a:pt x="206" y="36"/>
                    <a:pt x="204" y="36"/>
                  </a:cubicBezTo>
                  <a:cubicBezTo>
                    <a:pt x="200" y="37"/>
                    <a:pt x="197" y="37"/>
                    <a:pt x="193" y="37"/>
                  </a:cubicBezTo>
                  <a:cubicBezTo>
                    <a:pt x="190" y="36"/>
                    <a:pt x="186" y="34"/>
                    <a:pt x="182" y="33"/>
                  </a:cubicBezTo>
                  <a:cubicBezTo>
                    <a:pt x="181" y="33"/>
                    <a:pt x="179" y="33"/>
                    <a:pt x="178" y="32"/>
                  </a:cubicBezTo>
                  <a:cubicBezTo>
                    <a:pt x="177" y="30"/>
                    <a:pt x="177" y="28"/>
                    <a:pt x="176" y="28"/>
                  </a:cubicBezTo>
                  <a:cubicBezTo>
                    <a:pt x="174" y="27"/>
                    <a:pt x="172" y="28"/>
                    <a:pt x="171" y="28"/>
                  </a:cubicBezTo>
                  <a:cubicBezTo>
                    <a:pt x="168" y="29"/>
                    <a:pt x="166" y="29"/>
                    <a:pt x="164" y="29"/>
                  </a:cubicBezTo>
                  <a:cubicBezTo>
                    <a:pt x="163" y="30"/>
                    <a:pt x="161" y="31"/>
                    <a:pt x="161" y="32"/>
                  </a:cubicBezTo>
                  <a:cubicBezTo>
                    <a:pt x="161" y="32"/>
                    <a:pt x="165" y="34"/>
                    <a:pt x="166" y="34"/>
                  </a:cubicBezTo>
                  <a:cubicBezTo>
                    <a:pt x="166" y="34"/>
                    <a:pt x="165" y="31"/>
                    <a:pt x="167" y="32"/>
                  </a:cubicBezTo>
                  <a:cubicBezTo>
                    <a:pt x="168" y="32"/>
                    <a:pt x="168" y="33"/>
                    <a:pt x="169" y="32"/>
                  </a:cubicBezTo>
                  <a:cubicBezTo>
                    <a:pt x="170" y="32"/>
                    <a:pt x="176" y="28"/>
                    <a:pt x="176" y="30"/>
                  </a:cubicBezTo>
                  <a:cubicBezTo>
                    <a:pt x="176" y="31"/>
                    <a:pt x="173" y="32"/>
                    <a:pt x="172" y="33"/>
                  </a:cubicBezTo>
                  <a:cubicBezTo>
                    <a:pt x="171" y="34"/>
                    <a:pt x="169" y="34"/>
                    <a:pt x="167" y="34"/>
                  </a:cubicBezTo>
                  <a:cubicBezTo>
                    <a:pt x="166" y="35"/>
                    <a:pt x="163" y="37"/>
                    <a:pt x="165" y="38"/>
                  </a:cubicBezTo>
                  <a:cubicBezTo>
                    <a:pt x="167" y="38"/>
                    <a:pt x="167" y="39"/>
                    <a:pt x="166" y="41"/>
                  </a:cubicBezTo>
                  <a:cubicBezTo>
                    <a:pt x="166" y="42"/>
                    <a:pt x="168" y="42"/>
                    <a:pt x="168" y="43"/>
                  </a:cubicBezTo>
                  <a:cubicBezTo>
                    <a:pt x="169" y="44"/>
                    <a:pt x="169" y="46"/>
                    <a:pt x="167" y="44"/>
                  </a:cubicBezTo>
                  <a:cubicBezTo>
                    <a:pt x="165" y="42"/>
                    <a:pt x="167" y="46"/>
                    <a:pt x="166" y="45"/>
                  </a:cubicBezTo>
                  <a:cubicBezTo>
                    <a:pt x="165" y="45"/>
                    <a:pt x="163" y="42"/>
                    <a:pt x="162" y="43"/>
                  </a:cubicBezTo>
                  <a:cubicBezTo>
                    <a:pt x="164" y="42"/>
                    <a:pt x="167" y="43"/>
                    <a:pt x="164" y="41"/>
                  </a:cubicBezTo>
                  <a:cubicBezTo>
                    <a:pt x="165" y="41"/>
                    <a:pt x="166" y="40"/>
                    <a:pt x="164" y="39"/>
                  </a:cubicBezTo>
                  <a:cubicBezTo>
                    <a:pt x="166" y="40"/>
                    <a:pt x="161" y="40"/>
                    <a:pt x="162" y="40"/>
                  </a:cubicBezTo>
                  <a:cubicBezTo>
                    <a:pt x="162" y="39"/>
                    <a:pt x="162" y="39"/>
                    <a:pt x="163" y="39"/>
                  </a:cubicBezTo>
                  <a:cubicBezTo>
                    <a:pt x="163" y="38"/>
                    <a:pt x="160" y="40"/>
                    <a:pt x="160" y="40"/>
                  </a:cubicBezTo>
                  <a:cubicBezTo>
                    <a:pt x="159" y="40"/>
                    <a:pt x="160" y="38"/>
                    <a:pt x="159" y="37"/>
                  </a:cubicBezTo>
                  <a:cubicBezTo>
                    <a:pt x="159" y="37"/>
                    <a:pt x="157" y="37"/>
                    <a:pt x="157" y="37"/>
                  </a:cubicBezTo>
                  <a:cubicBezTo>
                    <a:pt x="155" y="37"/>
                    <a:pt x="155" y="34"/>
                    <a:pt x="153" y="35"/>
                  </a:cubicBezTo>
                  <a:cubicBezTo>
                    <a:pt x="151" y="37"/>
                    <a:pt x="150" y="37"/>
                    <a:pt x="147" y="37"/>
                  </a:cubicBezTo>
                  <a:cubicBezTo>
                    <a:pt x="143" y="37"/>
                    <a:pt x="140" y="37"/>
                    <a:pt x="136" y="37"/>
                  </a:cubicBezTo>
                  <a:cubicBezTo>
                    <a:pt x="135" y="37"/>
                    <a:pt x="128" y="37"/>
                    <a:pt x="128" y="36"/>
                  </a:cubicBezTo>
                  <a:cubicBezTo>
                    <a:pt x="127" y="36"/>
                    <a:pt x="130" y="34"/>
                    <a:pt x="131" y="33"/>
                  </a:cubicBezTo>
                  <a:cubicBezTo>
                    <a:pt x="132" y="32"/>
                    <a:pt x="133" y="33"/>
                    <a:pt x="135" y="33"/>
                  </a:cubicBezTo>
                  <a:cubicBezTo>
                    <a:pt x="136" y="32"/>
                    <a:pt x="133" y="30"/>
                    <a:pt x="133" y="30"/>
                  </a:cubicBezTo>
                  <a:cubicBezTo>
                    <a:pt x="131" y="28"/>
                    <a:pt x="130" y="28"/>
                    <a:pt x="128" y="27"/>
                  </a:cubicBezTo>
                  <a:cubicBezTo>
                    <a:pt x="127" y="27"/>
                    <a:pt x="126" y="26"/>
                    <a:pt x="125" y="27"/>
                  </a:cubicBezTo>
                  <a:cubicBezTo>
                    <a:pt x="124" y="28"/>
                    <a:pt x="123" y="29"/>
                    <a:pt x="122" y="28"/>
                  </a:cubicBezTo>
                  <a:cubicBezTo>
                    <a:pt x="119" y="26"/>
                    <a:pt x="116" y="26"/>
                    <a:pt x="113" y="25"/>
                  </a:cubicBezTo>
                  <a:cubicBezTo>
                    <a:pt x="109" y="24"/>
                    <a:pt x="106" y="24"/>
                    <a:pt x="102" y="22"/>
                  </a:cubicBezTo>
                  <a:cubicBezTo>
                    <a:pt x="99" y="20"/>
                    <a:pt x="97" y="19"/>
                    <a:pt x="93" y="19"/>
                  </a:cubicBezTo>
                  <a:cubicBezTo>
                    <a:pt x="92" y="19"/>
                    <a:pt x="91" y="19"/>
                    <a:pt x="90" y="20"/>
                  </a:cubicBezTo>
                  <a:cubicBezTo>
                    <a:pt x="89" y="21"/>
                    <a:pt x="88" y="23"/>
                    <a:pt x="87" y="23"/>
                  </a:cubicBezTo>
                  <a:cubicBezTo>
                    <a:pt x="86" y="23"/>
                    <a:pt x="83" y="24"/>
                    <a:pt x="83" y="23"/>
                  </a:cubicBezTo>
                  <a:cubicBezTo>
                    <a:pt x="83" y="22"/>
                    <a:pt x="85" y="21"/>
                    <a:pt x="85" y="20"/>
                  </a:cubicBezTo>
                  <a:cubicBezTo>
                    <a:pt x="85" y="20"/>
                    <a:pt x="82" y="21"/>
                    <a:pt x="82" y="20"/>
                  </a:cubicBezTo>
                  <a:cubicBezTo>
                    <a:pt x="83" y="19"/>
                    <a:pt x="83" y="18"/>
                    <a:pt x="82" y="17"/>
                  </a:cubicBezTo>
                  <a:cubicBezTo>
                    <a:pt x="82" y="15"/>
                    <a:pt x="78" y="17"/>
                    <a:pt x="78" y="18"/>
                  </a:cubicBezTo>
                  <a:cubicBezTo>
                    <a:pt x="78" y="18"/>
                    <a:pt x="80" y="17"/>
                    <a:pt x="80" y="18"/>
                  </a:cubicBezTo>
                  <a:cubicBezTo>
                    <a:pt x="81" y="18"/>
                    <a:pt x="77" y="20"/>
                    <a:pt x="80" y="20"/>
                  </a:cubicBezTo>
                  <a:cubicBezTo>
                    <a:pt x="79" y="20"/>
                    <a:pt x="78" y="20"/>
                    <a:pt x="78" y="22"/>
                  </a:cubicBezTo>
                  <a:cubicBezTo>
                    <a:pt x="78" y="23"/>
                    <a:pt x="77" y="24"/>
                    <a:pt x="76" y="23"/>
                  </a:cubicBezTo>
                  <a:cubicBezTo>
                    <a:pt x="73" y="22"/>
                    <a:pt x="72" y="21"/>
                    <a:pt x="71" y="18"/>
                  </a:cubicBezTo>
                  <a:cubicBezTo>
                    <a:pt x="70" y="16"/>
                    <a:pt x="68" y="15"/>
                    <a:pt x="66" y="13"/>
                  </a:cubicBezTo>
                  <a:cubicBezTo>
                    <a:pt x="65" y="13"/>
                    <a:pt x="64" y="11"/>
                    <a:pt x="63" y="12"/>
                  </a:cubicBezTo>
                  <a:cubicBezTo>
                    <a:pt x="63" y="14"/>
                    <a:pt x="66" y="15"/>
                    <a:pt x="67" y="16"/>
                  </a:cubicBezTo>
                  <a:cubicBezTo>
                    <a:pt x="67" y="15"/>
                    <a:pt x="63" y="16"/>
                    <a:pt x="63" y="17"/>
                  </a:cubicBezTo>
                  <a:cubicBezTo>
                    <a:pt x="62" y="18"/>
                    <a:pt x="63" y="18"/>
                    <a:pt x="62" y="19"/>
                  </a:cubicBezTo>
                  <a:cubicBezTo>
                    <a:pt x="61" y="19"/>
                    <a:pt x="60" y="21"/>
                    <a:pt x="59" y="20"/>
                  </a:cubicBezTo>
                  <a:cubicBezTo>
                    <a:pt x="59" y="20"/>
                    <a:pt x="59" y="19"/>
                    <a:pt x="59" y="19"/>
                  </a:cubicBezTo>
                  <a:cubicBezTo>
                    <a:pt x="59" y="18"/>
                    <a:pt x="54" y="20"/>
                    <a:pt x="54" y="21"/>
                  </a:cubicBezTo>
                  <a:cubicBezTo>
                    <a:pt x="53" y="22"/>
                    <a:pt x="52" y="23"/>
                    <a:pt x="50" y="24"/>
                  </a:cubicBezTo>
                  <a:cubicBezTo>
                    <a:pt x="49" y="25"/>
                    <a:pt x="50" y="22"/>
                    <a:pt x="49" y="22"/>
                  </a:cubicBezTo>
                  <a:cubicBezTo>
                    <a:pt x="48" y="22"/>
                    <a:pt x="47" y="23"/>
                    <a:pt x="46" y="23"/>
                  </a:cubicBezTo>
                  <a:cubicBezTo>
                    <a:pt x="45" y="23"/>
                    <a:pt x="45" y="25"/>
                    <a:pt x="44" y="25"/>
                  </a:cubicBezTo>
                  <a:cubicBezTo>
                    <a:pt x="43" y="25"/>
                    <a:pt x="40" y="27"/>
                    <a:pt x="41" y="27"/>
                  </a:cubicBezTo>
                  <a:cubicBezTo>
                    <a:pt x="41" y="28"/>
                    <a:pt x="43" y="28"/>
                    <a:pt x="40" y="29"/>
                  </a:cubicBezTo>
                  <a:cubicBezTo>
                    <a:pt x="40" y="29"/>
                    <a:pt x="37" y="29"/>
                    <a:pt x="37" y="28"/>
                  </a:cubicBezTo>
                  <a:cubicBezTo>
                    <a:pt x="37" y="27"/>
                    <a:pt x="40" y="26"/>
                    <a:pt x="40" y="26"/>
                  </a:cubicBezTo>
                  <a:cubicBezTo>
                    <a:pt x="41" y="24"/>
                    <a:pt x="43" y="23"/>
                    <a:pt x="44" y="22"/>
                  </a:cubicBezTo>
                  <a:cubicBezTo>
                    <a:pt x="46" y="21"/>
                    <a:pt x="47" y="21"/>
                    <a:pt x="49" y="22"/>
                  </a:cubicBezTo>
                  <a:cubicBezTo>
                    <a:pt x="48" y="22"/>
                    <a:pt x="56" y="18"/>
                    <a:pt x="56" y="18"/>
                  </a:cubicBezTo>
                  <a:cubicBezTo>
                    <a:pt x="58" y="17"/>
                    <a:pt x="57" y="16"/>
                    <a:pt x="56" y="16"/>
                  </a:cubicBezTo>
                  <a:cubicBezTo>
                    <a:pt x="54" y="16"/>
                    <a:pt x="52" y="16"/>
                    <a:pt x="50" y="17"/>
                  </a:cubicBezTo>
                  <a:cubicBezTo>
                    <a:pt x="49" y="17"/>
                    <a:pt x="49" y="19"/>
                    <a:pt x="47" y="19"/>
                  </a:cubicBezTo>
                  <a:cubicBezTo>
                    <a:pt x="46" y="19"/>
                    <a:pt x="44" y="20"/>
                    <a:pt x="43" y="20"/>
                  </a:cubicBezTo>
                  <a:cubicBezTo>
                    <a:pt x="41" y="20"/>
                    <a:pt x="36" y="25"/>
                    <a:pt x="35" y="24"/>
                  </a:cubicBezTo>
                  <a:cubicBezTo>
                    <a:pt x="34" y="24"/>
                    <a:pt x="36" y="23"/>
                    <a:pt x="36" y="22"/>
                  </a:cubicBezTo>
                  <a:cubicBezTo>
                    <a:pt x="36" y="22"/>
                    <a:pt x="33" y="21"/>
                    <a:pt x="33" y="21"/>
                  </a:cubicBezTo>
                  <a:cubicBezTo>
                    <a:pt x="33" y="21"/>
                    <a:pt x="30" y="23"/>
                    <a:pt x="29" y="23"/>
                  </a:cubicBezTo>
                  <a:cubicBezTo>
                    <a:pt x="28" y="23"/>
                    <a:pt x="26" y="24"/>
                    <a:pt x="25" y="25"/>
                  </a:cubicBezTo>
                  <a:cubicBezTo>
                    <a:pt x="24" y="25"/>
                    <a:pt x="26" y="26"/>
                    <a:pt x="26" y="26"/>
                  </a:cubicBezTo>
                  <a:cubicBezTo>
                    <a:pt x="27" y="26"/>
                    <a:pt x="26" y="27"/>
                    <a:pt x="26" y="27"/>
                  </a:cubicBezTo>
                  <a:cubicBezTo>
                    <a:pt x="26" y="28"/>
                    <a:pt x="30" y="27"/>
                    <a:pt x="30" y="27"/>
                  </a:cubicBezTo>
                  <a:cubicBezTo>
                    <a:pt x="31" y="26"/>
                    <a:pt x="33" y="25"/>
                    <a:pt x="34" y="24"/>
                  </a:cubicBezTo>
                  <a:cubicBezTo>
                    <a:pt x="29" y="26"/>
                    <a:pt x="34" y="27"/>
                    <a:pt x="33" y="29"/>
                  </a:cubicBezTo>
                  <a:cubicBezTo>
                    <a:pt x="33" y="29"/>
                    <a:pt x="32" y="28"/>
                    <a:pt x="32" y="28"/>
                  </a:cubicBezTo>
                  <a:cubicBezTo>
                    <a:pt x="30" y="27"/>
                    <a:pt x="29" y="28"/>
                    <a:pt x="28" y="29"/>
                  </a:cubicBezTo>
                  <a:cubicBezTo>
                    <a:pt x="27" y="29"/>
                    <a:pt x="23" y="28"/>
                    <a:pt x="21" y="28"/>
                  </a:cubicBezTo>
                  <a:cubicBezTo>
                    <a:pt x="19" y="28"/>
                    <a:pt x="16" y="26"/>
                    <a:pt x="14" y="25"/>
                  </a:cubicBezTo>
                  <a:cubicBezTo>
                    <a:pt x="13" y="25"/>
                    <a:pt x="12" y="24"/>
                    <a:pt x="11" y="24"/>
                  </a:cubicBezTo>
                  <a:cubicBezTo>
                    <a:pt x="10" y="23"/>
                    <a:pt x="9" y="21"/>
                    <a:pt x="10" y="21"/>
                  </a:cubicBezTo>
                  <a:cubicBezTo>
                    <a:pt x="9" y="21"/>
                    <a:pt x="7" y="21"/>
                    <a:pt x="6" y="22"/>
                  </a:cubicBezTo>
                  <a:cubicBezTo>
                    <a:pt x="4" y="22"/>
                    <a:pt x="2" y="22"/>
                    <a:pt x="0" y="21"/>
                  </a:cubicBezTo>
                  <a:cubicBezTo>
                    <a:pt x="0" y="41"/>
                    <a:pt x="0" y="61"/>
                    <a:pt x="0" y="80"/>
                  </a:cubicBezTo>
                  <a:cubicBezTo>
                    <a:pt x="0" y="85"/>
                    <a:pt x="0" y="89"/>
                    <a:pt x="0" y="94"/>
                  </a:cubicBezTo>
                  <a:cubicBezTo>
                    <a:pt x="0" y="95"/>
                    <a:pt x="0" y="96"/>
                    <a:pt x="0" y="97"/>
                  </a:cubicBezTo>
                  <a:cubicBezTo>
                    <a:pt x="0" y="99"/>
                    <a:pt x="2" y="97"/>
                    <a:pt x="3" y="97"/>
                  </a:cubicBezTo>
                  <a:cubicBezTo>
                    <a:pt x="5" y="98"/>
                    <a:pt x="5" y="97"/>
                    <a:pt x="7" y="97"/>
                  </a:cubicBezTo>
                  <a:cubicBezTo>
                    <a:pt x="9" y="97"/>
                    <a:pt x="9" y="98"/>
                    <a:pt x="10" y="99"/>
                  </a:cubicBezTo>
                  <a:cubicBezTo>
                    <a:pt x="11" y="101"/>
                    <a:pt x="16" y="107"/>
                    <a:pt x="18" y="107"/>
                  </a:cubicBezTo>
                  <a:cubicBezTo>
                    <a:pt x="19" y="107"/>
                    <a:pt x="21" y="106"/>
                    <a:pt x="22" y="105"/>
                  </a:cubicBezTo>
                  <a:cubicBezTo>
                    <a:pt x="23" y="104"/>
                    <a:pt x="22" y="103"/>
                    <a:pt x="23" y="102"/>
                  </a:cubicBezTo>
                  <a:cubicBezTo>
                    <a:pt x="24" y="102"/>
                    <a:pt x="28" y="101"/>
                    <a:pt x="28" y="102"/>
                  </a:cubicBezTo>
                  <a:cubicBezTo>
                    <a:pt x="30" y="104"/>
                    <a:pt x="32" y="105"/>
                    <a:pt x="33" y="107"/>
                  </a:cubicBezTo>
                  <a:cubicBezTo>
                    <a:pt x="35" y="109"/>
                    <a:pt x="37" y="110"/>
                    <a:pt x="38" y="112"/>
                  </a:cubicBezTo>
                  <a:cubicBezTo>
                    <a:pt x="39" y="113"/>
                    <a:pt x="39" y="114"/>
                    <a:pt x="40" y="116"/>
                  </a:cubicBezTo>
                  <a:cubicBezTo>
                    <a:pt x="42" y="118"/>
                    <a:pt x="43" y="122"/>
                    <a:pt x="46" y="124"/>
                  </a:cubicBezTo>
                  <a:cubicBezTo>
                    <a:pt x="48" y="126"/>
                    <a:pt x="52" y="127"/>
                    <a:pt x="54" y="128"/>
                  </a:cubicBezTo>
                  <a:cubicBezTo>
                    <a:pt x="56" y="129"/>
                    <a:pt x="53" y="130"/>
                    <a:pt x="54" y="132"/>
                  </a:cubicBezTo>
                  <a:cubicBezTo>
                    <a:pt x="55" y="132"/>
                    <a:pt x="56" y="132"/>
                    <a:pt x="56" y="133"/>
                  </a:cubicBezTo>
                  <a:cubicBezTo>
                    <a:pt x="56" y="133"/>
                    <a:pt x="55" y="136"/>
                    <a:pt x="56" y="135"/>
                  </a:cubicBezTo>
                  <a:cubicBezTo>
                    <a:pt x="55" y="136"/>
                    <a:pt x="53" y="136"/>
                    <a:pt x="53" y="138"/>
                  </a:cubicBezTo>
                  <a:cubicBezTo>
                    <a:pt x="52" y="139"/>
                    <a:pt x="55" y="141"/>
                    <a:pt x="56" y="141"/>
                  </a:cubicBezTo>
                  <a:cubicBezTo>
                    <a:pt x="56" y="141"/>
                    <a:pt x="54" y="143"/>
                    <a:pt x="54" y="143"/>
                  </a:cubicBezTo>
                  <a:cubicBezTo>
                    <a:pt x="54" y="143"/>
                    <a:pt x="53" y="142"/>
                    <a:pt x="53" y="141"/>
                  </a:cubicBezTo>
                  <a:cubicBezTo>
                    <a:pt x="52" y="141"/>
                    <a:pt x="53" y="143"/>
                    <a:pt x="53" y="143"/>
                  </a:cubicBezTo>
                  <a:cubicBezTo>
                    <a:pt x="54" y="144"/>
                    <a:pt x="53" y="145"/>
                    <a:pt x="54" y="146"/>
                  </a:cubicBezTo>
                  <a:cubicBezTo>
                    <a:pt x="55" y="148"/>
                    <a:pt x="55" y="148"/>
                    <a:pt x="57" y="147"/>
                  </a:cubicBezTo>
                  <a:cubicBezTo>
                    <a:pt x="57" y="147"/>
                    <a:pt x="58" y="147"/>
                    <a:pt x="58" y="147"/>
                  </a:cubicBezTo>
                  <a:cubicBezTo>
                    <a:pt x="59" y="147"/>
                    <a:pt x="59" y="145"/>
                    <a:pt x="59" y="145"/>
                  </a:cubicBezTo>
                  <a:cubicBezTo>
                    <a:pt x="59" y="145"/>
                    <a:pt x="60" y="147"/>
                    <a:pt x="61" y="147"/>
                  </a:cubicBezTo>
                  <a:cubicBezTo>
                    <a:pt x="61" y="147"/>
                    <a:pt x="60" y="149"/>
                    <a:pt x="60" y="150"/>
                  </a:cubicBezTo>
                  <a:cubicBezTo>
                    <a:pt x="59" y="151"/>
                    <a:pt x="59" y="152"/>
                    <a:pt x="61" y="151"/>
                  </a:cubicBezTo>
                  <a:cubicBezTo>
                    <a:pt x="61" y="150"/>
                    <a:pt x="62" y="150"/>
                    <a:pt x="62" y="150"/>
                  </a:cubicBezTo>
                  <a:cubicBezTo>
                    <a:pt x="63" y="150"/>
                    <a:pt x="63" y="149"/>
                    <a:pt x="63" y="149"/>
                  </a:cubicBezTo>
                  <a:cubicBezTo>
                    <a:pt x="65" y="148"/>
                    <a:pt x="64" y="151"/>
                    <a:pt x="64" y="152"/>
                  </a:cubicBezTo>
                  <a:cubicBezTo>
                    <a:pt x="64" y="153"/>
                    <a:pt x="65" y="154"/>
                    <a:pt x="66" y="154"/>
                  </a:cubicBezTo>
                  <a:cubicBezTo>
                    <a:pt x="67" y="154"/>
                    <a:pt x="68" y="152"/>
                    <a:pt x="69" y="152"/>
                  </a:cubicBezTo>
                  <a:cubicBezTo>
                    <a:pt x="69" y="152"/>
                    <a:pt x="68" y="153"/>
                    <a:pt x="68" y="153"/>
                  </a:cubicBezTo>
                  <a:cubicBezTo>
                    <a:pt x="68" y="153"/>
                    <a:pt x="70" y="154"/>
                    <a:pt x="70" y="154"/>
                  </a:cubicBezTo>
                  <a:cubicBezTo>
                    <a:pt x="70" y="154"/>
                    <a:pt x="63" y="156"/>
                    <a:pt x="66" y="158"/>
                  </a:cubicBezTo>
                  <a:cubicBezTo>
                    <a:pt x="66" y="158"/>
                    <a:pt x="72" y="157"/>
                    <a:pt x="71" y="158"/>
                  </a:cubicBezTo>
                  <a:cubicBezTo>
                    <a:pt x="71" y="158"/>
                    <a:pt x="66" y="158"/>
                    <a:pt x="67" y="160"/>
                  </a:cubicBezTo>
                  <a:cubicBezTo>
                    <a:pt x="67" y="160"/>
                    <a:pt x="69" y="160"/>
                    <a:pt x="69" y="160"/>
                  </a:cubicBezTo>
                  <a:cubicBezTo>
                    <a:pt x="68" y="161"/>
                    <a:pt x="66" y="161"/>
                    <a:pt x="67" y="162"/>
                  </a:cubicBezTo>
                  <a:cubicBezTo>
                    <a:pt x="69" y="163"/>
                    <a:pt x="71" y="163"/>
                    <a:pt x="72" y="163"/>
                  </a:cubicBezTo>
                  <a:cubicBezTo>
                    <a:pt x="74" y="163"/>
                    <a:pt x="73" y="164"/>
                    <a:pt x="74" y="164"/>
                  </a:cubicBezTo>
                  <a:cubicBezTo>
                    <a:pt x="76" y="165"/>
                    <a:pt x="76" y="162"/>
                    <a:pt x="77" y="162"/>
                  </a:cubicBezTo>
                  <a:cubicBezTo>
                    <a:pt x="78" y="162"/>
                    <a:pt x="77" y="164"/>
                    <a:pt x="77" y="164"/>
                  </a:cubicBezTo>
                  <a:cubicBezTo>
                    <a:pt x="76" y="165"/>
                    <a:pt x="76" y="165"/>
                    <a:pt x="77" y="166"/>
                  </a:cubicBezTo>
                  <a:cubicBezTo>
                    <a:pt x="80" y="168"/>
                    <a:pt x="81" y="163"/>
                    <a:pt x="81" y="163"/>
                  </a:cubicBezTo>
                  <a:cubicBezTo>
                    <a:pt x="81" y="163"/>
                    <a:pt x="81" y="166"/>
                    <a:pt x="80" y="166"/>
                  </a:cubicBezTo>
                  <a:cubicBezTo>
                    <a:pt x="80" y="167"/>
                    <a:pt x="82" y="166"/>
                    <a:pt x="83" y="166"/>
                  </a:cubicBezTo>
                  <a:cubicBezTo>
                    <a:pt x="82" y="168"/>
                    <a:pt x="81" y="169"/>
                    <a:pt x="83" y="170"/>
                  </a:cubicBezTo>
                  <a:cubicBezTo>
                    <a:pt x="85" y="171"/>
                    <a:pt x="86" y="168"/>
                    <a:pt x="86" y="168"/>
                  </a:cubicBezTo>
                  <a:cubicBezTo>
                    <a:pt x="86" y="168"/>
                    <a:pt x="86" y="169"/>
                    <a:pt x="86" y="170"/>
                  </a:cubicBezTo>
                  <a:cubicBezTo>
                    <a:pt x="87" y="172"/>
                    <a:pt x="86" y="171"/>
                    <a:pt x="85" y="171"/>
                  </a:cubicBezTo>
                  <a:cubicBezTo>
                    <a:pt x="84" y="172"/>
                    <a:pt x="90" y="173"/>
                    <a:pt x="89" y="171"/>
                  </a:cubicBezTo>
                  <a:cubicBezTo>
                    <a:pt x="91" y="174"/>
                    <a:pt x="90" y="176"/>
                    <a:pt x="94" y="176"/>
                  </a:cubicBezTo>
                  <a:cubicBezTo>
                    <a:pt x="97" y="176"/>
                    <a:pt x="99" y="176"/>
                    <a:pt x="102" y="176"/>
                  </a:cubicBezTo>
                  <a:cubicBezTo>
                    <a:pt x="113" y="176"/>
                    <a:pt x="123" y="176"/>
                    <a:pt x="133" y="176"/>
                  </a:cubicBezTo>
                  <a:cubicBezTo>
                    <a:pt x="158" y="176"/>
                    <a:pt x="183" y="176"/>
                    <a:pt x="208" y="176"/>
                  </a:cubicBezTo>
                  <a:cubicBezTo>
                    <a:pt x="213" y="176"/>
                    <a:pt x="218" y="176"/>
                    <a:pt x="223" y="176"/>
                  </a:cubicBezTo>
                  <a:cubicBezTo>
                    <a:pt x="224" y="176"/>
                    <a:pt x="229" y="177"/>
                    <a:pt x="229" y="174"/>
                  </a:cubicBezTo>
                  <a:close/>
                  <a:moveTo>
                    <a:pt x="112" y="54"/>
                  </a:moveTo>
                  <a:cubicBezTo>
                    <a:pt x="110" y="54"/>
                    <a:pt x="108" y="53"/>
                    <a:pt x="106" y="54"/>
                  </a:cubicBezTo>
                  <a:cubicBezTo>
                    <a:pt x="104" y="57"/>
                    <a:pt x="108" y="56"/>
                    <a:pt x="108" y="57"/>
                  </a:cubicBezTo>
                  <a:cubicBezTo>
                    <a:pt x="108" y="56"/>
                    <a:pt x="100" y="60"/>
                    <a:pt x="100" y="60"/>
                  </a:cubicBezTo>
                  <a:cubicBezTo>
                    <a:pt x="98" y="59"/>
                    <a:pt x="107" y="53"/>
                    <a:pt x="99" y="56"/>
                  </a:cubicBezTo>
                  <a:cubicBezTo>
                    <a:pt x="98" y="56"/>
                    <a:pt x="97" y="57"/>
                    <a:pt x="97" y="57"/>
                  </a:cubicBezTo>
                  <a:cubicBezTo>
                    <a:pt x="96" y="58"/>
                    <a:pt x="97" y="59"/>
                    <a:pt x="96" y="60"/>
                  </a:cubicBezTo>
                  <a:cubicBezTo>
                    <a:pt x="95" y="60"/>
                    <a:pt x="88" y="59"/>
                    <a:pt x="88" y="59"/>
                  </a:cubicBezTo>
                  <a:cubicBezTo>
                    <a:pt x="88" y="58"/>
                    <a:pt x="91" y="59"/>
                    <a:pt x="91" y="58"/>
                  </a:cubicBezTo>
                  <a:cubicBezTo>
                    <a:pt x="92" y="57"/>
                    <a:pt x="91" y="57"/>
                    <a:pt x="92" y="56"/>
                  </a:cubicBezTo>
                  <a:cubicBezTo>
                    <a:pt x="92" y="55"/>
                    <a:pt x="94" y="54"/>
                    <a:pt x="94" y="54"/>
                  </a:cubicBezTo>
                  <a:cubicBezTo>
                    <a:pt x="94" y="53"/>
                    <a:pt x="91" y="52"/>
                    <a:pt x="94" y="52"/>
                  </a:cubicBezTo>
                  <a:cubicBezTo>
                    <a:pt x="94" y="52"/>
                    <a:pt x="98" y="53"/>
                    <a:pt x="98" y="52"/>
                  </a:cubicBezTo>
                  <a:cubicBezTo>
                    <a:pt x="98" y="51"/>
                    <a:pt x="93" y="50"/>
                    <a:pt x="92" y="50"/>
                  </a:cubicBezTo>
                  <a:cubicBezTo>
                    <a:pt x="91" y="50"/>
                    <a:pt x="89" y="51"/>
                    <a:pt x="87" y="51"/>
                  </a:cubicBezTo>
                  <a:cubicBezTo>
                    <a:pt x="86" y="51"/>
                    <a:pt x="84" y="50"/>
                    <a:pt x="82" y="51"/>
                  </a:cubicBezTo>
                  <a:cubicBezTo>
                    <a:pt x="81" y="51"/>
                    <a:pt x="79" y="53"/>
                    <a:pt x="80" y="51"/>
                  </a:cubicBezTo>
                  <a:cubicBezTo>
                    <a:pt x="81" y="49"/>
                    <a:pt x="83" y="50"/>
                    <a:pt x="84" y="49"/>
                  </a:cubicBezTo>
                  <a:cubicBezTo>
                    <a:pt x="86" y="49"/>
                    <a:pt x="89" y="48"/>
                    <a:pt x="91" y="47"/>
                  </a:cubicBezTo>
                  <a:cubicBezTo>
                    <a:pt x="95" y="46"/>
                    <a:pt x="99" y="46"/>
                    <a:pt x="102" y="44"/>
                  </a:cubicBezTo>
                  <a:cubicBezTo>
                    <a:pt x="104" y="44"/>
                    <a:pt x="107" y="43"/>
                    <a:pt x="108" y="45"/>
                  </a:cubicBezTo>
                  <a:cubicBezTo>
                    <a:pt x="109" y="46"/>
                    <a:pt x="105" y="47"/>
                    <a:pt x="104" y="48"/>
                  </a:cubicBezTo>
                  <a:cubicBezTo>
                    <a:pt x="102" y="49"/>
                    <a:pt x="110" y="49"/>
                    <a:pt x="111" y="49"/>
                  </a:cubicBezTo>
                  <a:cubicBezTo>
                    <a:pt x="111" y="49"/>
                    <a:pt x="113" y="49"/>
                    <a:pt x="113" y="49"/>
                  </a:cubicBezTo>
                  <a:cubicBezTo>
                    <a:pt x="114" y="48"/>
                    <a:pt x="116" y="46"/>
                    <a:pt x="117" y="47"/>
                  </a:cubicBezTo>
                  <a:cubicBezTo>
                    <a:pt x="118" y="48"/>
                    <a:pt x="113" y="54"/>
                    <a:pt x="112" y="54"/>
                  </a:cubicBezTo>
                  <a:cubicBezTo>
                    <a:pt x="110" y="54"/>
                    <a:pt x="114" y="54"/>
                    <a:pt x="112" y="54"/>
                  </a:cubicBezTo>
                  <a:close/>
                  <a:moveTo>
                    <a:pt x="157" y="78"/>
                  </a:moveTo>
                  <a:cubicBezTo>
                    <a:pt x="157" y="78"/>
                    <a:pt x="152" y="78"/>
                    <a:pt x="153" y="78"/>
                  </a:cubicBezTo>
                  <a:cubicBezTo>
                    <a:pt x="153" y="79"/>
                    <a:pt x="155" y="78"/>
                    <a:pt x="155" y="79"/>
                  </a:cubicBezTo>
                  <a:cubicBezTo>
                    <a:pt x="155" y="80"/>
                    <a:pt x="151" y="81"/>
                    <a:pt x="150" y="81"/>
                  </a:cubicBezTo>
                  <a:cubicBezTo>
                    <a:pt x="148" y="81"/>
                    <a:pt x="147" y="83"/>
                    <a:pt x="145" y="84"/>
                  </a:cubicBezTo>
                  <a:cubicBezTo>
                    <a:pt x="145" y="84"/>
                    <a:pt x="141" y="84"/>
                    <a:pt x="142" y="85"/>
                  </a:cubicBezTo>
                  <a:cubicBezTo>
                    <a:pt x="142" y="86"/>
                    <a:pt x="145" y="86"/>
                    <a:pt x="142" y="88"/>
                  </a:cubicBezTo>
                  <a:cubicBezTo>
                    <a:pt x="141" y="88"/>
                    <a:pt x="137" y="88"/>
                    <a:pt x="137" y="89"/>
                  </a:cubicBezTo>
                  <a:cubicBezTo>
                    <a:pt x="136" y="89"/>
                    <a:pt x="137" y="90"/>
                    <a:pt x="137" y="90"/>
                  </a:cubicBezTo>
                  <a:cubicBezTo>
                    <a:pt x="137" y="92"/>
                    <a:pt x="135" y="92"/>
                    <a:pt x="134" y="92"/>
                  </a:cubicBezTo>
                  <a:cubicBezTo>
                    <a:pt x="131" y="93"/>
                    <a:pt x="128" y="93"/>
                    <a:pt x="125" y="93"/>
                  </a:cubicBezTo>
                  <a:cubicBezTo>
                    <a:pt x="125" y="93"/>
                    <a:pt x="120" y="90"/>
                    <a:pt x="120" y="90"/>
                  </a:cubicBezTo>
                  <a:cubicBezTo>
                    <a:pt x="122" y="89"/>
                    <a:pt x="125" y="90"/>
                    <a:pt x="126" y="89"/>
                  </a:cubicBezTo>
                  <a:cubicBezTo>
                    <a:pt x="127" y="89"/>
                    <a:pt x="126" y="87"/>
                    <a:pt x="127" y="87"/>
                  </a:cubicBezTo>
                  <a:cubicBezTo>
                    <a:pt x="128" y="85"/>
                    <a:pt x="130" y="86"/>
                    <a:pt x="131" y="85"/>
                  </a:cubicBezTo>
                  <a:cubicBezTo>
                    <a:pt x="132" y="85"/>
                    <a:pt x="130" y="83"/>
                    <a:pt x="130" y="83"/>
                  </a:cubicBezTo>
                  <a:cubicBezTo>
                    <a:pt x="128" y="82"/>
                    <a:pt x="128" y="82"/>
                    <a:pt x="128" y="81"/>
                  </a:cubicBezTo>
                  <a:cubicBezTo>
                    <a:pt x="128" y="79"/>
                    <a:pt x="126" y="80"/>
                    <a:pt x="126" y="79"/>
                  </a:cubicBezTo>
                  <a:cubicBezTo>
                    <a:pt x="125" y="78"/>
                    <a:pt x="128" y="79"/>
                    <a:pt x="128" y="79"/>
                  </a:cubicBezTo>
                  <a:cubicBezTo>
                    <a:pt x="131" y="80"/>
                    <a:pt x="134" y="81"/>
                    <a:pt x="136" y="82"/>
                  </a:cubicBezTo>
                  <a:cubicBezTo>
                    <a:pt x="138" y="84"/>
                    <a:pt x="142" y="83"/>
                    <a:pt x="144" y="82"/>
                  </a:cubicBezTo>
                  <a:cubicBezTo>
                    <a:pt x="147" y="81"/>
                    <a:pt x="148" y="78"/>
                    <a:pt x="152" y="77"/>
                  </a:cubicBezTo>
                  <a:cubicBezTo>
                    <a:pt x="153" y="76"/>
                    <a:pt x="155" y="76"/>
                    <a:pt x="157" y="77"/>
                  </a:cubicBezTo>
                  <a:cubicBezTo>
                    <a:pt x="157" y="77"/>
                    <a:pt x="160" y="78"/>
                    <a:pt x="160" y="78"/>
                  </a:cubicBezTo>
                  <a:cubicBezTo>
                    <a:pt x="160" y="78"/>
                    <a:pt x="158" y="78"/>
                    <a:pt x="157" y="78"/>
                  </a:cubicBezTo>
                  <a:close/>
                  <a:moveTo>
                    <a:pt x="222" y="165"/>
                  </a:moveTo>
                  <a:cubicBezTo>
                    <a:pt x="221" y="167"/>
                    <a:pt x="219" y="163"/>
                    <a:pt x="219" y="162"/>
                  </a:cubicBezTo>
                  <a:cubicBezTo>
                    <a:pt x="219" y="160"/>
                    <a:pt x="221" y="159"/>
                    <a:pt x="221" y="157"/>
                  </a:cubicBezTo>
                  <a:cubicBezTo>
                    <a:pt x="220" y="156"/>
                    <a:pt x="219" y="159"/>
                    <a:pt x="218" y="158"/>
                  </a:cubicBezTo>
                  <a:cubicBezTo>
                    <a:pt x="218" y="157"/>
                    <a:pt x="218" y="154"/>
                    <a:pt x="216" y="154"/>
                  </a:cubicBezTo>
                  <a:cubicBezTo>
                    <a:pt x="216" y="154"/>
                    <a:pt x="216" y="156"/>
                    <a:pt x="215" y="156"/>
                  </a:cubicBezTo>
                  <a:cubicBezTo>
                    <a:pt x="214" y="155"/>
                    <a:pt x="214" y="154"/>
                    <a:pt x="213" y="153"/>
                  </a:cubicBezTo>
                  <a:cubicBezTo>
                    <a:pt x="212" y="152"/>
                    <a:pt x="211" y="151"/>
                    <a:pt x="210" y="150"/>
                  </a:cubicBezTo>
                  <a:cubicBezTo>
                    <a:pt x="209" y="149"/>
                    <a:pt x="212" y="149"/>
                    <a:pt x="212" y="148"/>
                  </a:cubicBezTo>
                  <a:cubicBezTo>
                    <a:pt x="211" y="147"/>
                    <a:pt x="209" y="148"/>
                    <a:pt x="209" y="147"/>
                  </a:cubicBezTo>
                  <a:cubicBezTo>
                    <a:pt x="209" y="146"/>
                    <a:pt x="210" y="143"/>
                    <a:pt x="210" y="142"/>
                  </a:cubicBezTo>
                  <a:cubicBezTo>
                    <a:pt x="212" y="140"/>
                    <a:pt x="217" y="147"/>
                    <a:pt x="217" y="148"/>
                  </a:cubicBezTo>
                  <a:cubicBezTo>
                    <a:pt x="218" y="150"/>
                    <a:pt x="219" y="151"/>
                    <a:pt x="219" y="153"/>
                  </a:cubicBezTo>
                  <a:cubicBezTo>
                    <a:pt x="220" y="155"/>
                    <a:pt x="220" y="154"/>
                    <a:pt x="221" y="156"/>
                  </a:cubicBezTo>
                  <a:cubicBezTo>
                    <a:pt x="221" y="157"/>
                    <a:pt x="222" y="158"/>
                    <a:pt x="222" y="159"/>
                  </a:cubicBezTo>
                  <a:cubicBezTo>
                    <a:pt x="223" y="161"/>
                    <a:pt x="222" y="163"/>
                    <a:pt x="222" y="165"/>
                  </a:cubicBezTo>
                  <a:cubicBezTo>
                    <a:pt x="221" y="166"/>
                    <a:pt x="222" y="164"/>
                    <a:pt x="222" y="165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74" name="Freeform 797">
              <a:extLst>
                <a:ext uri="{FF2B5EF4-FFF2-40B4-BE49-F238E27FC236}">
                  <a16:creationId xmlns:a16="http://schemas.microsoft.com/office/drawing/2014/main" id="{7FDBC586-F6BA-5862-5202-DB0C9413B72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9039" y="2566470"/>
              <a:ext cx="48283" cy="66233"/>
            </a:xfrm>
            <a:custGeom>
              <a:avLst/>
              <a:gdLst>
                <a:gd name="T0" fmla="*/ 9 w 9"/>
                <a:gd name="T1" fmla="*/ 11 h 12"/>
                <a:gd name="T2" fmla="*/ 5 w 9"/>
                <a:gd name="T3" fmla="*/ 2 h 12"/>
                <a:gd name="T4" fmla="*/ 2 w 9"/>
                <a:gd name="T5" fmla="*/ 2 h 12"/>
                <a:gd name="T6" fmla="*/ 0 w 9"/>
                <a:gd name="T7" fmla="*/ 3 h 12"/>
                <a:gd name="T8" fmla="*/ 3 w 9"/>
                <a:gd name="T9" fmla="*/ 5 h 12"/>
                <a:gd name="T10" fmla="*/ 3 w 9"/>
                <a:gd name="T11" fmla="*/ 7 h 12"/>
                <a:gd name="T12" fmla="*/ 4 w 9"/>
                <a:gd name="T13" fmla="*/ 7 h 12"/>
                <a:gd name="T14" fmla="*/ 3 w 9"/>
                <a:gd name="T15" fmla="*/ 8 h 12"/>
                <a:gd name="T16" fmla="*/ 6 w 9"/>
                <a:gd name="T17" fmla="*/ 11 h 12"/>
                <a:gd name="T18" fmla="*/ 6 w 9"/>
                <a:gd name="T19" fmla="*/ 9 h 12"/>
                <a:gd name="T20" fmla="*/ 9 w 9"/>
                <a:gd name="T21" fmla="*/ 11 h 12"/>
                <a:gd name="T22" fmla="*/ 9 w 9"/>
                <a:gd name="T23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" h="12">
                  <a:moveTo>
                    <a:pt x="9" y="11"/>
                  </a:moveTo>
                  <a:cubicBezTo>
                    <a:pt x="8" y="8"/>
                    <a:pt x="7" y="4"/>
                    <a:pt x="5" y="2"/>
                  </a:cubicBezTo>
                  <a:cubicBezTo>
                    <a:pt x="4" y="1"/>
                    <a:pt x="3" y="0"/>
                    <a:pt x="2" y="2"/>
                  </a:cubicBezTo>
                  <a:cubicBezTo>
                    <a:pt x="2" y="2"/>
                    <a:pt x="0" y="2"/>
                    <a:pt x="0" y="3"/>
                  </a:cubicBezTo>
                  <a:cubicBezTo>
                    <a:pt x="1" y="4"/>
                    <a:pt x="3" y="3"/>
                    <a:pt x="3" y="5"/>
                  </a:cubicBezTo>
                  <a:cubicBezTo>
                    <a:pt x="3" y="6"/>
                    <a:pt x="3" y="6"/>
                    <a:pt x="3" y="7"/>
                  </a:cubicBezTo>
                  <a:cubicBezTo>
                    <a:pt x="3" y="8"/>
                    <a:pt x="4" y="7"/>
                    <a:pt x="4" y="7"/>
                  </a:cubicBezTo>
                  <a:cubicBezTo>
                    <a:pt x="5" y="8"/>
                    <a:pt x="3" y="8"/>
                    <a:pt x="3" y="8"/>
                  </a:cubicBezTo>
                  <a:cubicBezTo>
                    <a:pt x="3" y="9"/>
                    <a:pt x="5" y="11"/>
                    <a:pt x="6" y="11"/>
                  </a:cubicBezTo>
                  <a:cubicBezTo>
                    <a:pt x="6" y="11"/>
                    <a:pt x="2" y="7"/>
                    <a:pt x="6" y="9"/>
                  </a:cubicBezTo>
                  <a:cubicBezTo>
                    <a:pt x="7" y="9"/>
                    <a:pt x="9" y="12"/>
                    <a:pt x="9" y="11"/>
                  </a:cubicBezTo>
                  <a:cubicBezTo>
                    <a:pt x="8" y="10"/>
                    <a:pt x="9" y="12"/>
                    <a:pt x="9" y="11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640092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